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7" r:id="rId5"/>
    <p:sldMasterId id="2147483680" r:id="rId6"/>
    <p:sldMasterId id="2147483735" r:id="rId7"/>
    <p:sldMasterId id="2147483748" r:id="rId8"/>
    <p:sldMasterId id="2147483792" r:id="rId9"/>
  </p:sldMasterIdLst>
  <p:notesMasterIdLst>
    <p:notesMasterId r:id="rId19"/>
  </p:notesMasterIdLst>
  <p:handoutMasterIdLst>
    <p:handoutMasterId r:id="rId20"/>
  </p:handoutMasterIdLst>
  <p:sldIdLst>
    <p:sldId id="3262" r:id="rId10"/>
    <p:sldId id="3218" r:id="rId11"/>
    <p:sldId id="3264" r:id="rId12"/>
    <p:sldId id="3219" r:id="rId13"/>
    <p:sldId id="3236" r:id="rId14"/>
    <p:sldId id="3222" r:id="rId15"/>
    <p:sldId id="3224" r:id="rId16"/>
    <p:sldId id="3255" r:id="rId17"/>
    <p:sldId id="3233" r:id="rId18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ferta KK pakiety" id="{4C3EC2AD-2CD9-4B09-95C5-3CF0E4CC9F8A}">
          <p14:sldIdLst>
            <p14:sldId id="3262"/>
            <p14:sldId id="3218"/>
            <p14:sldId id="3264"/>
            <p14:sldId id="3219"/>
            <p14:sldId id="3236"/>
            <p14:sldId id="3222"/>
            <p14:sldId id="3224"/>
            <p14:sldId id="3255"/>
            <p14:sldId id="3233"/>
          </p14:sldIdLst>
        </p14:section>
        <p14:section name="Sekcja domyślna" id="{6F3CD1B0-5D8A-4C94-9408-56F7389E322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729" userDrawn="1">
          <p15:clr>
            <a:srgbClr val="A4A3A4"/>
          </p15:clr>
        </p15:guide>
        <p15:guide id="2" pos="5564" userDrawn="1">
          <p15:clr>
            <a:srgbClr val="A4A3A4"/>
          </p15:clr>
        </p15:guide>
        <p15:guide id="3" pos="619" userDrawn="1">
          <p15:clr>
            <a:srgbClr val="A4A3A4"/>
          </p15:clr>
        </p15:guide>
        <p15:guide id="4" pos="72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F204026-4B11-EAA3-2AF5-003B1918677E}" name="Magdalena Sadłowska" initials="MS" userId="S::magdalena.sadlowska@extended.tools::35eaa336-4a38-4001-b14f-afc5bd723fbc" providerId="AD"/>
  <p188:author id="{728BB456-86B0-12B5-81C8-990A57B6AE66}" name="Romeo Grzębowski" initials="RG" userId="S::romeo.grzebowski@extended.tools::5f02720d-9d46-4e09-8665-7f7f38c1230c" providerId="AD"/>
  <p188:author id="{64143976-712B-3F33-5A8A-15DA2DFA6C0D}" name="Aleksandra Wróbel" initials="AW" userId="S::aleksandra.wrobel@extended.tools::bbd56a30-fbf3-4b12-a1ad-a621a012494a" providerId="AD"/>
  <p188:author id="{76EA8BAE-0776-5B7D-D65F-3B1068AD3E1B}" name="Małgorzata Lelonkiewicz" initials="ML" userId="S::malgorzata.lelonkiewicz@extended.tools::ba091677-19e7-4b00-bdb0-ee45c19f2602" providerId="AD"/>
  <p188:author id="{82731FBC-91B6-2739-C109-41D8D49A52FA}" name="Khrystyna Yatsyna" initials="KY" userId="S::khrystyna.yatsyna@extended.tools::e6954dd7-6c9e-43c8-bd42-ff8c4ce5393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1B6B"/>
    <a:srgbClr val="0B0B0B"/>
    <a:srgbClr val="DA3A7F"/>
    <a:srgbClr val="262626"/>
    <a:srgbClr val="E1E8EB"/>
    <a:srgbClr val="F4F6FA"/>
    <a:srgbClr val="F9FAFE"/>
    <a:srgbClr val="FFFFFF"/>
    <a:srgbClr val="F9E3ED"/>
    <a:srgbClr val="F4CB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0346F4F-3E02-2AFB-5C4A-482587E922BE}" v="97" dt="2023-08-30T11:29:02.9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62"/>
      </p:cViewPr>
      <p:guideLst>
        <p:guide orient="horz" pos="1729"/>
        <p:guide pos="5564"/>
        <p:guide pos="619"/>
        <p:guide pos="726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80346F4F-3E02-2AFB-5C4A-482587E922BE}"/>
    <pc:docChg chg="modSld">
      <pc:chgData name="" userId="" providerId="" clId="Web-{80346F4F-3E02-2AFB-5C4A-482587E922BE}" dt="2023-08-30T11:26:43.419" v="0"/>
      <pc:docMkLst>
        <pc:docMk/>
      </pc:docMkLst>
      <pc:sldChg chg="delSp">
        <pc:chgData name="" userId="" providerId="" clId="Web-{80346F4F-3E02-2AFB-5C4A-482587E922BE}" dt="2023-08-30T11:26:43.419" v="0"/>
        <pc:sldMkLst>
          <pc:docMk/>
          <pc:sldMk cId="3166406643" sldId="3262"/>
        </pc:sldMkLst>
        <pc:spChg chg="del">
          <ac:chgData name="" userId="" providerId="" clId="Web-{80346F4F-3E02-2AFB-5C4A-482587E922BE}" dt="2023-08-30T11:26:43.419" v="0"/>
          <ac:spMkLst>
            <pc:docMk/>
            <pc:sldMk cId="3166406643" sldId="3262"/>
            <ac:spMk id="5" creationId="{EE579F7F-F319-4CE0-A277-007C95EAA56C}"/>
          </ac:spMkLst>
        </pc:spChg>
      </pc:sldChg>
    </pc:docChg>
  </pc:docChgLst>
  <pc:docChgLst>
    <pc:chgData name="Khrystyna Yatsyna" userId="e6954dd7-6c9e-43c8-bd42-ff8c4ce5393f" providerId="ADAL" clId="{78A83DDA-C8B7-4125-B268-50D0332944C1}"/>
    <pc:docChg chg="modSld">
      <pc:chgData name="Khrystyna Yatsyna" userId="e6954dd7-6c9e-43c8-bd42-ff8c4ce5393f" providerId="ADAL" clId="{78A83DDA-C8B7-4125-B268-50D0332944C1}" dt="2023-08-24T09:01:54.375" v="58" actId="1076"/>
      <pc:docMkLst>
        <pc:docMk/>
      </pc:docMkLst>
      <pc:sldChg chg="addSp modSp mod">
        <pc:chgData name="Khrystyna Yatsyna" userId="e6954dd7-6c9e-43c8-bd42-ff8c4ce5393f" providerId="ADAL" clId="{78A83DDA-C8B7-4125-B268-50D0332944C1}" dt="2023-08-24T09:01:54.375" v="58" actId="1076"/>
        <pc:sldMkLst>
          <pc:docMk/>
          <pc:sldMk cId="1044870750" sldId="3233"/>
        </pc:sldMkLst>
        <pc:spChg chg="add mod">
          <ac:chgData name="Khrystyna Yatsyna" userId="e6954dd7-6c9e-43c8-bd42-ff8c4ce5393f" providerId="ADAL" clId="{78A83DDA-C8B7-4125-B268-50D0332944C1}" dt="2023-08-24T09:01:54.375" v="58" actId="1076"/>
          <ac:spMkLst>
            <pc:docMk/>
            <pc:sldMk cId="1044870750" sldId="3233"/>
            <ac:spMk id="8" creationId="{9F23A62F-434E-D438-090F-1E5BA1BC0FD5}"/>
          </ac:spMkLst>
        </pc:spChg>
      </pc:sldChg>
    </pc:docChg>
  </pc:docChgLst>
  <pc:docChgLst>
    <pc:chgData name="Khrystyna Yatsyna" userId="e6954dd7-6c9e-43c8-bd42-ff8c4ce5393f" providerId="ADAL" clId="{BBB5A732-C083-4ACD-876F-6FB9A2AAF4AA}"/>
    <pc:docChg chg="undo custSel modSld">
      <pc:chgData name="Khrystyna Yatsyna" userId="e6954dd7-6c9e-43c8-bd42-ff8c4ce5393f" providerId="ADAL" clId="{BBB5A732-C083-4ACD-876F-6FB9A2AAF4AA}" dt="2023-08-18T12:35:14.702" v="793"/>
      <pc:docMkLst>
        <pc:docMk/>
      </pc:docMkLst>
      <pc:sldChg chg="addSp delSp modSp mod">
        <pc:chgData name="Khrystyna Yatsyna" userId="e6954dd7-6c9e-43c8-bd42-ff8c4ce5393f" providerId="ADAL" clId="{BBB5A732-C083-4ACD-876F-6FB9A2AAF4AA}" dt="2023-08-18T12:29:35.962" v="658" actId="108"/>
        <pc:sldMkLst>
          <pc:docMk/>
          <pc:sldMk cId="330590832" sldId="1724"/>
        </pc:sldMkLst>
        <pc:spChg chg="add mod">
          <ac:chgData name="Khrystyna Yatsyna" userId="e6954dd7-6c9e-43c8-bd42-ff8c4ce5393f" providerId="ADAL" clId="{BBB5A732-C083-4ACD-876F-6FB9A2AAF4AA}" dt="2023-08-03T13:19:46.886" v="561"/>
          <ac:spMkLst>
            <pc:docMk/>
            <pc:sldMk cId="330590832" sldId="1724"/>
            <ac:spMk id="4" creationId="{362B94DE-DC20-55B7-1D5F-52F75045D14D}"/>
          </ac:spMkLst>
        </pc:spChg>
        <pc:spChg chg="mod">
          <ac:chgData name="Khrystyna Yatsyna" userId="e6954dd7-6c9e-43c8-bd42-ff8c4ce5393f" providerId="ADAL" clId="{BBB5A732-C083-4ACD-876F-6FB9A2AAF4AA}" dt="2023-08-03T13:19:46.886" v="561"/>
          <ac:spMkLst>
            <pc:docMk/>
            <pc:sldMk cId="330590832" sldId="1724"/>
            <ac:spMk id="6" creationId="{9BAF445C-2B39-30B9-D969-4A0421EBC59C}"/>
          </ac:spMkLst>
        </pc:spChg>
        <pc:spChg chg="mod">
          <ac:chgData name="Khrystyna Yatsyna" userId="e6954dd7-6c9e-43c8-bd42-ff8c4ce5393f" providerId="ADAL" clId="{BBB5A732-C083-4ACD-876F-6FB9A2AAF4AA}" dt="2023-08-03T13:19:46.886" v="561"/>
          <ac:spMkLst>
            <pc:docMk/>
            <pc:sldMk cId="330590832" sldId="1724"/>
            <ac:spMk id="7" creationId="{1642BA73-8218-4C50-5154-AB1ACEFC0D39}"/>
          </ac:spMkLst>
        </pc:spChg>
        <pc:spChg chg="mod">
          <ac:chgData name="Khrystyna Yatsyna" userId="e6954dd7-6c9e-43c8-bd42-ff8c4ce5393f" providerId="ADAL" clId="{BBB5A732-C083-4ACD-876F-6FB9A2AAF4AA}" dt="2023-08-03T13:19:46.886" v="561"/>
          <ac:spMkLst>
            <pc:docMk/>
            <pc:sldMk cId="330590832" sldId="1724"/>
            <ac:spMk id="8" creationId="{FEC521E3-4058-1275-6EE8-9B12B64FB470}"/>
          </ac:spMkLst>
        </pc:spChg>
        <pc:spChg chg="mod">
          <ac:chgData name="Khrystyna Yatsyna" userId="e6954dd7-6c9e-43c8-bd42-ff8c4ce5393f" providerId="ADAL" clId="{BBB5A732-C083-4ACD-876F-6FB9A2AAF4AA}" dt="2023-08-03T13:19:46.886" v="561"/>
          <ac:spMkLst>
            <pc:docMk/>
            <pc:sldMk cId="330590832" sldId="1724"/>
            <ac:spMk id="9" creationId="{C46E93DD-8E8B-D7DE-22EE-65DEDC978AB6}"/>
          </ac:spMkLst>
        </pc:spChg>
        <pc:spChg chg="mod">
          <ac:chgData name="Khrystyna Yatsyna" userId="e6954dd7-6c9e-43c8-bd42-ff8c4ce5393f" providerId="ADAL" clId="{BBB5A732-C083-4ACD-876F-6FB9A2AAF4AA}" dt="2023-08-03T13:19:46.886" v="561"/>
          <ac:spMkLst>
            <pc:docMk/>
            <pc:sldMk cId="330590832" sldId="1724"/>
            <ac:spMk id="10" creationId="{82CEE132-D612-28DD-C043-B558D3AD9D8D}"/>
          </ac:spMkLst>
        </pc:spChg>
        <pc:spChg chg="mod">
          <ac:chgData name="Khrystyna Yatsyna" userId="e6954dd7-6c9e-43c8-bd42-ff8c4ce5393f" providerId="ADAL" clId="{BBB5A732-C083-4ACD-876F-6FB9A2AAF4AA}" dt="2023-08-03T13:19:46.886" v="561"/>
          <ac:spMkLst>
            <pc:docMk/>
            <pc:sldMk cId="330590832" sldId="1724"/>
            <ac:spMk id="11" creationId="{36C06B16-02D0-4BBB-1ABF-596ABB646F62}"/>
          </ac:spMkLst>
        </pc:spChg>
        <pc:spChg chg="mod">
          <ac:chgData name="Khrystyna Yatsyna" userId="e6954dd7-6c9e-43c8-bd42-ff8c4ce5393f" providerId="ADAL" clId="{BBB5A732-C083-4ACD-876F-6FB9A2AAF4AA}" dt="2023-08-18T12:29:29.503" v="653" actId="108"/>
          <ac:spMkLst>
            <pc:docMk/>
            <pc:sldMk cId="330590832" sldId="1724"/>
            <ac:spMk id="82" creationId="{C5C7B467-E7D0-78E1-5E15-DBDE1432D9D6}"/>
          </ac:spMkLst>
        </pc:spChg>
        <pc:spChg chg="del mod">
          <ac:chgData name="Khrystyna Yatsyna" userId="e6954dd7-6c9e-43c8-bd42-ff8c4ce5393f" providerId="ADAL" clId="{BBB5A732-C083-4ACD-876F-6FB9A2AAF4AA}" dt="2023-08-03T13:19:46.602" v="560" actId="478"/>
          <ac:spMkLst>
            <pc:docMk/>
            <pc:sldMk cId="330590832" sldId="1724"/>
            <ac:spMk id="84" creationId="{68DAE183-8D06-8B0D-9912-C0FD1F285B35}"/>
          </ac:spMkLst>
        </pc:spChg>
        <pc:spChg chg="mod">
          <ac:chgData name="Khrystyna Yatsyna" userId="e6954dd7-6c9e-43c8-bd42-ff8c4ce5393f" providerId="ADAL" clId="{BBB5A732-C083-4ACD-876F-6FB9A2AAF4AA}" dt="2023-08-18T12:29:30.592" v="654" actId="108"/>
          <ac:spMkLst>
            <pc:docMk/>
            <pc:sldMk cId="330590832" sldId="1724"/>
            <ac:spMk id="92" creationId="{A3F75C23-58FC-7F93-6E0B-91C6535CCDC4}"/>
          </ac:spMkLst>
        </pc:spChg>
        <pc:spChg chg="mod">
          <ac:chgData name="Khrystyna Yatsyna" userId="e6954dd7-6c9e-43c8-bd42-ff8c4ce5393f" providerId="ADAL" clId="{BBB5A732-C083-4ACD-876F-6FB9A2AAF4AA}" dt="2023-08-18T12:29:31.511" v="655" actId="108"/>
          <ac:spMkLst>
            <pc:docMk/>
            <pc:sldMk cId="330590832" sldId="1724"/>
            <ac:spMk id="94" creationId="{E44508FF-5220-D19C-5587-91809CC0CDE8}"/>
          </ac:spMkLst>
        </pc:spChg>
        <pc:spChg chg="mod">
          <ac:chgData name="Khrystyna Yatsyna" userId="e6954dd7-6c9e-43c8-bd42-ff8c4ce5393f" providerId="ADAL" clId="{BBB5A732-C083-4ACD-876F-6FB9A2AAF4AA}" dt="2023-08-18T12:29:32.722" v="656" actId="108"/>
          <ac:spMkLst>
            <pc:docMk/>
            <pc:sldMk cId="330590832" sldId="1724"/>
            <ac:spMk id="96" creationId="{0A91A7DE-EE4D-1E2F-EDE2-08AA59DAD2D9}"/>
          </ac:spMkLst>
        </pc:spChg>
        <pc:spChg chg="mod">
          <ac:chgData name="Khrystyna Yatsyna" userId="e6954dd7-6c9e-43c8-bd42-ff8c4ce5393f" providerId="ADAL" clId="{BBB5A732-C083-4ACD-876F-6FB9A2AAF4AA}" dt="2023-08-18T12:29:34.313" v="657" actId="108"/>
          <ac:spMkLst>
            <pc:docMk/>
            <pc:sldMk cId="330590832" sldId="1724"/>
            <ac:spMk id="98" creationId="{6B254A50-A824-1FEF-337F-A8C730C03549}"/>
          </ac:spMkLst>
        </pc:spChg>
        <pc:spChg chg="mod">
          <ac:chgData name="Khrystyna Yatsyna" userId="e6954dd7-6c9e-43c8-bd42-ff8c4ce5393f" providerId="ADAL" clId="{BBB5A732-C083-4ACD-876F-6FB9A2AAF4AA}" dt="2023-08-18T12:29:35.962" v="658" actId="108"/>
          <ac:spMkLst>
            <pc:docMk/>
            <pc:sldMk cId="330590832" sldId="1724"/>
            <ac:spMk id="100" creationId="{6810DC98-AA0C-3659-DBBA-FE4B43BAC66A}"/>
          </ac:spMkLst>
        </pc:spChg>
        <pc:grpChg chg="add mod">
          <ac:chgData name="Khrystyna Yatsyna" userId="e6954dd7-6c9e-43c8-bd42-ff8c4ce5393f" providerId="ADAL" clId="{BBB5A732-C083-4ACD-876F-6FB9A2AAF4AA}" dt="2023-08-03T13:19:46.886" v="561"/>
          <ac:grpSpMkLst>
            <pc:docMk/>
            <pc:sldMk cId="330590832" sldId="1724"/>
            <ac:grpSpMk id="5" creationId="{AE33D5FE-AF06-658B-43FA-9ED5BB1E7239}"/>
          </ac:grpSpMkLst>
        </pc:grpChg>
        <pc:grpChg chg="del">
          <ac:chgData name="Khrystyna Yatsyna" userId="e6954dd7-6c9e-43c8-bd42-ff8c4ce5393f" providerId="ADAL" clId="{BBB5A732-C083-4ACD-876F-6FB9A2AAF4AA}" dt="2023-08-03T13:19:46.602" v="560" actId="478"/>
          <ac:grpSpMkLst>
            <pc:docMk/>
            <pc:sldMk cId="330590832" sldId="1724"/>
            <ac:grpSpMk id="85" creationId="{C991510E-99D0-6A73-F991-2F1A5EB651C7}"/>
          </ac:grpSpMkLst>
        </pc:grpChg>
        <pc:picChg chg="mod">
          <ac:chgData name="Khrystyna Yatsyna" userId="e6954dd7-6c9e-43c8-bd42-ff8c4ce5393f" providerId="ADAL" clId="{BBB5A732-C083-4ACD-876F-6FB9A2AAF4AA}" dt="2023-08-03T11:21:38.970" v="347" actId="3626"/>
          <ac:picMkLst>
            <pc:docMk/>
            <pc:sldMk cId="330590832" sldId="1724"/>
            <ac:picMk id="83" creationId="{1A1D6E86-3728-622B-28AC-68D6DE6E3CAE}"/>
          </ac:picMkLst>
        </pc:picChg>
        <pc:picChg chg="mod">
          <ac:chgData name="Khrystyna Yatsyna" userId="e6954dd7-6c9e-43c8-bd42-ff8c4ce5393f" providerId="ADAL" clId="{BBB5A732-C083-4ACD-876F-6FB9A2AAF4AA}" dt="2023-08-03T11:21:48.092" v="349" actId="3626"/>
          <ac:picMkLst>
            <pc:docMk/>
            <pc:sldMk cId="330590832" sldId="1724"/>
            <ac:picMk id="93" creationId="{6D66E651-D8FE-77B0-06D0-95867C94EA75}"/>
          </ac:picMkLst>
        </pc:picChg>
        <pc:picChg chg="mod">
          <ac:chgData name="Khrystyna Yatsyna" userId="e6954dd7-6c9e-43c8-bd42-ff8c4ce5393f" providerId="ADAL" clId="{BBB5A732-C083-4ACD-876F-6FB9A2AAF4AA}" dt="2023-08-03T11:21:51.195" v="351" actId="3626"/>
          <ac:picMkLst>
            <pc:docMk/>
            <pc:sldMk cId="330590832" sldId="1724"/>
            <ac:picMk id="95" creationId="{570C70E1-F8D7-B6BA-149E-BE2B16DD3050}"/>
          </ac:picMkLst>
        </pc:picChg>
        <pc:picChg chg="mod">
          <ac:chgData name="Khrystyna Yatsyna" userId="e6954dd7-6c9e-43c8-bd42-ff8c4ce5393f" providerId="ADAL" clId="{BBB5A732-C083-4ACD-876F-6FB9A2AAF4AA}" dt="2023-08-03T11:21:55.064" v="353" actId="3626"/>
          <ac:picMkLst>
            <pc:docMk/>
            <pc:sldMk cId="330590832" sldId="1724"/>
            <ac:picMk id="97" creationId="{AA426184-A960-4355-9CD0-77AFE61C14E8}"/>
          </ac:picMkLst>
        </pc:picChg>
        <pc:picChg chg="mod">
          <ac:chgData name="Khrystyna Yatsyna" userId="e6954dd7-6c9e-43c8-bd42-ff8c4ce5393f" providerId="ADAL" clId="{BBB5A732-C083-4ACD-876F-6FB9A2AAF4AA}" dt="2023-08-03T11:21:58.941" v="355" actId="3626"/>
          <ac:picMkLst>
            <pc:docMk/>
            <pc:sldMk cId="330590832" sldId="1724"/>
            <ac:picMk id="99" creationId="{788B9CFA-6E09-2CE2-DDB4-98F05A16B920}"/>
          </ac:picMkLst>
        </pc:picChg>
        <pc:picChg chg="mod">
          <ac:chgData name="Khrystyna Yatsyna" userId="e6954dd7-6c9e-43c8-bd42-ff8c4ce5393f" providerId="ADAL" clId="{BBB5A732-C083-4ACD-876F-6FB9A2AAF4AA}" dt="2023-08-03T11:22:02.214" v="357" actId="3626"/>
          <ac:picMkLst>
            <pc:docMk/>
            <pc:sldMk cId="330590832" sldId="1724"/>
            <ac:picMk id="101" creationId="{61A9C3B5-06F6-E68A-9389-86F924AC3EB0}"/>
          </ac:picMkLst>
        </pc:picChg>
      </pc:sldChg>
      <pc:sldChg chg="modSp mod">
        <pc:chgData name="Khrystyna Yatsyna" userId="e6954dd7-6c9e-43c8-bd42-ff8c4ce5393f" providerId="ADAL" clId="{BBB5A732-C083-4ACD-876F-6FB9A2AAF4AA}" dt="2023-08-18T12:29:44.711" v="663" actId="108"/>
        <pc:sldMkLst>
          <pc:docMk/>
          <pc:sldMk cId="344793575" sldId="1725"/>
        </pc:sldMkLst>
        <pc:spChg chg="mod">
          <ac:chgData name="Khrystyna Yatsyna" userId="e6954dd7-6c9e-43c8-bd42-ff8c4ce5393f" providerId="ADAL" clId="{BBB5A732-C083-4ACD-876F-6FB9A2AAF4AA}" dt="2023-07-27T11:18:08.762" v="42" actId="1076"/>
          <ac:spMkLst>
            <pc:docMk/>
            <pc:sldMk cId="344793575" sldId="1725"/>
            <ac:spMk id="41" creationId="{D6A078F5-7B96-89E3-782F-E0D48AD4CFC6}"/>
          </ac:spMkLst>
        </pc:spChg>
        <pc:spChg chg="mod">
          <ac:chgData name="Khrystyna Yatsyna" userId="e6954dd7-6c9e-43c8-bd42-ff8c4ce5393f" providerId="ADAL" clId="{BBB5A732-C083-4ACD-876F-6FB9A2AAF4AA}" dt="2023-08-03T11:22:08.134" v="358" actId="3626"/>
          <ac:spMkLst>
            <pc:docMk/>
            <pc:sldMk cId="344793575" sldId="1725"/>
            <ac:spMk id="139" creationId="{31E25F68-E09B-82B5-7731-550B792544D3}"/>
          </ac:spMkLst>
        </pc:spChg>
        <pc:spChg chg="mod">
          <ac:chgData name="Khrystyna Yatsyna" userId="e6954dd7-6c9e-43c8-bd42-ff8c4ce5393f" providerId="ADAL" clId="{BBB5A732-C083-4ACD-876F-6FB9A2AAF4AA}" dt="2023-08-18T12:29:39.600" v="659" actId="108"/>
          <ac:spMkLst>
            <pc:docMk/>
            <pc:sldMk cId="344793575" sldId="1725"/>
            <ac:spMk id="154" creationId="{7F8D4C94-DD58-3833-346E-A52DE25FEDEB}"/>
          </ac:spMkLst>
        </pc:spChg>
        <pc:spChg chg="mod">
          <ac:chgData name="Khrystyna Yatsyna" userId="e6954dd7-6c9e-43c8-bd42-ff8c4ce5393f" providerId="ADAL" clId="{BBB5A732-C083-4ACD-876F-6FB9A2AAF4AA}" dt="2023-08-18T12:29:41.101" v="660" actId="108"/>
          <ac:spMkLst>
            <pc:docMk/>
            <pc:sldMk cId="344793575" sldId="1725"/>
            <ac:spMk id="156" creationId="{76CF49CE-B3F2-08EC-19D0-871633FFC8A2}"/>
          </ac:spMkLst>
        </pc:spChg>
        <pc:spChg chg="mod">
          <ac:chgData name="Khrystyna Yatsyna" userId="e6954dd7-6c9e-43c8-bd42-ff8c4ce5393f" providerId="ADAL" clId="{BBB5A732-C083-4ACD-876F-6FB9A2AAF4AA}" dt="2023-08-18T12:29:42.144" v="661" actId="108"/>
          <ac:spMkLst>
            <pc:docMk/>
            <pc:sldMk cId="344793575" sldId="1725"/>
            <ac:spMk id="158" creationId="{C1295D9E-0CB4-3083-DB76-88CF2877EF26}"/>
          </ac:spMkLst>
        </pc:spChg>
        <pc:spChg chg="mod">
          <ac:chgData name="Khrystyna Yatsyna" userId="e6954dd7-6c9e-43c8-bd42-ff8c4ce5393f" providerId="ADAL" clId="{BBB5A732-C083-4ACD-876F-6FB9A2AAF4AA}" dt="2023-08-18T12:29:43.435" v="662" actId="108"/>
          <ac:spMkLst>
            <pc:docMk/>
            <pc:sldMk cId="344793575" sldId="1725"/>
            <ac:spMk id="160" creationId="{FCEE3181-0C67-DA29-0E26-C4328A995A6E}"/>
          </ac:spMkLst>
        </pc:spChg>
        <pc:spChg chg="mod">
          <ac:chgData name="Khrystyna Yatsyna" userId="e6954dd7-6c9e-43c8-bd42-ff8c4ce5393f" providerId="ADAL" clId="{BBB5A732-C083-4ACD-876F-6FB9A2AAF4AA}" dt="2023-08-18T12:29:44.711" v="663" actId="108"/>
          <ac:spMkLst>
            <pc:docMk/>
            <pc:sldMk cId="344793575" sldId="1725"/>
            <ac:spMk id="162" creationId="{B8F1DD9D-D796-3CEA-CD0E-1FBEC41E25B2}"/>
          </ac:spMkLst>
        </pc:spChg>
        <pc:picChg chg="mod">
          <ac:chgData name="Khrystyna Yatsyna" userId="e6954dd7-6c9e-43c8-bd42-ff8c4ce5393f" providerId="ADAL" clId="{BBB5A732-C083-4ACD-876F-6FB9A2AAF4AA}" dt="2023-08-03T11:22:10.391" v="359" actId="3626"/>
          <ac:picMkLst>
            <pc:docMk/>
            <pc:sldMk cId="344793575" sldId="1725"/>
            <ac:picMk id="141" creationId="{F1B7537B-36BA-51F3-D178-6D3CB570DFCE}"/>
          </ac:picMkLst>
        </pc:picChg>
        <pc:picChg chg="mod">
          <ac:chgData name="Khrystyna Yatsyna" userId="e6954dd7-6c9e-43c8-bd42-ff8c4ce5393f" providerId="ADAL" clId="{BBB5A732-C083-4ACD-876F-6FB9A2AAF4AA}" dt="2023-08-03T11:22:14.076" v="361" actId="3626"/>
          <ac:picMkLst>
            <pc:docMk/>
            <pc:sldMk cId="344793575" sldId="1725"/>
            <ac:picMk id="155" creationId="{419DE925-15E8-E153-B164-AE98BCADCE65}"/>
          </ac:picMkLst>
        </pc:picChg>
        <pc:picChg chg="mod">
          <ac:chgData name="Khrystyna Yatsyna" userId="e6954dd7-6c9e-43c8-bd42-ff8c4ce5393f" providerId="ADAL" clId="{BBB5A732-C083-4ACD-876F-6FB9A2AAF4AA}" dt="2023-08-03T11:22:17.900" v="363" actId="3626"/>
          <ac:picMkLst>
            <pc:docMk/>
            <pc:sldMk cId="344793575" sldId="1725"/>
            <ac:picMk id="157" creationId="{1BEE4610-6607-4183-F625-ADC9930D60DA}"/>
          </ac:picMkLst>
        </pc:picChg>
        <pc:picChg chg="mod">
          <ac:chgData name="Khrystyna Yatsyna" userId="e6954dd7-6c9e-43c8-bd42-ff8c4ce5393f" providerId="ADAL" clId="{BBB5A732-C083-4ACD-876F-6FB9A2AAF4AA}" dt="2023-08-03T11:22:21.556" v="365" actId="3626"/>
          <ac:picMkLst>
            <pc:docMk/>
            <pc:sldMk cId="344793575" sldId="1725"/>
            <ac:picMk id="159" creationId="{4418DC59-77E5-6EB6-578B-9028E656B05F}"/>
          </ac:picMkLst>
        </pc:picChg>
        <pc:picChg chg="mod">
          <ac:chgData name="Khrystyna Yatsyna" userId="e6954dd7-6c9e-43c8-bd42-ff8c4ce5393f" providerId="ADAL" clId="{BBB5A732-C083-4ACD-876F-6FB9A2AAF4AA}" dt="2023-08-03T11:22:25.210" v="367" actId="3626"/>
          <ac:picMkLst>
            <pc:docMk/>
            <pc:sldMk cId="344793575" sldId="1725"/>
            <ac:picMk id="161" creationId="{793519C5-110C-1E0C-5C9C-63F50034F565}"/>
          </ac:picMkLst>
        </pc:picChg>
        <pc:picChg chg="mod">
          <ac:chgData name="Khrystyna Yatsyna" userId="e6954dd7-6c9e-43c8-bd42-ff8c4ce5393f" providerId="ADAL" clId="{BBB5A732-C083-4ACD-876F-6FB9A2AAF4AA}" dt="2023-08-03T11:22:28.897" v="369" actId="3626"/>
          <ac:picMkLst>
            <pc:docMk/>
            <pc:sldMk cId="344793575" sldId="1725"/>
            <ac:picMk id="163" creationId="{59F8F3A7-6BC5-1201-40EA-C3676DBFCBCA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0:12.970" v="680" actId="108"/>
        <pc:sldMkLst>
          <pc:docMk/>
          <pc:sldMk cId="3338035443" sldId="3218"/>
        </pc:sldMkLst>
        <pc:spChg chg="add mod">
          <ac:chgData name="Khrystyna Yatsyna" userId="e6954dd7-6c9e-43c8-bd42-ff8c4ce5393f" providerId="ADAL" clId="{BBB5A732-C083-4ACD-876F-6FB9A2AAF4AA}" dt="2023-08-03T13:19:57.263" v="563"/>
          <ac:spMkLst>
            <pc:docMk/>
            <pc:sldMk cId="3338035443" sldId="3218"/>
            <ac:spMk id="4" creationId="{143FBDD5-EEBF-9CA3-CB62-FB08ED5EB4D0}"/>
          </ac:spMkLst>
        </pc:spChg>
        <pc:spChg chg="mod">
          <ac:chgData name="Khrystyna Yatsyna" userId="e6954dd7-6c9e-43c8-bd42-ff8c4ce5393f" providerId="ADAL" clId="{BBB5A732-C083-4ACD-876F-6FB9A2AAF4AA}" dt="2023-08-03T13:19:57.263" v="563"/>
          <ac:spMkLst>
            <pc:docMk/>
            <pc:sldMk cId="3338035443" sldId="3218"/>
            <ac:spMk id="6" creationId="{33FAC1E9-E549-B5B1-854E-5DBBE45BCDA8}"/>
          </ac:spMkLst>
        </pc:spChg>
        <pc:spChg chg="mod">
          <ac:chgData name="Khrystyna Yatsyna" userId="e6954dd7-6c9e-43c8-bd42-ff8c4ce5393f" providerId="ADAL" clId="{BBB5A732-C083-4ACD-876F-6FB9A2AAF4AA}" dt="2023-08-03T13:19:57.263" v="563"/>
          <ac:spMkLst>
            <pc:docMk/>
            <pc:sldMk cId="3338035443" sldId="3218"/>
            <ac:spMk id="8" creationId="{FCFABDF9-754E-31F5-D983-68B3F185DB9A}"/>
          </ac:spMkLst>
        </pc:spChg>
        <pc:spChg chg="mod">
          <ac:chgData name="Khrystyna Yatsyna" userId="e6954dd7-6c9e-43c8-bd42-ff8c4ce5393f" providerId="ADAL" clId="{BBB5A732-C083-4ACD-876F-6FB9A2AAF4AA}" dt="2023-08-03T13:19:57.263" v="563"/>
          <ac:spMkLst>
            <pc:docMk/>
            <pc:sldMk cId="3338035443" sldId="3218"/>
            <ac:spMk id="10" creationId="{46DB6BB6-5687-CA32-4E3C-850AD9ADB308}"/>
          </ac:spMkLst>
        </pc:spChg>
        <pc:spChg chg="mod">
          <ac:chgData name="Khrystyna Yatsyna" userId="e6954dd7-6c9e-43c8-bd42-ff8c4ce5393f" providerId="ADAL" clId="{BBB5A732-C083-4ACD-876F-6FB9A2AAF4AA}" dt="2023-08-02T11:29:32.245" v="310"/>
          <ac:spMkLst>
            <pc:docMk/>
            <pc:sldMk cId="3338035443" sldId="3218"/>
            <ac:spMk id="12" creationId="{13198F4A-3ABC-4E1E-36CA-7A251CB30B69}"/>
          </ac:spMkLst>
        </pc:spChg>
        <pc:spChg chg="mod">
          <ac:chgData name="Khrystyna Yatsyna" userId="e6954dd7-6c9e-43c8-bd42-ff8c4ce5393f" providerId="ADAL" clId="{BBB5A732-C083-4ACD-876F-6FB9A2AAF4AA}" dt="2023-08-03T13:19:57.263" v="563"/>
          <ac:spMkLst>
            <pc:docMk/>
            <pc:sldMk cId="3338035443" sldId="3218"/>
            <ac:spMk id="14" creationId="{E1586D95-6001-9D79-AAB4-27AFA35FF0D5}"/>
          </ac:spMkLst>
        </pc:spChg>
        <pc:spChg chg="mod">
          <ac:chgData name="Khrystyna Yatsyna" userId="e6954dd7-6c9e-43c8-bd42-ff8c4ce5393f" providerId="ADAL" clId="{BBB5A732-C083-4ACD-876F-6FB9A2AAF4AA}" dt="2023-08-03T13:19:57.263" v="563"/>
          <ac:spMkLst>
            <pc:docMk/>
            <pc:sldMk cId="3338035443" sldId="3218"/>
            <ac:spMk id="15" creationId="{8352E204-FED8-1CE8-6D29-64B9B4AC2B52}"/>
          </ac:spMkLst>
        </pc:spChg>
        <pc:spChg chg="mod">
          <ac:chgData name="Khrystyna Yatsyna" userId="e6954dd7-6c9e-43c8-bd42-ff8c4ce5393f" providerId="ADAL" clId="{BBB5A732-C083-4ACD-876F-6FB9A2AAF4AA}" dt="2023-08-03T13:19:57.263" v="563"/>
          <ac:spMkLst>
            <pc:docMk/>
            <pc:sldMk cId="3338035443" sldId="3218"/>
            <ac:spMk id="16" creationId="{C3B79EA8-216F-2896-8532-C850D84A8E8B}"/>
          </ac:spMkLst>
        </pc:spChg>
        <pc:spChg chg="mod">
          <ac:chgData name="Khrystyna Yatsyna" userId="e6954dd7-6c9e-43c8-bd42-ff8c4ce5393f" providerId="ADAL" clId="{BBB5A732-C083-4ACD-876F-6FB9A2AAF4AA}" dt="2023-08-02T11:29:22.760" v="308"/>
          <ac:spMkLst>
            <pc:docMk/>
            <pc:sldMk cId="3338035443" sldId="3218"/>
            <ac:spMk id="35" creationId="{7858DB59-B80D-2CF5-0615-E8210CBB772B}"/>
          </ac:spMkLst>
        </pc:spChg>
        <pc:spChg chg="mod">
          <ac:chgData name="Khrystyna Yatsyna" userId="e6954dd7-6c9e-43c8-bd42-ff8c4ce5393f" providerId="ADAL" clId="{BBB5A732-C083-4ACD-876F-6FB9A2AAF4AA}" dt="2023-08-02T11:29:37.297" v="311"/>
          <ac:spMkLst>
            <pc:docMk/>
            <pc:sldMk cId="3338035443" sldId="3218"/>
            <ac:spMk id="44" creationId="{3A05BB25-8DB0-2C4D-E1C9-4655CF9B0383}"/>
          </ac:spMkLst>
        </pc:spChg>
        <pc:spChg chg="del mod">
          <ac:chgData name="Khrystyna Yatsyna" userId="e6954dd7-6c9e-43c8-bd42-ff8c4ce5393f" providerId="ADAL" clId="{BBB5A732-C083-4ACD-876F-6FB9A2AAF4AA}" dt="2023-08-03T13:19:56.948" v="562" actId="478"/>
          <ac:spMkLst>
            <pc:docMk/>
            <pc:sldMk cId="3338035443" sldId="3218"/>
            <ac:spMk id="78" creationId="{3B118BD4-D570-049F-E544-58FF5D13F8D8}"/>
          </ac:spMkLst>
        </pc:spChg>
        <pc:spChg chg="mod">
          <ac:chgData name="Khrystyna Yatsyna" userId="e6954dd7-6c9e-43c8-bd42-ff8c4ce5393f" providerId="ADAL" clId="{BBB5A732-C083-4ACD-876F-6FB9A2AAF4AA}" dt="2023-08-18T12:30:06.935" v="676" actId="108"/>
          <ac:spMkLst>
            <pc:docMk/>
            <pc:sldMk cId="3338035443" sldId="3218"/>
            <ac:spMk id="86" creationId="{810221C0-D126-2E64-D552-F1A4E217D914}"/>
          </ac:spMkLst>
        </pc:spChg>
        <pc:spChg chg="mod">
          <ac:chgData name="Khrystyna Yatsyna" userId="e6954dd7-6c9e-43c8-bd42-ff8c4ce5393f" providerId="ADAL" clId="{BBB5A732-C083-4ACD-876F-6FB9A2AAF4AA}" dt="2023-08-18T12:30:08.037" v="677" actId="108"/>
          <ac:spMkLst>
            <pc:docMk/>
            <pc:sldMk cId="3338035443" sldId="3218"/>
            <ac:spMk id="88" creationId="{9264F37C-D4CE-E99E-026B-B6BAEBECEF7F}"/>
          </ac:spMkLst>
        </pc:spChg>
        <pc:spChg chg="mod">
          <ac:chgData name="Khrystyna Yatsyna" userId="e6954dd7-6c9e-43c8-bd42-ff8c4ce5393f" providerId="ADAL" clId="{BBB5A732-C083-4ACD-876F-6FB9A2AAF4AA}" dt="2023-08-18T12:30:09.206" v="678" actId="108"/>
          <ac:spMkLst>
            <pc:docMk/>
            <pc:sldMk cId="3338035443" sldId="3218"/>
            <ac:spMk id="90" creationId="{4E513056-ABA9-449F-0FAD-AFC5B1DC3F29}"/>
          </ac:spMkLst>
        </pc:spChg>
        <pc:spChg chg="mod">
          <ac:chgData name="Khrystyna Yatsyna" userId="e6954dd7-6c9e-43c8-bd42-ff8c4ce5393f" providerId="ADAL" clId="{BBB5A732-C083-4ACD-876F-6FB9A2AAF4AA}" dt="2023-08-18T12:30:11.664" v="679" actId="108"/>
          <ac:spMkLst>
            <pc:docMk/>
            <pc:sldMk cId="3338035443" sldId="3218"/>
            <ac:spMk id="92" creationId="{807BAEDD-BC83-A503-BE20-6C24339EC8E0}"/>
          </ac:spMkLst>
        </pc:spChg>
        <pc:spChg chg="mod">
          <ac:chgData name="Khrystyna Yatsyna" userId="e6954dd7-6c9e-43c8-bd42-ff8c4ce5393f" providerId="ADAL" clId="{BBB5A732-C083-4ACD-876F-6FB9A2AAF4AA}" dt="2023-08-18T12:30:12.970" v="680" actId="108"/>
          <ac:spMkLst>
            <pc:docMk/>
            <pc:sldMk cId="3338035443" sldId="3218"/>
            <ac:spMk id="94" creationId="{1B79A8CF-03F4-A877-4A3D-31ADA2C53CF3}"/>
          </ac:spMkLst>
        </pc:spChg>
        <pc:grpChg chg="add mod">
          <ac:chgData name="Khrystyna Yatsyna" userId="e6954dd7-6c9e-43c8-bd42-ff8c4ce5393f" providerId="ADAL" clId="{BBB5A732-C083-4ACD-876F-6FB9A2AAF4AA}" dt="2023-08-03T13:19:57.263" v="563"/>
          <ac:grpSpMkLst>
            <pc:docMk/>
            <pc:sldMk cId="3338035443" sldId="3218"/>
            <ac:grpSpMk id="5" creationId="{48AB9CFD-8D8D-C009-BCA3-363E9F8701D5}"/>
          </ac:grpSpMkLst>
        </pc:grpChg>
        <pc:grpChg chg="del">
          <ac:chgData name="Khrystyna Yatsyna" userId="e6954dd7-6c9e-43c8-bd42-ff8c4ce5393f" providerId="ADAL" clId="{BBB5A732-C083-4ACD-876F-6FB9A2AAF4AA}" dt="2023-08-03T13:19:56.948" v="562" actId="478"/>
          <ac:grpSpMkLst>
            <pc:docMk/>
            <pc:sldMk cId="3338035443" sldId="3218"/>
            <ac:grpSpMk id="79" creationId="{B851CC2F-6CAF-8AB9-94B9-02CC3ED71490}"/>
          </ac:grpSpMkLst>
        </pc:grpChg>
        <pc:picChg chg="mod">
          <ac:chgData name="Khrystyna Yatsyna" userId="e6954dd7-6c9e-43c8-bd42-ff8c4ce5393f" providerId="ADAL" clId="{BBB5A732-C083-4ACD-876F-6FB9A2AAF4AA}" dt="2023-08-02T11:29:27.823" v="309"/>
          <ac:picMkLst>
            <pc:docMk/>
            <pc:sldMk cId="3338035443" sldId="3218"/>
            <ac:picMk id="7" creationId="{80B0CA14-EEA5-94CC-6A58-9267AE06735B}"/>
          </ac:picMkLst>
        </pc:picChg>
        <pc:picChg chg="mod">
          <ac:chgData name="Khrystyna Yatsyna" userId="e6954dd7-6c9e-43c8-bd42-ff8c4ce5393f" providerId="ADAL" clId="{BBB5A732-C083-4ACD-876F-6FB9A2AAF4AA}" dt="2023-08-03T11:31:53.082" v="395" actId="3626"/>
          <ac:picMkLst>
            <pc:docMk/>
            <pc:sldMk cId="3338035443" sldId="3218"/>
            <ac:picMk id="87" creationId="{4EEC7A7C-1A52-84BC-83F5-897E5E69B057}"/>
          </ac:picMkLst>
        </pc:picChg>
        <pc:picChg chg="mod">
          <ac:chgData name="Khrystyna Yatsyna" userId="e6954dd7-6c9e-43c8-bd42-ff8c4ce5393f" providerId="ADAL" clId="{BBB5A732-C083-4ACD-876F-6FB9A2AAF4AA}" dt="2023-08-03T11:31:59.140" v="398" actId="3626"/>
          <ac:picMkLst>
            <pc:docMk/>
            <pc:sldMk cId="3338035443" sldId="3218"/>
            <ac:picMk id="89" creationId="{1260E163-6188-64B4-3C70-79A14A9B52C9}"/>
          </ac:picMkLst>
        </pc:picChg>
        <pc:picChg chg="mod">
          <ac:chgData name="Khrystyna Yatsyna" userId="e6954dd7-6c9e-43c8-bd42-ff8c4ce5393f" providerId="ADAL" clId="{BBB5A732-C083-4ACD-876F-6FB9A2AAF4AA}" dt="2023-08-03T11:32:02.683" v="400" actId="3626"/>
          <ac:picMkLst>
            <pc:docMk/>
            <pc:sldMk cId="3338035443" sldId="3218"/>
            <ac:picMk id="91" creationId="{2CFB8475-ACC1-4774-ABD9-DE5E04AF19AB}"/>
          </ac:picMkLst>
        </pc:picChg>
        <pc:picChg chg="mod">
          <ac:chgData name="Khrystyna Yatsyna" userId="e6954dd7-6c9e-43c8-bd42-ff8c4ce5393f" providerId="ADAL" clId="{BBB5A732-C083-4ACD-876F-6FB9A2AAF4AA}" dt="2023-08-03T11:32:07.765" v="402" actId="3626"/>
          <ac:picMkLst>
            <pc:docMk/>
            <pc:sldMk cId="3338035443" sldId="3218"/>
            <ac:picMk id="93" creationId="{5C66037F-5ACE-26A2-C85D-4CBF390EB23C}"/>
          </ac:picMkLst>
        </pc:picChg>
        <pc:picChg chg="mod">
          <ac:chgData name="Khrystyna Yatsyna" userId="e6954dd7-6c9e-43c8-bd42-ff8c4ce5393f" providerId="ADAL" clId="{BBB5A732-C083-4ACD-876F-6FB9A2AAF4AA}" dt="2023-08-03T11:32:11.679" v="404" actId="3626"/>
          <ac:picMkLst>
            <pc:docMk/>
            <pc:sldMk cId="3338035443" sldId="3218"/>
            <ac:picMk id="95" creationId="{8CCAE0E0-0834-60EF-E0A5-491DFF694FD2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0:30.653" v="690" actId="108"/>
        <pc:sldMkLst>
          <pc:docMk/>
          <pc:sldMk cId="268134376" sldId="3219"/>
        </pc:sldMkLst>
        <pc:spChg chg="add mod">
          <ac:chgData name="Khrystyna Yatsyna" userId="e6954dd7-6c9e-43c8-bd42-ff8c4ce5393f" providerId="ADAL" clId="{BBB5A732-C083-4ACD-876F-6FB9A2AAF4AA}" dt="2023-08-03T13:20:05.923" v="567"/>
          <ac:spMkLst>
            <pc:docMk/>
            <pc:sldMk cId="268134376" sldId="3219"/>
            <ac:spMk id="11" creationId="{A68E6EFC-9C66-F232-1F82-4FCBCACF6B3D}"/>
          </ac:spMkLst>
        </pc:spChg>
        <pc:spChg chg="mod">
          <ac:chgData name="Khrystyna Yatsyna" userId="e6954dd7-6c9e-43c8-bd42-ff8c4ce5393f" providerId="ADAL" clId="{BBB5A732-C083-4ACD-876F-6FB9A2AAF4AA}" dt="2023-08-03T13:20:05.923" v="567"/>
          <ac:spMkLst>
            <pc:docMk/>
            <pc:sldMk cId="268134376" sldId="3219"/>
            <ac:spMk id="14" creationId="{0263ED8A-702E-31C9-890F-DAC006FD87B3}"/>
          </ac:spMkLst>
        </pc:spChg>
        <pc:spChg chg="mod">
          <ac:chgData name="Khrystyna Yatsyna" userId="e6954dd7-6c9e-43c8-bd42-ff8c4ce5393f" providerId="ADAL" clId="{BBB5A732-C083-4ACD-876F-6FB9A2AAF4AA}" dt="2023-08-03T13:20:05.923" v="567"/>
          <ac:spMkLst>
            <pc:docMk/>
            <pc:sldMk cId="268134376" sldId="3219"/>
            <ac:spMk id="15" creationId="{F1BE890D-F2FA-7264-F2B6-E9E3B6D44F0C}"/>
          </ac:spMkLst>
        </pc:spChg>
        <pc:spChg chg="mod">
          <ac:chgData name="Khrystyna Yatsyna" userId="e6954dd7-6c9e-43c8-bd42-ff8c4ce5393f" providerId="ADAL" clId="{BBB5A732-C083-4ACD-876F-6FB9A2AAF4AA}" dt="2023-08-03T13:20:05.923" v="567"/>
          <ac:spMkLst>
            <pc:docMk/>
            <pc:sldMk cId="268134376" sldId="3219"/>
            <ac:spMk id="16" creationId="{FCC1CE54-281B-9BE7-21C5-D05CB8D4094D}"/>
          </ac:spMkLst>
        </pc:spChg>
        <pc:spChg chg="mod">
          <ac:chgData name="Khrystyna Yatsyna" userId="e6954dd7-6c9e-43c8-bd42-ff8c4ce5393f" providerId="ADAL" clId="{BBB5A732-C083-4ACD-876F-6FB9A2AAF4AA}" dt="2023-08-03T13:20:05.923" v="567"/>
          <ac:spMkLst>
            <pc:docMk/>
            <pc:sldMk cId="268134376" sldId="3219"/>
            <ac:spMk id="17" creationId="{34F8F217-AFC5-2DDF-D986-C2B0CF920709}"/>
          </ac:spMkLst>
        </pc:spChg>
        <pc:spChg chg="mod">
          <ac:chgData name="Khrystyna Yatsyna" userId="e6954dd7-6c9e-43c8-bd42-ff8c4ce5393f" providerId="ADAL" clId="{BBB5A732-C083-4ACD-876F-6FB9A2AAF4AA}" dt="2023-08-03T13:20:05.923" v="567"/>
          <ac:spMkLst>
            <pc:docMk/>
            <pc:sldMk cId="268134376" sldId="3219"/>
            <ac:spMk id="18" creationId="{6E8215CC-B9B6-DF12-7F07-2F58B53779C9}"/>
          </ac:spMkLst>
        </pc:spChg>
        <pc:spChg chg="mod">
          <ac:chgData name="Khrystyna Yatsyna" userId="e6954dd7-6c9e-43c8-bd42-ff8c4ce5393f" providerId="ADAL" clId="{BBB5A732-C083-4ACD-876F-6FB9A2AAF4AA}" dt="2023-08-03T13:20:05.923" v="567"/>
          <ac:spMkLst>
            <pc:docMk/>
            <pc:sldMk cId="268134376" sldId="3219"/>
            <ac:spMk id="19" creationId="{0C6F08C0-C7D5-971E-1FAE-E7996F13ECD6}"/>
          </ac:spMkLst>
        </pc:spChg>
        <pc:spChg chg="del mod">
          <ac:chgData name="Khrystyna Yatsyna" userId="e6954dd7-6c9e-43c8-bd42-ff8c4ce5393f" providerId="ADAL" clId="{BBB5A732-C083-4ACD-876F-6FB9A2AAF4AA}" dt="2023-08-03T13:20:05.640" v="566" actId="478"/>
          <ac:spMkLst>
            <pc:docMk/>
            <pc:sldMk cId="268134376" sldId="3219"/>
            <ac:spMk id="71" creationId="{0820E534-A873-891C-0740-435356F8368F}"/>
          </ac:spMkLst>
        </pc:spChg>
        <pc:spChg chg="mod">
          <ac:chgData name="Khrystyna Yatsyna" userId="e6954dd7-6c9e-43c8-bd42-ff8c4ce5393f" providerId="ADAL" clId="{BBB5A732-C083-4ACD-876F-6FB9A2AAF4AA}" dt="2023-08-18T12:30:24.626" v="686" actId="108"/>
          <ac:spMkLst>
            <pc:docMk/>
            <pc:sldMk cId="268134376" sldId="3219"/>
            <ac:spMk id="93" creationId="{77438814-D501-C75D-8ACC-934950BC920B}"/>
          </ac:spMkLst>
        </pc:spChg>
        <pc:spChg chg="mod">
          <ac:chgData name="Khrystyna Yatsyna" userId="e6954dd7-6c9e-43c8-bd42-ff8c4ce5393f" providerId="ADAL" clId="{BBB5A732-C083-4ACD-876F-6FB9A2AAF4AA}" dt="2023-08-18T12:30:26.589" v="687" actId="108"/>
          <ac:spMkLst>
            <pc:docMk/>
            <pc:sldMk cId="268134376" sldId="3219"/>
            <ac:spMk id="95" creationId="{EBEEF056-6CBF-3BF1-BD6D-A270E3404A74}"/>
          </ac:spMkLst>
        </pc:spChg>
        <pc:spChg chg="mod">
          <ac:chgData name="Khrystyna Yatsyna" userId="e6954dd7-6c9e-43c8-bd42-ff8c4ce5393f" providerId="ADAL" clId="{BBB5A732-C083-4ACD-876F-6FB9A2AAF4AA}" dt="2023-08-18T12:30:27.803" v="688" actId="108"/>
          <ac:spMkLst>
            <pc:docMk/>
            <pc:sldMk cId="268134376" sldId="3219"/>
            <ac:spMk id="97" creationId="{0B421251-EAA2-672B-5C6C-FAAAA8E24592}"/>
          </ac:spMkLst>
        </pc:spChg>
        <pc:spChg chg="mod">
          <ac:chgData name="Khrystyna Yatsyna" userId="e6954dd7-6c9e-43c8-bd42-ff8c4ce5393f" providerId="ADAL" clId="{BBB5A732-C083-4ACD-876F-6FB9A2AAF4AA}" dt="2023-08-18T12:30:28.980" v="689" actId="108"/>
          <ac:spMkLst>
            <pc:docMk/>
            <pc:sldMk cId="268134376" sldId="3219"/>
            <ac:spMk id="101" creationId="{6E785302-B4BD-E094-0515-7030BE12198A}"/>
          </ac:spMkLst>
        </pc:spChg>
        <pc:spChg chg="mod">
          <ac:chgData name="Khrystyna Yatsyna" userId="e6954dd7-6c9e-43c8-bd42-ff8c4ce5393f" providerId="ADAL" clId="{BBB5A732-C083-4ACD-876F-6FB9A2AAF4AA}" dt="2023-08-18T12:30:30.653" v="690" actId="108"/>
          <ac:spMkLst>
            <pc:docMk/>
            <pc:sldMk cId="268134376" sldId="3219"/>
            <ac:spMk id="104" creationId="{520FDDD8-145A-373E-8C3F-1B1E36CD3958}"/>
          </ac:spMkLst>
        </pc:spChg>
        <pc:grpChg chg="add mod">
          <ac:chgData name="Khrystyna Yatsyna" userId="e6954dd7-6c9e-43c8-bd42-ff8c4ce5393f" providerId="ADAL" clId="{BBB5A732-C083-4ACD-876F-6FB9A2AAF4AA}" dt="2023-08-03T13:20:05.923" v="567"/>
          <ac:grpSpMkLst>
            <pc:docMk/>
            <pc:sldMk cId="268134376" sldId="3219"/>
            <ac:grpSpMk id="12" creationId="{012DC8C1-3EA1-F8BA-3BFE-B38F44CD5830}"/>
          </ac:grpSpMkLst>
        </pc:grpChg>
        <pc:grpChg chg="del">
          <ac:chgData name="Khrystyna Yatsyna" userId="e6954dd7-6c9e-43c8-bd42-ff8c4ce5393f" providerId="ADAL" clId="{BBB5A732-C083-4ACD-876F-6FB9A2AAF4AA}" dt="2023-08-03T13:20:05.640" v="566" actId="478"/>
          <ac:grpSpMkLst>
            <pc:docMk/>
            <pc:sldMk cId="268134376" sldId="3219"/>
            <ac:grpSpMk id="72" creationId="{837E3A0E-42E6-4AB7-504B-7CA65A369ADF}"/>
          </ac:grpSpMkLst>
        </pc:grpChg>
        <pc:picChg chg="mod">
          <ac:chgData name="Khrystyna Yatsyna" userId="e6954dd7-6c9e-43c8-bd42-ff8c4ce5393f" providerId="ADAL" clId="{BBB5A732-C083-4ACD-876F-6FB9A2AAF4AA}" dt="2023-08-03T11:33:00.934" v="419" actId="3626"/>
          <ac:picMkLst>
            <pc:docMk/>
            <pc:sldMk cId="268134376" sldId="3219"/>
            <ac:picMk id="94" creationId="{0947C370-89C1-1AA1-D3D4-90B24F4AD8D4}"/>
          </ac:picMkLst>
        </pc:picChg>
        <pc:picChg chg="mod">
          <ac:chgData name="Khrystyna Yatsyna" userId="e6954dd7-6c9e-43c8-bd42-ff8c4ce5393f" providerId="ADAL" clId="{BBB5A732-C083-4ACD-876F-6FB9A2AAF4AA}" dt="2023-08-03T11:33:05.036" v="421" actId="3626"/>
          <ac:picMkLst>
            <pc:docMk/>
            <pc:sldMk cId="268134376" sldId="3219"/>
            <ac:picMk id="96" creationId="{9D5BCAFB-21A2-545D-6F79-643DF72CE355}"/>
          </ac:picMkLst>
        </pc:picChg>
        <pc:picChg chg="mod">
          <ac:chgData name="Khrystyna Yatsyna" userId="e6954dd7-6c9e-43c8-bd42-ff8c4ce5393f" providerId="ADAL" clId="{BBB5A732-C083-4ACD-876F-6FB9A2AAF4AA}" dt="2023-08-03T11:33:08.689" v="423" actId="3626"/>
          <ac:picMkLst>
            <pc:docMk/>
            <pc:sldMk cId="268134376" sldId="3219"/>
            <ac:picMk id="100" creationId="{F6773099-2F58-40D5-F400-980798BE1421}"/>
          </ac:picMkLst>
        </pc:picChg>
        <pc:picChg chg="mod">
          <ac:chgData name="Khrystyna Yatsyna" userId="e6954dd7-6c9e-43c8-bd42-ff8c4ce5393f" providerId="ADAL" clId="{BBB5A732-C083-4ACD-876F-6FB9A2AAF4AA}" dt="2023-08-03T11:33:11.336" v="424" actId="3626"/>
          <ac:picMkLst>
            <pc:docMk/>
            <pc:sldMk cId="268134376" sldId="3219"/>
            <ac:picMk id="102" creationId="{F0013D06-D1C8-B764-4868-47809B9DE7DC}"/>
          </ac:picMkLst>
        </pc:picChg>
        <pc:picChg chg="mod">
          <ac:chgData name="Khrystyna Yatsyna" userId="e6954dd7-6c9e-43c8-bd42-ff8c4ce5393f" providerId="ADAL" clId="{BBB5A732-C083-4ACD-876F-6FB9A2AAF4AA}" dt="2023-08-03T11:33:16.367" v="427" actId="3626"/>
          <ac:picMkLst>
            <pc:docMk/>
            <pc:sldMk cId="268134376" sldId="3219"/>
            <ac:picMk id="105" creationId="{CB302D4C-B103-138C-D738-C862AA8167A8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0:46.282" v="700" actId="108"/>
        <pc:sldMkLst>
          <pc:docMk/>
          <pc:sldMk cId="295985250" sldId="3222"/>
        </pc:sldMkLst>
        <pc:spChg chg="add mod">
          <ac:chgData name="Khrystyna Yatsyna" userId="e6954dd7-6c9e-43c8-bd42-ff8c4ce5393f" providerId="ADAL" clId="{BBB5A732-C083-4ACD-876F-6FB9A2AAF4AA}" dt="2023-08-03T13:20:13.020" v="571"/>
          <ac:spMkLst>
            <pc:docMk/>
            <pc:sldMk cId="295985250" sldId="3222"/>
            <ac:spMk id="4" creationId="{2DADC589-F36F-98BD-4FCD-207A16B044BF}"/>
          </ac:spMkLst>
        </pc:spChg>
        <pc:spChg chg="mod">
          <ac:chgData name="Khrystyna Yatsyna" userId="e6954dd7-6c9e-43c8-bd42-ff8c4ce5393f" providerId="ADAL" clId="{BBB5A732-C083-4ACD-876F-6FB9A2AAF4AA}" dt="2023-08-03T13:20:13.020" v="571"/>
          <ac:spMkLst>
            <pc:docMk/>
            <pc:sldMk cId="295985250" sldId="3222"/>
            <ac:spMk id="6" creationId="{2865A0E2-C86C-42D9-EC57-90A936879CDC}"/>
          </ac:spMkLst>
        </pc:spChg>
        <pc:spChg chg="mod">
          <ac:chgData name="Khrystyna Yatsyna" userId="e6954dd7-6c9e-43c8-bd42-ff8c4ce5393f" providerId="ADAL" clId="{BBB5A732-C083-4ACD-876F-6FB9A2AAF4AA}" dt="2023-08-03T13:20:13.020" v="571"/>
          <ac:spMkLst>
            <pc:docMk/>
            <pc:sldMk cId="295985250" sldId="3222"/>
            <ac:spMk id="7" creationId="{E00FC883-89E3-2852-1C24-80C9E385501F}"/>
          </ac:spMkLst>
        </pc:spChg>
        <pc:spChg chg="mod">
          <ac:chgData name="Khrystyna Yatsyna" userId="e6954dd7-6c9e-43c8-bd42-ff8c4ce5393f" providerId="ADAL" clId="{BBB5A732-C083-4ACD-876F-6FB9A2AAF4AA}" dt="2023-08-03T13:20:13.020" v="571"/>
          <ac:spMkLst>
            <pc:docMk/>
            <pc:sldMk cId="295985250" sldId="3222"/>
            <ac:spMk id="8" creationId="{60DF20E7-A923-7E88-AA9F-587F497A9CE1}"/>
          </ac:spMkLst>
        </pc:spChg>
        <pc:spChg chg="mod">
          <ac:chgData name="Khrystyna Yatsyna" userId="e6954dd7-6c9e-43c8-bd42-ff8c4ce5393f" providerId="ADAL" clId="{BBB5A732-C083-4ACD-876F-6FB9A2AAF4AA}" dt="2023-08-03T13:20:13.020" v="571"/>
          <ac:spMkLst>
            <pc:docMk/>
            <pc:sldMk cId="295985250" sldId="3222"/>
            <ac:spMk id="9" creationId="{B03AE359-CA31-8C2B-A8A6-BC3252E4866D}"/>
          </ac:spMkLst>
        </pc:spChg>
        <pc:spChg chg="mod">
          <ac:chgData name="Khrystyna Yatsyna" userId="e6954dd7-6c9e-43c8-bd42-ff8c4ce5393f" providerId="ADAL" clId="{BBB5A732-C083-4ACD-876F-6FB9A2AAF4AA}" dt="2023-08-03T13:20:13.020" v="571"/>
          <ac:spMkLst>
            <pc:docMk/>
            <pc:sldMk cId="295985250" sldId="3222"/>
            <ac:spMk id="10" creationId="{C2C4ED0A-0EE9-ABFA-2CAA-5BFFB71C14FE}"/>
          </ac:spMkLst>
        </pc:spChg>
        <pc:spChg chg="mod">
          <ac:chgData name="Khrystyna Yatsyna" userId="e6954dd7-6c9e-43c8-bd42-ff8c4ce5393f" providerId="ADAL" clId="{BBB5A732-C083-4ACD-876F-6FB9A2AAF4AA}" dt="2023-08-03T13:20:13.020" v="571"/>
          <ac:spMkLst>
            <pc:docMk/>
            <pc:sldMk cId="295985250" sldId="3222"/>
            <ac:spMk id="11" creationId="{0680C91A-7530-003C-D989-B9460EA89CB5}"/>
          </ac:spMkLst>
        </pc:spChg>
        <pc:spChg chg="mod">
          <ac:chgData name="Khrystyna Yatsyna" userId="e6954dd7-6c9e-43c8-bd42-ff8c4ce5393f" providerId="ADAL" clId="{BBB5A732-C083-4ACD-876F-6FB9A2AAF4AA}" dt="2023-08-02T11:22:23.519" v="288" actId="20577"/>
          <ac:spMkLst>
            <pc:docMk/>
            <pc:sldMk cId="295985250" sldId="3222"/>
            <ac:spMk id="55" creationId="{2DF1B888-7584-A621-ED56-DB1362159E11}"/>
          </ac:spMkLst>
        </pc:spChg>
        <pc:spChg chg="mod">
          <ac:chgData name="Khrystyna Yatsyna" userId="e6954dd7-6c9e-43c8-bd42-ff8c4ce5393f" providerId="ADAL" clId="{BBB5A732-C083-4ACD-876F-6FB9A2AAF4AA}" dt="2023-08-02T11:22:30.768" v="291" actId="20577"/>
          <ac:spMkLst>
            <pc:docMk/>
            <pc:sldMk cId="295985250" sldId="3222"/>
            <ac:spMk id="61" creationId="{B51D873B-936E-F13A-02FE-9E9BC05DC4C5}"/>
          </ac:spMkLst>
        </pc:spChg>
        <pc:spChg chg="del mod">
          <ac:chgData name="Khrystyna Yatsyna" userId="e6954dd7-6c9e-43c8-bd42-ff8c4ce5393f" providerId="ADAL" clId="{BBB5A732-C083-4ACD-876F-6FB9A2AAF4AA}" dt="2023-08-03T13:20:12.816" v="570" actId="478"/>
          <ac:spMkLst>
            <pc:docMk/>
            <pc:sldMk cId="295985250" sldId="3222"/>
            <ac:spMk id="68" creationId="{DC2AD723-BE5A-E7B9-714D-5BF014B8C40E}"/>
          </ac:spMkLst>
        </pc:spChg>
        <pc:spChg chg="mod">
          <ac:chgData name="Khrystyna Yatsyna" userId="e6954dd7-6c9e-43c8-bd42-ff8c4ce5393f" providerId="ADAL" clId="{BBB5A732-C083-4ACD-876F-6FB9A2AAF4AA}" dt="2023-08-18T12:30:41.616" v="696" actId="108"/>
          <ac:spMkLst>
            <pc:docMk/>
            <pc:sldMk cId="295985250" sldId="3222"/>
            <ac:spMk id="76" creationId="{9C2152C6-8CC1-D283-F5B7-6BEEF242999A}"/>
          </ac:spMkLst>
        </pc:spChg>
        <pc:spChg chg="mod">
          <ac:chgData name="Khrystyna Yatsyna" userId="e6954dd7-6c9e-43c8-bd42-ff8c4ce5393f" providerId="ADAL" clId="{BBB5A732-C083-4ACD-876F-6FB9A2AAF4AA}" dt="2023-08-18T12:30:42.503" v="697" actId="108"/>
          <ac:spMkLst>
            <pc:docMk/>
            <pc:sldMk cId="295985250" sldId="3222"/>
            <ac:spMk id="78" creationId="{4DF797C8-C9E8-B9CE-0A24-3F60A577ACCE}"/>
          </ac:spMkLst>
        </pc:spChg>
        <pc:spChg chg="mod">
          <ac:chgData name="Khrystyna Yatsyna" userId="e6954dd7-6c9e-43c8-bd42-ff8c4ce5393f" providerId="ADAL" clId="{BBB5A732-C083-4ACD-876F-6FB9A2AAF4AA}" dt="2023-08-18T12:30:43.597" v="698" actId="108"/>
          <ac:spMkLst>
            <pc:docMk/>
            <pc:sldMk cId="295985250" sldId="3222"/>
            <ac:spMk id="80" creationId="{A0BFC9BA-8E6F-A045-97B9-FBD11CCA8FBC}"/>
          </ac:spMkLst>
        </pc:spChg>
        <pc:spChg chg="mod">
          <ac:chgData name="Khrystyna Yatsyna" userId="e6954dd7-6c9e-43c8-bd42-ff8c4ce5393f" providerId="ADAL" clId="{BBB5A732-C083-4ACD-876F-6FB9A2AAF4AA}" dt="2023-08-18T12:30:44.648" v="699" actId="108"/>
          <ac:spMkLst>
            <pc:docMk/>
            <pc:sldMk cId="295985250" sldId="3222"/>
            <ac:spMk id="82" creationId="{4182D200-DC84-F0B2-DDEA-6522C41D1458}"/>
          </ac:spMkLst>
        </pc:spChg>
        <pc:spChg chg="mod">
          <ac:chgData name="Khrystyna Yatsyna" userId="e6954dd7-6c9e-43c8-bd42-ff8c4ce5393f" providerId="ADAL" clId="{BBB5A732-C083-4ACD-876F-6FB9A2AAF4AA}" dt="2023-08-18T12:30:46.282" v="700" actId="108"/>
          <ac:spMkLst>
            <pc:docMk/>
            <pc:sldMk cId="295985250" sldId="3222"/>
            <ac:spMk id="84" creationId="{91EE82C9-EC6C-A356-96D1-44825E473E22}"/>
          </ac:spMkLst>
        </pc:spChg>
        <pc:grpChg chg="add mod">
          <ac:chgData name="Khrystyna Yatsyna" userId="e6954dd7-6c9e-43c8-bd42-ff8c4ce5393f" providerId="ADAL" clId="{BBB5A732-C083-4ACD-876F-6FB9A2AAF4AA}" dt="2023-08-03T13:20:13.020" v="571"/>
          <ac:grpSpMkLst>
            <pc:docMk/>
            <pc:sldMk cId="295985250" sldId="3222"/>
            <ac:grpSpMk id="5" creationId="{EE3EB9F4-B2AC-AF8A-2400-79557A9EAA38}"/>
          </ac:grpSpMkLst>
        </pc:grpChg>
        <pc:grpChg chg="del">
          <ac:chgData name="Khrystyna Yatsyna" userId="e6954dd7-6c9e-43c8-bd42-ff8c4ce5393f" providerId="ADAL" clId="{BBB5A732-C083-4ACD-876F-6FB9A2AAF4AA}" dt="2023-08-03T13:20:12.816" v="570" actId="478"/>
          <ac:grpSpMkLst>
            <pc:docMk/>
            <pc:sldMk cId="295985250" sldId="3222"/>
            <ac:grpSpMk id="69" creationId="{F8B05B7D-C889-D8B0-5A0B-BA1538C5894A}"/>
          </ac:grpSpMkLst>
        </pc:grpChg>
        <pc:picChg chg="mod">
          <ac:chgData name="Khrystyna Yatsyna" userId="e6954dd7-6c9e-43c8-bd42-ff8c4ce5393f" providerId="ADAL" clId="{BBB5A732-C083-4ACD-876F-6FB9A2AAF4AA}" dt="2023-08-03T11:33:50.739" v="441" actId="3626"/>
          <ac:picMkLst>
            <pc:docMk/>
            <pc:sldMk cId="295985250" sldId="3222"/>
            <ac:picMk id="77" creationId="{84DD07D1-8D4C-A9AC-07BB-6C0DA4C30EA0}"/>
          </ac:picMkLst>
        </pc:picChg>
        <pc:picChg chg="mod">
          <ac:chgData name="Khrystyna Yatsyna" userId="e6954dd7-6c9e-43c8-bd42-ff8c4ce5393f" providerId="ADAL" clId="{BBB5A732-C083-4ACD-876F-6FB9A2AAF4AA}" dt="2023-08-03T11:33:52.566" v="442" actId="3626"/>
          <ac:picMkLst>
            <pc:docMk/>
            <pc:sldMk cId="295985250" sldId="3222"/>
            <ac:picMk id="79" creationId="{606B2BC7-ECF2-821C-85B5-84FEA62392A4}"/>
          </ac:picMkLst>
        </pc:picChg>
        <pc:picChg chg="mod">
          <ac:chgData name="Khrystyna Yatsyna" userId="e6954dd7-6c9e-43c8-bd42-ff8c4ce5393f" providerId="ADAL" clId="{BBB5A732-C083-4ACD-876F-6FB9A2AAF4AA}" dt="2023-08-03T11:33:57.053" v="444" actId="3626"/>
          <ac:picMkLst>
            <pc:docMk/>
            <pc:sldMk cId="295985250" sldId="3222"/>
            <ac:picMk id="81" creationId="{8CF4257F-893F-FF02-4812-220239305421}"/>
          </ac:picMkLst>
        </pc:picChg>
        <pc:picChg chg="mod">
          <ac:chgData name="Khrystyna Yatsyna" userId="e6954dd7-6c9e-43c8-bd42-ff8c4ce5393f" providerId="ADAL" clId="{BBB5A732-C083-4ACD-876F-6FB9A2AAF4AA}" dt="2023-08-03T11:34:04.584" v="447" actId="3626"/>
          <ac:picMkLst>
            <pc:docMk/>
            <pc:sldMk cId="295985250" sldId="3222"/>
            <ac:picMk id="83" creationId="{271C45FF-D694-B5F8-769D-8787AF341ABD}"/>
          </ac:picMkLst>
        </pc:picChg>
        <pc:picChg chg="mod">
          <ac:chgData name="Khrystyna Yatsyna" userId="e6954dd7-6c9e-43c8-bd42-ff8c4ce5393f" providerId="ADAL" clId="{BBB5A732-C083-4ACD-876F-6FB9A2AAF4AA}" dt="2023-08-03T11:34:06.902" v="448" actId="3626"/>
          <ac:picMkLst>
            <pc:docMk/>
            <pc:sldMk cId="295985250" sldId="3222"/>
            <ac:picMk id="85" creationId="{901784FA-0857-402E-8855-181AF3287A32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2:05.656" v="751" actId="108"/>
        <pc:sldMkLst>
          <pc:docMk/>
          <pc:sldMk cId="3253296451" sldId="3223"/>
        </pc:sldMkLst>
        <pc:spChg chg="add mod">
          <ac:chgData name="Khrystyna Yatsyna" userId="e6954dd7-6c9e-43c8-bd42-ff8c4ce5393f" providerId="ADAL" clId="{BBB5A732-C083-4ACD-876F-6FB9A2AAF4AA}" dt="2023-08-03T13:20:49.853" v="594"/>
          <ac:spMkLst>
            <pc:docMk/>
            <pc:sldMk cId="3253296451" sldId="3223"/>
            <ac:spMk id="7" creationId="{20C16874-FE2E-3631-83BC-BD11F6608424}"/>
          </ac:spMkLst>
        </pc:spChg>
        <pc:spChg chg="mod">
          <ac:chgData name="Khrystyna Yatsyna" userId="e6954dd7-6c9e-43c8-bd42-ff8c4ce5393f" providerId="ADAL" clId="{BBB5A732-C083-4ACD-876F-6FB9A2AAF4AA}" dt="2023-08-03T13:20:49.853" v="594"/>
          <ac:spMkLst>
            <pc:docMk/>
            <pc:sldMk cId="3253296451" sldId="3223"/>
            <ac:spMk id="9" creationId="{23F8FFC5-27F4-8DAA-CDAA-1782F8633DC5}"/>
          </ac:spMkLst>
        </pc:spChg>
        <pc:spChg chg="mod">
          <ac:chgData name="Khrystyna Yatsyna" userId="e6954dd7-6c9e-43c8-bd42-ff8c4ce5393f" providerId="ADAL" clId="{BBB5A732-C083-4ACD-876F-6FB9A2AAF4AA}" dt="2023-08-03T13:20:49.853" v="594"/>
          <ac:spMkLst>
            <pc:docMk/>
            <pc:sldMk cId="3253296451" sldId="3223"/>
            <ac:spMk id="10" creationId="{95C6E62A-F8B7-1D9A-E486-1DD3DF177151}"/>
          </ac:spMkLst>
        </pc:spChg>
        <pc:spChg chg="mod">
          <ac:chgData name="Khrystyna Yatsyna" userId="e6954dd7-6c9e-43c8-bd42-ff8c4ce5393f" providerId="ADAL" clId="{BBB5A732-C083-4ACD-876F-6FB9A2AAF4AA}" dt="2023-08-03T13:20:49.853" v="594"/>
          <ac:spMkLst>
            <pc:docMk/>
            <pc:sldMk cId="3253296451" sldId="3223"/>
            <ac:spMk id="11" creationId="{5E99A576-1911-32DD-71FA-7DF4436B70E3}"/>
          </ac:spMkLst>
        </pc:spChg>
        <pc:spChg chg="mod">
          <ac:chgData name="Khrystyna Yatsyna" userId="e6954dd7-6c9e-43c8-bd42-ff8c4ce5393f" providerId="ADAL" clId="{BBB5A732-C083-4ACD-876F-6FB9A2AAF4AA}" dt="2023-08-03T13:20:49.853" v="594"/>
          <ac:spMkLst>
            <pc:docMk/>
            <pc:sldMk cId="3253296451" sldId="3223"/>
            <ac:spMk id="12" creationId="{A82A8E87-3942-87B3-50B7-2474F81D474E}"/>
          </ac:spMkLst>
        </pc:spChg>
        <pc:spChg chg="mod">
          <ac:chgData name="Khrystyna Yatsyna" userId="e6954dd7-6c9e-43c8-bd42-ff8c4ce5393f" providerId="ADAL" clId="{BBB5A732-C083-4ACD-876F-6FB9A2AAF4AA}" dt="2023-08-03T13:20:49.853" v="594"/>
          <ac:spMkLst>
            <pc:docMk/>
            <pc:sldMk cId="3253296451" sldId="3223"/>
            <ac:spMk id="13" creationId="{CD343FCC-3C0E-1574-9698-DF008D33FEDA}"/>
          </ac:spMkLst>
        </pc:spChg>
        <pc:spChg chg="mod">
          <ac:chgData name="Khrystyna Yatsyna" userId="e6954dd7-6c9e-43c8-bd42-ff8c4ce5393f" providerId="ADAL" clId="{BBB5A732-C083-4ACD-876F-6FB9A2AAF4AA}" dt="2023-08-03T13:20:49.853" v="594"/>
          <ac:spMkLst>
            <pc:docMk/>
            <pc:sldMk cId="3253296451" sldId="3223"/>
            <ac:spMk id="14" creationId="{04D53EB6-3E3D-8AE0-C61D-386273B2F6FE}"/>
          </ac:spMkLst>
        </pc:spChg>
        <pc:spChg chg="mod">
          <ac:chgData name="Khrystyna Yatsyna" userId="e6954dd7-6c9e-43c8-bd42-ff8c4ce5393f" providerId="ADAL" clId="{BBB5A732-C083-4ACD-876F-6FB9A2AAF4AA}" dt="2023-08-02T11:24:35.885" v="307" actId="113"/>
          <ac:spMkLst>
            <pc:docMk/>
            <pc:sldMk cId="3253296451" sldId="3223"/>
            <ac:spMk id="47" creationId="{8D1CB453-69CA-F778-6620-35E5E87FF731}"/>
          </ac:spMkLst>
        </pc:spChg>
        <pc:spChg chg="mod">
          <ac:chgData name="Khrystyna Yatsyna" userId="e6954dd7-6c9e-43c8-bd42-ff8c4ce5393f" providerId="ADAL" clId="{BBB5A732-C083-4ACD-876F-6FB9A2AAF4AA}" dt="2023-08-18T12:32:05.656" v="751" actId="108"/>
          <ac:spMkLst>
            <pc:docMk/>
            <pc:sldMk cId="3253296451" sldId="3223"/>
            <ac:spMk id="276" creationId="{D44699B0-0023-38D7-EF5F-AC21CC404027}"/>
          </ac:spMkLst>
        </pc:spChg>
        <pc:spChg chg="del mod">
          <ac:chgData name="Khrystyna Yatsyna" userId="e6954dd7-6c9e-43c8-bd42-ff8c4ce5393f" providerId="ADAL" clId="{BBB5A732-C083-4ACD-876F-6FB9A2AAF4AA}" dt="2023-08-03T13:20:49.678" v="593" actId="478"/>
          <ac:spMkLst>
            <pc:docMk/>
            <pc:sldMk cId="3253296451" sldId="3223"/>
            <ac:spMk id="278" creationId="{9A91D500-7D9B-A653-FF7B-79BD086B056A}"/>
          </ac:spMkLst>
        </pc:spChg>
        <pc:spChg chg="mod">
          <ac:chgData name="Khrystyna Yatsyna" userId="e6954dd7-6c9e-43c8-bd42-ff8c4ce5393f" providerId="ADAL" clId="{BBB5A732-C083-4ACD-876F-6FB9A2AAF4AA}" dt="2023-08-18T12:32:04.373" v="750" actId="108"/>
          <ac:spMkLst>
            <pc:docMk/>
            <pc:sldMk cId="3253296451" sldId="3223"/>
            <ac:spMk id="291" creationId="{A047818A-52F6-4CB5-DF00-C160709A9104}"/>
          </ac:spMkLst>
        </pc:spChg>
        <pc:spChg chg="mod">
          <ac:chgData name="Khrystyna Yatsyna" userId="e6954dd7-6c9e-43c8-bd42-ff8c4ce5393f" providerId="ADAL" clId="{BBB5A732-C083-4ACD-876F-6FB9A2AAF4AA}" dt="2023-08-18T12:32:00.938" v="747" actId="108"/>
          <ac:spMkLst>
            <pc:docMk/>
            <pc:sldMk cId="3253296451" sldId="3223"/>
            <ac:spMk id="293" creationId="{0659DB8F-826B-F6D2-8546-0697B2544FA4}"/>
          </ac:spMkLst>
        </pc:spChg>
        <pc:spChg chg="mod">
          <ac:chgData name="Khrystyna Yatsyna" userId="e6954dd7-6c9e-43c8-bd42-ff8c4ce5393f" providerId="ADAL" clId="{BBB5A732-C083-4ACD-876F-6FB9A2AAF4AA}" dt="2023-08-18T12:32:01.815" v="748" actId="108"/>
          <ac:spMkLst>
            <pc:docMk/>
            <pc:sldMk cId="3253296451" sldId="3223"/>
            <ac:spMk id="295" creationId="{A7CEC582-801C-572F-C68C-80C9A0821648}"/>
          </ac:spMkLst>
        </pc:spChg>
        <pc:spChg chg="mod">
          <ac:chgData name="Khrystyna Yatsyna" userId="e6954dd7-6c9e-43c8-bd42-ff8c4ce5393f" providerId="ADAL" clId="{BBB5A732-C083-4ACD-876F-6FB9A2AAF4AA}" dt="2023-08-18T12:32:02.625" v="749" actId="108"/>
          <ac:spMkLst>
            <pc:docMk/>
            <pc:sldMk cId="3253296451" sldId="3223"/>
            <ac:spMk id="297" creationId="{4A9D7E71-EB80-DE29-C1DE-5A2D77E2A1EE}"/>
          </ac:spMkLst>
        </pc:spChg>
        <pc:grpChg chg="add mod">
          <ac:chgData name="Khrystyna Yatsyna" userId="e6954dd7-6c9e-43c8-bd42-ff8c4ce5393f" providerId="ADAL" clId="{BBB5A732-C083-4ACD-876F-6FB9A2AAF4AA}" dt="2023-08-03T13:20:49.853" v="594"/>
          <ac:grpSpMkLst>
            <pc:docMk/>
            <pc:sldMk cId="3253296451" sldId="3223"/>
            <ac:grpSpMk id="8" creationId="{A0AF4096-79AB-7716-EE09-1F6573F3DA8E}"/>
          </ac:grpSpMkLst>
        </pc:grpChg>
        <pc:grpChg chg="del">
          <ac:chgData name="Khrystyna Yatsyna" userId="e6954dd7-6c9e-43c8-bd42-ff8c4ce5393f" providerId="ADAL" clId="{BBB5A732-C083-4ACD-876F-6FB9A2AAF4AA}" dt="2023-08-03T13:20:49.678" v="593" actId="478"/>
          <ac:grpSpMkLst>
            <pc:docMk/>
            <pc:sldMk cId="3253296451" sldId="3223"/>
            <ac:grpSpMk id="279" creationId="{C2BEA6B2-B2F0-1319-F31F-3D1EEBFE97D5}"/>
          </ac:grpSpMkLst>
        </pc:grpChg>
        <pc:picChg chg="mod">
          <ac:chgData name="Khrystyna Yatsyna" userId="e6954dd7-6c9e-43c8-bd42-ff8c4ce5393f" providerId="ADAL" clId="{BBB5A732-C083-4ACD-876F-6FB9A2AAF4AA}" dt="2023-08-03T11:37:21.309" v="516" actId="3626"/>
          <ac:picMkLst>
            <pc:docMk/>
            <pc:sldMk cId="3253296451" sldId="3223"/>
            <ac:picMk id="277" creationId="{F36CB647-3AF9-B3F6-8DF9-261B4A292382}"/>
          </ac:picMkLst>
        </pc:picChg>
        <pc:picChg chg="mod">
          <ac:chgData name="Khrystyna Yatsyna" userId="e6954dd7-6c9e-43c8-bd42-ff8c4ce5393f" providerId="ADAL" clId="{BBB5A732-C083-4ACD-876F-6FB9A2AAF4AA}" dt="2023-08-03T11:37:25.580" v="518" actId="3626"/>
          <ac:picMkLst>
            <pc:docMk/>
            <pc:sldMk cId="3253296451" sldId="3223"/>
            <ac:picMk id="292" creationId="{B7E25B78-5BEF-7D93-34ED-D0C406FEF7E6}"/>
          </ac:picMkLst>
        </pc:picChg>
        <pc:picChg chg="mod">
          <ac:chgData name="Khrystyna Yatsyna" userId="e6954dd7-6c9e-43c8-bd42-ff8c4ce5393f" providerId="ADAL" clId="{BBB5A732-C083-4ACD-876F-6FB9A2AAF4AA}" dt="2023-08-03T11:37:29.562" v="520" actId="3626"/>
          <ac:picMkLst>
            <pc:docMk/>
            <pc:sldMk cId="3253296451" sldId="3223"/>
            <ac:picMk id="294" creationId="{96966B37-6753-7B49-70B4-EEFA41B4DB0F}"/>
          </ac:picMkLst>
        </pc:picChg>
        <pc:picChg chg="mod">
          <ac:chgData name="Khrystyna Yatsyna" userId="e6954dd7-6c9e-43c8-bd42-ff8c4ce5393f" providerId="ADAL" clId="{BBB5A732-C083-4ACD-876F-6FB9A2AAF4AA}" dt="2023-08-03T11:37:33.565" v="522" actId="3626"/>
          <ac:picMkLst>
            <pc:docMk/>
            <pc:sldMk cId="3253296451" sldId="3223"/>
            <ac:picMk id="296" creationId="{3FA6C34E-2416-124D-A929-00264CC445A7}"/>
          </ac:picMkLst>
        </pc:picChg>
        <pc:picChg chg="mod">
          <ac:chgData name="Khrystyna Yatsyna" userId="e6954dd7-6c9e-43c8-bd42-ff8c4ce5393f" providerId="ADAL" clId="{BBB5A732-C083-4ACD-876F-6FB9A2AAF4AA}" dt="2023-08-03T11:37:38.940" v="524" actId="3626"/>
          <ac:picMkLst>
            <pc:docMk/>
            <pc:sldMk cId="3253296451" sldId="3223"/>
            <ac:picMk id="298" creationId="{E4BDE587-6856-0CF4-20A4-5E69DA1CD1A8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0:52.496" v="705" actId="108"/>
        <pc:sldMkLst>
          <pc:docMk/>
          <pc:sldMk cId="3974890684" sldId="3224"/>
        </pc:sldMkLst>
        <pc:spChg chg="add mod">
          <ac:chgData name="Khrystyna Yatsyna" userId="e6954dd7-6c9e-43c8-bd42-ff8c4ce5393f" providerId="ADAL" clId="{BBB5A732-C083-4ACD-876F-6FB9A2AAF4AA}" dt="2023-08-03T13:20:18.501" v="574"/>
          <ac:spMkLst>
            <pc:docMk/>
            <pc:sldMk cId="3974890684" sldId="3224"/>
            <ac:spMk id="4" creationId="{70425A05-7DDB-F953-3FBC-670738EE106A}"/>
          </ac:spMkLst>
        </pc:spChg>
        <pc:spChg chg="mod">
          <ac:chgData name="Khrystyna Yatsyna" userId="e6954dd7-6c9e-43c8-bd42-ff8c4ce5393f" providerId="ADAL" clId="{BBB5A732-C083-4ACD-876F-6FB9A2AAF4AA}" dt="2023-08-03T13:20:18.501" v="574"/>
          <ac:spMkLst>
            <pc:docMk/>
            <pc:sldMk cId="3974890684" sldId="3224"/>
            <ac:spMk id="6" creationId="{56CCAC05-F951-2C6A-0C16-AD22B563474C}"/>
          </ac:spMkLst>
        </pc:spChg>
        <pc:spChg chg="mod">
          <ac:chgData name="Khrystyna Yatsyna" userId="e6954dd7-6c9e-43c8-bd42-ff8c4ce5393f" providerId="ADAL" clId="{BBB5A732-C083-4ACD-876F-6FB9A2AAF4AA}" dt="2023-08-03T13:20:18.501" v="574"/>
          <ac:spMkLst>
            <pc:docMk/>
            <pc:sldMk cId="3974890684" sldId="3224"/>
            <ac:spMk id="7" creationId="{B3C48494-F73D-A714-2E00-D877B1605DFC}"/>
          </ac:spMkLst>
        </pc:spChg>
        <pc:spChg chg="mod">
          <ac:chgData name="Khrystyna Yatsyna" userId="e6954dd7-6c9e-43c8-bd42-ff8c4ce5393f" providerId="ADAL" clId="{BBB5A732-C083-4ACD-876F-6FB9A2AAF4AA}" dt="2023-08-03T13:20:18.501" v="574"/>
          <ac:spMkLst>
            <pc:docMk/>
            <pc:sldMk cId="3974890684" sldId="3224"/>
            <ac:spMk id="8" creationId="{EF9981EB-2799-3ACB-2D88-AD46FBEC4B15}"/>
          </ac:spMkLst>
        </pc:spChg>
        <pc:spChg chg="mod">
          <ac:chgData name="Khrystyna Yatsyna" userId="e6954dd7-6c9e-43c8-bd42-ff8c4ce5393f" providerId="ADAL" clId="{BBB5A732-C083-4ACD-876F-6FB9A2AAF4AA}" dt="2023-08-03T13:20:18.501" v="574"/>
          <ac:spMkLst>
            <pc:docMk/>
            <pc:sldMk cId="3974890684" sldId="3224"/>
            <ac:spMk id="9" creationId="{F2161842-5870-3AD1-4258-08E15710AA71}"/>
          </ac:spMkLst>
        </pc:spChg>
        <pc:spChg chg="mod">
          <ac:chgData name="Khrystyna Yatsyna" userId="e6954dd7-6c9e-43c8-bd42-ff8c4ce5393f" providerId="ADAL" clId="{BBB5A732-C083-4ACD-876F-6FB9A2AAF4AA}" dt="2023-08-03T13:20:18.501" v="574"/>
          <ac:spMkLst>
            <pc:docMk/>
            <pc:sldMk cId="3974890684" sldId="3224"/>
            <ac:spMk id="10" creationId="{2EE76C0C-EA10-5167-BB89-9E74112C0118}"/>
          </ac:spMkLst>
        </pc:spChg>
        <pc:spChg chg="mod">
          <ac:chgData name="Khrystyna Yatsyna" userId="e6954dd7-6c9e-43c8-bd42-ff8c4ce5393f" providerId="ADAL" clId="{BBB5A732-C083-4ACD-876F-6FB9A2AAF4AA}" dt="2023-08-03T13:20:18.501" v="574"/>
          <ac:spMkLst>
            <pc:docMk/>
            <pc:sldMk cId="3974890684" sldId="3224"/>
            <ac:spMk id="11" creationId="{5D35AA82-E71E-EC0D-4366-4441E577CB97}"/>
          </ac:spMkLst>
        </pc:spChg>
        <pc:spChg chg="mod">
          <ac:chgData name="Khrystyna Yatsyna" userId="e6954dd7-6c9e-43c8-bd42-ff8c4ce5393f" providerId="ADAL" clId="{BBB5A732-C083-4ACD-876F-6FB9A2AAF4AA}" dt="2023-08-02T11:22:55.459" v="294" actId="20577"/>
          <ac:spMkLst>
            <pc:docMk/>
            <pc:sldMk cId="3974890684" sldId="3224"/>
            <ac:spMk id="55" creationId="{2DF1B888-7584-A621-ED56-DB1362159E11}"/>
          </ac:spMkLst>
        </pc:spChg>
        <pc:spChg chg="del mod">
          <ac:chgData name="Khrystyna Yatsyna" userId="e6954dd7-6c9e-43c8-bd42-ff8c4ce5393f" providerId="ADAL" clId="{BBB5A732-C083-4ACD-876F-6FB9A2AAF4AA}" dt="2023-08-03T13:20:18.297" v="573" actId="478"/>
          <ac:spMkLst>
            <pc:docMk/>
            <pc:sldMk cId="3974890684" sldId="3224"/>
            <ac:spMk id="80" creationId="{39DA89FE-AC8E-D8C8-6ADE-9D69006372D8}"/>
          </ac:spMkLst>
        </pc:spChg>
        <pc:spChg chg="mod">
          <ac:chgData name="Khrystyna Yatsyna" userId="e6954dd7-6c9e-43c8-bd42-ff8c4ce5393f" providerId="ADAL" clId="{BBB5A732-C083-4ACD-876F-6FB9A2AAF4AA}" dt="2023-08-18T12:30:48.525" v="701" actId="108"/>
          <ac:spMkLst>
            <pc:docMk/>
            <pc:sldMk cId="3974890684" sldId="3224"/>
            <ac:spMk id="88" creationId="{7EE2C483-7CD5-E286-4A9F-5A523C92BD37}"/>
          </ac:spMkLst>
        </pc:spChg>
        <pc:spChg chg="mod">
          <ac:chgData name="Khrystyna Yatsyna" userId="e6954dd7-6c9e-43c8-bd42-ff8c4ce5393f" providerId="ADAL" clId="{BBB5A732-C083-4ACD-876F-6FB9A2AAF4AA}" dt="2023-08-18T12:30:49.477" v="702" actId="108"/>
          <ac:spMkLst>
            <pc:docMk/>
            <pc:sldMk cId="3974890684" sldId="3224"/>
            <ac:spMk id="90" creationId="{28CCDB5A-5996-3FC2-E71D-D4B9A598D820}"/>
          </ac:spMkLst>
        </pc:spChg>
        <pc:spChg chg="mod">
          <ac:chgData name="Khrystyna Yatsyna" userId="e6954dd7-6c9e-43c8-bd42-ff8c4ce5393f" providerId="ADAL" clId="{BBB5A732-C083-4ACD-876F-6FB9A2AAF4AA}" dt="2023-08-18T12:30:50.295" v="703" actId="108"/>
          <ac:spMkLst>
            <pc:docMk/>
            <pc:sldMk cId="3974890684" sldId="3224"/>
            <ac:spMk id="92" creationId="{DAE2F2B7-7AF6-70B0-C1ED-41EF896CD2C4}"/>
          </ac:spMkLst>
        </pc:spChg>
        <pc:spChg chg="mod">
          <ac:chgData name="Khrystyna Yatsyna" userId="e6954dd7-6c9e-43c8-bd42-ff8c4ce5393f" providerId="ADAL" clId="{BBB5A732-C083-4ACD-876F-6FB9A2AAF4AA}" dt="2023-08-18T12:30:51.202" v="704" actId="108"/>
          <ac:spMkLst>
            <pc:docMk/>
            <pc:sldMk cId="3974890684" sldId="3224"/>
            <ac:spMk id="94" creationId="{1F4781E7-E804-4250-2B34-746DBBF4303C}"/>
          </ac:spMkLst>
        </pc:spChg>
        <pc:spChg chg="mod">
          <ac:chgData name="Khrystyna Yatsyna" userId="e6954dd7-6c9e-43c8-bd42-ff8c4ce5393f" providerId="ADAL" clId="{BBB5A732-C083-4ACD-876F-6FB9A2AAF4AA}" dt="2023-08-18T12:30:52.496" v="705" actId="108"/>
          <ac:spMkLst>
            <pc:docMk/>
            <pc:sldMk cId="3974890684" sldId="3224"/>
            <ac:spMk id="96" creationId="{5E5A1327-A8A6-541B-3E42-F6BBADA05151}"/>
          </ac:spMkLst>
        </pc:spChg>
        <pc:grpChg chg="add mod">
          <ac:chgData name="Khrystyna Yatsyna" userId="e6954dd7-6c9e-43c8-bd42-ff8c4ce5393f" providerId="ADAL" clId="{BBB5A732-C083-4ACD-876F-6FB9A2AAF4AA}" dt="2023-08-03T13:20:18.501" v="574"/>
          <ac:grpSpMkLst>
            <pc:docMk/>
            <pc:sldMk cId="3974890684" sldId="3224"/>
            <ac:grpSpMk id="5" creationId="{0194E8BA-B2E0-68A4-C612-08BE408CD600}"/>
          </ac:grpSpMkLst>
        </pc:grpChg>
        <pc:grpChg chg="del">
          <ac:chgData name="Khrystyna Yatsyna" userId="e6954dd7-6c9e-43c8-bd42-ff8c4ce5393f" providerId="ADAL" clId="{BBB5A732-C083-4ACD-876F-6FB9A2AAF4AA}" dt="2023-08-03T13:20:16.994" v="572" actId="478"/>
          <ac:grpSpMkLst>
            <pc:docMk/>
            <pc:sldMk cId="3974890684" sldId="3224"/>
            <ac:grpSpMk id="81" creationId="{889E43F8-DD0F-C5BC-D1B4-11F36D3EE0A3}"/>
          </ac:grpSpMkLst>
        </pc:grpChg>
        <pc:picChg chg="mod">
          <ac:chgData name="Khrystyna Yatsyna" userId="e6954dd7-6c9e-43c8-bd42-ff8c4ce5393f" providerId="ADAL" clId="{BBB5A732-C083-4ACD-876F-6FB9A2AAF4AA}" dt="2023-08-03T11:34:31.736" v="458" actId="3626"/>
          <ac:picMkLst>
            <pc:docMk/>
            <pc:sldMk cId="3974890684" sldId="3224"/>
            <ac:picMk id="89" creationId="{8DFE74BA-125B-7AE4-DAD5-7FBAFDF467C8}"/>
          </ac:picMkLst>
        </pc:picChg>
        <pc:picChg chg="mod">
          <ac:chgData name="Khrystyna Yatsyna" userId="e6954dd7-6c9e-43c8-bd42-ff8c4ce5393f" providerId="ADAL" clId="{BBB5A732-C083-4ACD-876F-6FB9A2AAF4AA}" dt="2023-08-03T11:34:26.564" v="456" actId="3626"/>
          <ac:picMkLst>
            <pc:docMk/>
            <pc:sldMk cId="3974890684" sldId="3224"/>
            <ac:picMk id="91" creationId="{B9B45AE1-34F6-F367-28E4-EC7AFF5602C9}"/>
          </ac:picMkLst>
        </pc:picChg>
        <pc:picChg chg="mod">
          <ac:chgData name="Khrystyna Yatsyna" userId="e6954dd7-6c9e-43c8-bd42-ff8c4ce5393f" providerId="ADAL" clId="{BBB5A732-C083-4ACD-876F-6FB9A2AAF4AA}" dt="2023-08-03T11:34:22.486" v="454" actId="3626"/>
          <ac:picMkLst>
            <pc:docMk/>
            <pc:sldMk cId="3974890684" sldId="3224"/>
            <ac:picMk id="93" creationId="{5B9371E3-F381-4FFB-25DC-D44880BB6EE5}"/>
          </ac:picMkLst>
        </pc:picChg>
        <pc:picChg chg="mod">
          <ac:chgData name="Khrystyna Yatsyna" userId="e6954dd7-6c9e-43c8-bd42-ff8c4ce5393f" providerId="ADAL" clId="{BBB5A732-C083-4ACD-876F-6FB9A2AAF4AA}" dt="2023-08-03T11:34:17.919" v="452" actId="3626"/>
          <ac:picMkLst>
            <pc:docMk/>
            <pc:sldMk cId="3974890684" sldId="3224"/>
            <ac:picMk id="95" creationId="{F812178D-675B-7F40-1ABE-A167ADB26A87}"/>
          </ac:picMkLst>
        </pc:picChg>
        <pc:picChg chg="mod">
          <ac:chgData name="Khrystyna Yatsyna" userId="e6954dd7-6c9e-43c8-bd42-ff8c4ce5393f" providerId="ADAL" clId="{BBB5A732-C083-4ACD-876F-6FB9A2AAF4AA}" dt="2023-08-03T11:34:13.684" v="450" actId="3626"/>
          <ac:picMkLst>
            <pc:docMk/>
            <pc:sldMk cId="3974890684" sldId="3224"/>
            <ac:picMk id="97" creationId="{20DF3840-C9BF-1EB3-1E64-B4E823C632A6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1:02.354" v="710" actId="108"/>
        <pc:sldMkLst>
          <pc:docMk/>
          <pc:sldMk cId="3045428704" sldId="3225"/>
        </pc:sldMkLst>
        <pc:spChg chg="add mod">
          <ac:chgData name="Khrystyna Yatsyna" userId="e6954dd7-6c9e-43c8-bd42-ff8c4ce5393f" providerId="ADAL" clId="{BBB5A732-C083-4ACD-876F-6FB9A2AAF4AA}" dt="2023-08-03T13:20:21.858" v="576"/>
          <ac:spMkLst>
            <pc:docMk/>
            <pc:sldMk cId="3045428704" sldId="3225"/>
            <ac:spMk id="5" creationId="{2A6AB8A2-9019-2C2F-EE47-D59F2385BFA8}"/>
          </ac:spMkLst>
        </pc:spChg>
        <pc:spChg chg="mod">
          <ac:chgData name="Khrystyna Yatsyna" userId="e6954dd7-6c9e-43c8-bd42-ff8c4ce5393f" providerId="ADAL" clId="{BBB5A732-C083-4ACD-876F-6FB9A2AAF4AA}" dt="2023-08-03T13:20:21.858" v="576"/>
          <ac:spMkLst>
            <pc:docMk/>
            <pc:sldMk cId="3045428704" sldId="3225"/>
            <ac:spMk id="7" creationId="{62BE0393-8C72-3612-B3C0-739E0D3AEF74}"/>
          </ac:spMkLst>
        </pc:spChg>
        <pc:spChg chg="mod">
          <ac:chgData name="Khrystyna Yatsyna" userId="e6954dd7-6c9e-43c8-bd42-ff8c4ce5393f" providerId="ADAL" clId="{BBB5A732-C083-4ACD-876F-6FB9A2AAF4AA}" dt="2023-08-03T13:20:21.858" v="576"/>
          <ac:spMkLst>
            <pc:docMk/>
            <pc:sldMk cId="3045428704" sldId="3225"/>
            <ac:spMk id="8" creationId="{A03A1730-FD0D-30F4-907F-2AB79BA37897}"/>
          </ac:spMkLst>
        </pc:spChg>
        <pc:spChg chg="mod">
          <ac:chgData name="Khrystyna Yatsyna" userId="e6954dd7-6c9e-43c8-bd42-ff8c4ce5393f" providerId="ADAL" clId="{BBB5A732-C083-4ACD-876F-6FB9A2AAF4AA}" dt="2023-08-03T13:20:21.858" v="576"/>
          <ac:spMkLst>
            <pc:docMk/>
            <pc:sldMk cId="3045428704" sldId="3225"/>
            <ac:spMk id="9" creationId="{F6498532-08BD-CEE7-0B69-CB9DE57366BD}"/>
          </ac:spMkLst>
        </pc:spChg>
        <pc:spChg chg="mod">
          <ac:chgData name="Khrystyna Yatsyna" userId="e6954dd7-6c9e-43c8-bd42-ff8c4ce5393f" providerId="ADAL" clId="{BBB5A732-C083-4ACD-876F-6FB9A2AAF4AA}" dt="2023-08-03T13:20:21.858" v="576"/>
          <ac:spMkLst>
            <pc:docMk/>
            <pc:sldMk cId="3045428704" sldId="3225"/>
            <ac:spMk id="10" creationId="{01046EF7-F460-8A96-3A0A-084A1FFA325E}"/>
          </ac:spMkLst>
        </pc:spChg>
        <pc:spChg chg="mod">
          <ac:chgData name="Khrystyna Yatsyna" userId="e6954dd7-6c9e-43c8-bd42-ff8c4ce5393f" providerId="ADAL" clId="{BBB5A732-C083-4ACD-876F-6FB9A2AAF4AA}" dt="2023-08-03T13:20:21.858" v="576"/>
          <ac:spMkLst>
            <pc:docMk/>
            <pc:sldMk cId="3045428704" sldId="3225"/>
            <ac:spMk id="11" creationId="{F5DE5F44-A8A9-3D75-7B1F-B69CC8A39306}"/>
          </ac:spMkLst>
        </pc:spChg>
        <pc:spChg chg="mod">
          <ac:chgData name="Khrystyna Yatsyna" userId="e6954dd7-6c9e-43c8-bd42-ff8c4ce5393f" providerId="ADAL" clId="{BBB5A732-C083-4ACD-876F-6FB9A2AAF4AA}" dt="2023-08-03T13:20:21.858" v="576"/>
          <ac:spMkLst>
            <pc:docMk/>
            <pc:sldMk cId="3045428704" sldId="3225"/>
            <ac:spMk id="12" creationId="{941722F7-62B5-183D-9816-C8A0613C060E}"/>
          </ac:spMkLst>
        </pc:spChg>
        <pc:spChg chg="del mod">
          <ac:chgData name="Khrystyna Yatsyna" userId="e6954dd7-6c9e-43c8-bd42-ff8c4ce5393f" providerId="ADAL" clId="{BBB5A732-C083-4ACD-876F-6FB9A2AAF4AA}" dt="2023-08-03T13:20:21.659" v="575" actId="478"/>
          <ac:spMkLst>
            <pc:docMk/>
            <pc:sldMk cId="3045428704" sldId="3225"/>
            <ac:spMk id="65" creationId="{082F37CE-5E6A-93C8-E808-E435C6B06BD8}"/>
          </ac:spMkLst>
        </pc:spChg>
        <pc:spChg chg="mod">
          <ac:chgData name="Khrystyna Yatsyna" userId="e6954dd7-6c9e-43c8-bd42-ff8c4ce5393f" providerId="ADAL" clId="{BBB5A732-C083-4ACD-876F-6FB9A2AAF4AA}" dt="2023-08-18T12:30:56.593" v="706" actId="108"/>
          <ac:spMkLst>
            <pc:docMk/>
            <pc:sldMk cId="3045428704" sldId="3225"/>
            <ac:spMk id="73" creationId="{C2EACF99-6C88-3FE5-E958-E468E2E98531}"/>
          </ac:spMkLst>
        </pc:spChg>
        <pc:spChg chg="mod">
          <ac:chgData name="Khrystyna Yatsyna" userId="e6954dd7-6c9e-43c8-bd42-ff8c4ce5393f" providerId="ADAL" clId="{BBB5A732-C083-4ACD-876F-6FB9A2AAF4AA}" dt="2023-08-18T12:30:58.812" v="707" actId="108"/>
          <ac:spMkLst>
            <pc:docMk/>
            <pc:sldMk cId="3045428704" sldId="3225"/>
            <ac:spMk id="87" creationId="{41A9E176-76E7-152F-078B-F5C599B2D976}"/>
          </ac:spMkLst>
        </pc:spChg>
        <pc:spChg chg="mod">
          <ac:chgData name="Khrystyna Yatsyna" userId="e6954dd7-6c9e-43c8-bd42-ff8c4ce5393f" providerId="ADAL" clId="{BBB5A732-C083-4ACD-876F-6FB9A2AAF4AA}" dt="2023-08-18T12:31:00.052" v="708" actId="108"/>
          <ac:spMkLst>
            <pc:docMk/>
            <pc:sldMk cId="3045428704" sldId="3225"/>
            <ac:spMk id="89" creationId="{69D6FD67-2305-935C-29E4-38D7A02DC1EC}"/>
          </ac:spMkLst>
        </pc:spChg>
        <pc:spChg chg="mod">
          <ac:chgData name="Khrystyna Yatsyna" userId="e6954dd7-6c9e-43c8-bd42-ff8c4ce5393f" providerId="ADAL" clId="{BBB5A732-C083-4ACD-876F-6FB9A2AAF4AA}" dt="2023-08-18T12:31:01.192" v="709" actId="108"/>
          <ac:spMkLst>
            <pc:docMk/>
            <pc:sldMk cId="3045428704" sldId="3225"/>
            <ac:spMk id="91" creationId="{3AC24AFB-9A6A-8BC2-2BF2-20F1E32AA239}"/>
          </ac:spMkLst>
        </pc:spChg>
        <pc:spChg chg="mod">
          <ac:chgData name="Khrystyna Yatsyna" userId="e6954dd7-6c9e-43c8-bd42-ff8c4ce5393f" providerId="ADAL" clId="{BBB5A732-C083-4ACD-876F-6FB9A2AAF4AA}" dt="2023-08-18T12:31:02.354" v="710" actId="108"/>
          <ac:spMkLst>
            <pc:docMk/>
            <pc:sldMk cId="3045428704" sldId="3225"/>
            <ac:spMk id="93" creationId="{F3292D97-7038-7AC4-3E9E-B24D8B353522}"/>
          </ac:spMkLst>
        </pc:spChg>
        <pc:grpChg chg="add mod">
          <ac:chgData name="Khrystyna Yatsyna" userId="e6954dd7-6c9e-43c8-bd42-ff8c4ce5393f" providerId="ADAL" clId="{BBB5A732-C083-4ACD-876F-6FB9A2AAF4AA}" dt="2023-08-03T13:20:21.858" v="576"/>
          <ac:grpSpMkLst>
            <pc:docMk/>
            <pc:sldMk cId="3045428704" sldId="3225"/>
            <ac:grpSpMk id="6" creationId="{4DC453E2-8FB8-514D-5E40-900B6CE1B257}"/>
          </ac:grpSpMkLst>
        </pc:grpChg>
        <pc:grpChg chg="del">
          <ac:chgData name="Khrystyna Yatsyna" userId="e6954dd7-6c9e-43c8-bd42-ff8c4ce5393f" providerId="ADAL" clId="{BBB5A732-C083-4ACD-876F-6FB9A2AAF4AA}" dt="2023-08-03T13:20:21.659" v="575" actId="478"/>
          <ac:grpSpMkLst>
            <pc:docMk/>
            <pc:sldMk cId="3045428704" sldId="3225"/>
            <ac:grpSpMk id="66" creationId="{86FC18B8-3A8A-BF83-4DD7-F62356E903C4}"/>
          </ac:grpSpMkLst>
        </pc:grpChg>
        <pc:picChg chg="mod">
          <ac:chgData name="Khrystyna Yatsyna" userId="e6954dd7-6c9e-43c8-bd42-ff8c4ce5393f" providerId="ADAL" clId="{BBB5A732-C083-4ACD-876F-6FB9A2AAF4AA}" dt="2023-08-03T11:34:44.547" v="463" actId="3626"/>
          <ac:picMkLst>
            <pc:docMk/>
            <pc:sldMk cId="3045428704" sldId="3225"/>
            <ac:picMk id="86" creationId="{57F69D97-18FB-A7BD-F9B0-917AC9AB17A6}"/>
          </ac:picMkLst>
        </pc:picChg>
        <pc:picChg chg="mod">
          <ac:chgData name="Khrystyna Yatsyna" userId="e6954dd7-6c9e-43c8-bd42-ff8c4ce5393f" providerId="ADAL" clId="{BBB5A732-C083-4ACD-876F-6FB9A2AAF4AA}" dt="2023-08-03T11:34:48.687" v="465" actId="3626"/>
          <ac:picMkLst>
            <pc:docMk/>
            <pc:sldMk cId="3045428704" sldId="3225"/>
            <ac:picMk id="88" creationId="{5DEB94E6-FF68-BC4F-FB63-B95FD74C0FE7}"/>
          </ac:picMkLst>
        </pc:picChg>
        <pc:picChg chg="mod">
          <ac:chgData name="Khrystyna Yatsyna" userId="e6954dd7-6c9e-43c8-bd42-ff8c4ce5393f" providerId="ADAL" clId="{BBB5A732-C083-4ACD-876F-6FB9A2AAF4AA}" dt="2023-08-03T11:34:52.512" v="467" actId="3626"/>
          <ac:picMkLst>
            <pc:docMk/>
            <pc:sldMk cId="3045428704" sldId="3225"/>
            <ac:picMk id="90" creationId="{DA8A1154-0F4D-939E-6D12-17A4A555D304}"/>
          </ac:picMkLst>
        </pc:picChg>
        <pc:picChg chg="mod">
          <ac:chgData name="Khrystyna Yatsyna" userId="e6954dd7-6c9e-43c8-bd42-ff8c4ce5393f" providerId="ADAL" clId="{BBB5A732-C083-4ACD-876F-6FB9A2AAF4AA}" dt="2023-08-03T11:34:56.165" v="469" actId="3626"/>
          <ac:picMkLst>
            <pc:docMk/>
            <pc:sldMk cId="3045428704" sldId="3225"/>
            <ac:picMk id="92" creationId="{9D5153F3-B1F4-1A65-7B9A-4A7DED3172B3}"/>
          </ac:picMkLst>
        </pc:picChg>
        <pc:picChg chg="mod">
          <ac:chgData name="Khrystyna Yatsyna" userId="e6954dd7-6c9e-43c8-bd42-ff8c4ce5393f" providerId="ADAL" clId="{BBB5A732-C083-4ACD-876F-6FB9A2AAF4AA}" dt="2023-08-03T11:35:00.231" v="471" actId="3626"/>
          <ac:picMkLst>
            <pc:docMk/>
            <pc:sldMk cId="3045428704" sldId="3225"/>
            <ac:picMk id="94" creationId="{54B37566-4ADC-024C-FA45-08B53894DB3F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5:14.702" v="793"/>
        <pc:sldMkLst>
          <pc:docMk/>
          <pc:sldMk cId="214747599" sldId="3226"/>
        </pc:sldMkLst>
        <pc:spChg chg="add mod">
          <ac:chgData name="Khrystyna Yatsyna" userId="e6954dd7-6c9e-43c8-bd42-ff8c4ce5393f" providerId="ADAL" clId="{BBB5A732-C083-4ACD-876F-6FB9A2AAF4AA}" dt="2023-08-03T13:20:43.884" v="590"/>
          <ac:spMkLst>
            <pc:docMk/>
            <pc:sldMk cId="214747599" sldId="3226"/>
            <ac:spMk id="4" creationId="{79F6DED1-9AF0-AF30-2464-80F16A894392}"/>
          </ac:spMkLst>
        </pc:spChg>
        <pc:spChg chg="mod">
          <ac:chgData name="Khrystyna Yatsyna" userId="e6954dd7-6c9e-43c8-bd42-ff8c4ce5393f" providerId="ADAL" clId="{BBB5A732-C083-4ACD-876F-6FB9A2AAF4AA}" dt="2023-08-03T13:20:43.884" v="590"/>
          <ac:spMkLst>
            <pc:docMk/>
            <pc:sldMk cId="214747599" sldId="3226"/>
            <ac:spMk id="6" creationId="{6696F098-1CC9-F9F9-7929-CFE53F725166}"/>
          </ac:spMkLst>
        </pc:spChg>
        <pc:spChg chg="mod">
          <ac:chgData name="Khrystyna Yatsyna" userId="e6954dd7-6c9e-43c8-bd42-ff8c4ce5393f" providerId="ADAL" clId="{BBB5A732-C083-4ACD-876F-6FB9A2AAF4AA}" dt="2023-08-03T13:20:43.884" v="590"/>
          <ac:spMkLst>
            <pc:docMk/>
            <pc:sldMk cId="214747599" sldId="3226"/>
            <ac:spMk id="7" creationId="{67BB3A2D-D2F3-1A73-B56C-06CB76712F7F}"/>
          </ac:spMkLst>
        </pc:spChg>
        <pc:spChg chg="mod">
          <ac:chgData name="Khrystyna Yatsyna" userId="e6954dd7-6c9e-43c8-bd42-ff8c4ce5393f" providerId="ADAL" clId="{BBB5A732-C083-4ACD-876F-6FB9A2AAF4AA}" dt="2023-08-03T13:20:43.884" v="590"/>
          <ac:spMkLst>
            <pc:docMk/>
            <pc:sldMk cId="214747599" sldId="3226"/>
            <ac:spMk id="8" creationId="{55613D1C-B511-1CF4-B857-425F6BCE8A54}"/>
          </ac:spMkLst>
        </pc:spChg>
        <pc:spChg chg="mod">
          <ac:chgData name="Khrystyna Yatsyna" userId="e6954dd7-6c9e-43c8-bd42-ff8c4ce5393f" providerId="ADAL" clId="{BBB5A732-C083-4ACD-876F-6FB9A2AAF4AA}" dt="2023-08-03T13:20:43.884" v="590"/>
          <ac:spMkLst>
            <pc:docMk/>
            <pc:sldMk cId="214747599" sldId="3226"/>
            <ac:spMk id="9" creationId="{15C8E548-5754-3322-9343-C60F34C0BDAF}"/>
          </ac:spMkLst>
        </pc:spChg>
        <pc:spChg chg="mod">
          <ac:chgData name="Khrystyna Yatsyna" userId="e6954dd7-6c9e-43c8-bd42-ff8c4ce5393f" providerId="ADAL" clId="{BBB5A732-C083-4ACD-876F-6FB9A2AAF4AA}" dt="2023-08-03T13:20:43.884" v="590"/>
          <ac:spMkLst>
            <pc:docMk/>
            <pc:sldMk cId="214747599" sldId="3226"/>
            <ac:spMk id="10" creationId="{4A1A98FE-AE67-A1C3-55E5-99F02F2EED75}"/>
          </ac:spMkLst>
        </pc:spChg>
        <pc:spChg chg="mod">
          <ac:chgData name="Khrystyna Yatsyna" userId="e6954dd7-6c9e-43c8-bd42-ff8c4ce5393f" providerId="ADAL" clId="{BBB5A732-C083-4ACD-876F-6FB9A2AAF4AA}" dt="2023-08-03T13:20:43.884" v="590"/>
          <ac:spMkLst>
            <pc:docMk/>
            <pc:sldMk cId="214747599" sldId="3226"/>
            <ac:spMk id="11" creationId="{67096259-27E9-74B5-1475-3FDBD7081916}"/>
          </ac:spMkLst>
        </pc:spChg>
        <pc:spChg chg="add mod">
          <ac:chgData name="Khrystyna Yatsyna" userId="e6954dd7-6c9e-43c8-bd42-ff8c4ce5393f" providerId="ADAL" clId="{BBB5A732-C083-4ACD-876F-6FB9A2AAF4AA}" dt="2023-08-18T12:35:14.702" v="793"/>
          <ac:spMkLst>
            <pc:docMk/>
            <pc:sldMk cId="214747599" sldId="3226"/>
            <ac:spMk id="12" creationId="{A7759D30-6163-BE07-5FE2-A450A5A5F9FB}"/>
          </ac:spMkLst>
        </pc:spChg>
        <pc:spChg chg="add mod">
          <ac:chgData name="Khrystyna Yatsyna" userId="e6954dd7-6c9e-43c8-bd42-ff8c4ce5393f" providerId="ADAL" clId="{BBB5A732-C083-4ACD-876F-6FB9A2AAF4AA}" dt="2023-08-18T12:35:14.702" v="793"/>
          <ac:spMkLst>
            <pc:docMk/>
            <pc:sldMk cId="214747599" sldId="3226"/>
            <ac:spMk id="14" creationId="{D96F127E-1894-4662-82E0-7CC63FE574FD}"/>
          </ac:spMkLst>
        </pc:spChg>
        <pc:spChg chg="del">
          <ac:chgData name="Khrystyna Yatsyna" userId="e6954dd7-6c9e-43c8-bd42-ff8c4ce5393f" providerId="ADAL" clId="{BBB5A732-C083-4ACD-876F-6FB9A2AAF4AA}" dt="2023-08-18T12:35:14.465" v="792" actId="478"/>
          <ac:spMkLst>
            <pc:docMk/>
            <pc:sldMk cId="214747599" sldId="3226"/>
            <ac:spMk id="274" creationId="{5F796588-BE28-721A-934D-21B0A4194E2E}"/>
          </ac:spMkLst>
        </pc:spChg>
        <pc:spChg chg="mod">
          <ac:chgData name="Khrystyna Yatsyna" userId="e6954dd7-6c9e-43c8-bd42-ff8c4ce5393f" providerId="ADAL" clId="{BBB5A732-C083-4ACD-876F-6FB9A2AAF4AA}" dt="2023-08-03T11:36:42.910" v="504" actId="3626"/>
          <ac:spMkLst>
            <pc:docMk/>
            <pc:sldMk cId="214747599" sldId="3226"/>
            <ac:spMk id="276" creationId="{02DA7414-1C05-7DB8-EC0E-40C6D86720ED}"/>
          </ac:spMkLst>
        </pc:spChg>
        <pc:spChg chg="del mod">
          <ac:chgData name="Khrystyna Yatsyna" userId="e6954dd7-6c9e-43c8-bd42-ff8c4ce5393f" providerId="ADAL" clId="{BBB5A732-C083-4ACD-876F-6FB9A2AAF4AA}" dt="2023-08-03T13:20:43.742" v="589" actId="478"/>
          <ac:spMkLst>
            <pc:docMk/>
            <pc:sldMk cId="214747599" sldId="3226"/>
            <ac:spMk id="278" creationId="{8181A24C-183E-DA04-797C-521AC5145983}"/>
          </ac:spMkLst>
        </pc:spChg>
        <pc:spChg chg="mod">
          <ac:chgData name="Khrystyna Yatsyna" userId="e6954dd7-6c9e-43c8-bd42-ff8c4ce5393f" providerId="ADAL" clId="{BBB5A732-C083-4ACD-876F-6FB9A2AAF4AA}" dt="2023-08-18T12:31:49.370" v="739" actId="108"/>
          <ac:spMkLst>
            <pc:docMk/>
            <pc:sldMk cId="214747599" sldId="3226"/>
            <ac:spMk id="286" creationId="{13851A9B-2A2B-34A8-824E-3F8B727967C2}"/>
          </ac:spMkLst>
        </pc:spChg>
        <pc:spChg chg="del mod">
          <ac:chgData name="Khrystyna Yatsyna" userId="e6954dd7-6c9e-43c8-bd42-ff8c4ce5393f" providerId="ADAL" clId="{BBB5A732-C083-4ACD-876F-6FB9A2AAF4AA}" dt="2023-08-18T12:35:14.465" v="792" actId="478"/>
          <ac:spMkLst>
            <pc:docMk/>
            <pc:sldMk cId="214747599" sldId="3226"/>
            <ac:spMk id="288" creationId="{7B0AEA80-F37E-2424-4347-287AED860809}"/>
          </ac:spMkLst>
        </pc:spChg>
        <pc:spChg chg="mod">
          <ac:chgData name="Khrystyna Yatsyna" userId="e6954dd7-6c9e-43c8-bd42-ff8c4ce5393f" providerId="ADAL" clId="{BBB5A732-C083-4ACD-876F-6FB9A2AAF4AA}" dt="2023-08-18T12:31:52.312" v="741" actId="108"/>
          <ac:spMkLst>
            <pc:docMk/>
            <pc:sldMk cId="214747599" sldId="3226"/>
            <ac:spMk id="290" creationId="{B47D3F7D-7228-5F42-5F0E-752DACBF415C}"/>
          </ac:spMkLst>
        </pc:spChg>
        <pc:spChg chg="mod">
          <ac:chgData name="Khrystyna Yatsyna" userId="e6954dd7-6c9e-43c8-bd42-ff8c4ce5393f" providerId="ADAL" clId="{BBB5A732-C083-4ACD-876F-6FB9A2AAF4AA}" dt="2023-08-18T12:31:53.317" v="742" actId="108"/>
          <ac:spMkLst>
            <pc:docMk/>
            <pc:sldMk cId="214747599" sldId="3226"/>
            <ac:spMk id="292" creationId="{2F7DA0D9-4C33-FFD3-3BB0-1774369127CA}"/>
          </ac:spMkLst>
        </pc:spChg>
        <pc:spChg chg="mod">
          <ac:chgData name="Khrystyna Yatsyna" userId="e6954dd7-6c9e-43c8-bd42-ff8c4ce5393f" providerId="ADAL" clId="{BBB5A732-C083-4ACD-876F-6FB9A2AAF4AA}" dt="2023-08-02T11:24:11.144" v="306" actId="20577"/>
          <ac:spMkLst>
            <pc:docMk/>
            <pc:sldMk cId="214747599" sldId="3226"/>
            <ac:spMk id="315" creationId="{9936231A-AE43-3582-2085-06244A1EC53F}"/>
          </ac:spMkLst>
        </pc:spChg>
        <pc:grpChg chg="add mod">
          <ac:chgData name="Khrystyna Yatsyna" userId="e6954dd7-6c9e-43c8-bd42-ff8c4ce5393f" providerId="ADAL" clId="{BBB5A732-C083-4ACD-876F-6FB9A2AAF4AA}" dt="2023-08-03T13:20:43.884" v="590"/>
          <ac:grpSpMkLst>
            <pc:docMk/>
            <pc:sldMk cId="214747599" sldId="3226"/>
            <ac:grpSpMk id="5" creationId="{922FB840-ABE4-A411-2684-E6675E55680D}"/>
          </ac:grpSpMkLst>
        </pc:grpChg>
        <pc:grpChg chg="del">
          <ac:chgData name="Khrystyna Yatsyna" userId="e6954dd7-6c9e-43c8-bd42-ff8c4ce5393f" providerId="ADAL" clId="{BBB5A732-C083-4ACD-876F-6FB9A2AAF4AA}" dt="2023-08-03T13:20:43.742" v="589" actId="478"/>
          <ac:grpSpMkLst>
            <pc:docMk/>
            <pc:sldMk cId="214747599" sldId="3226"/>
            <ac:grpSpMk id="279" creationId="{EB95B38D-5E33-9266-38A9-0E96D47FE5C3}"/>
          </ac:grpSpMkLst>
        </pc:grpChg>
        <pc:picChg chg="add mod">
          <ac:chgData name="Khrystyna Yatsyna" userId="e6954dd7-6c9e-43c8-bd42-ff8c4ce5393f" providerId="ADAL" clId="{BBB5A732-C083-4ACD-876F-6FB9A2AAF4AA}" dt="2023-08-18T12:35:14.702" v="793"/>
          <ac:picMkLst>
            <pc:docMk/>
            <pc:sldMk cId="214747599" sldId="3226"/>
            <ac:picMk id="13" creationId="{591C87EC-4A65-E807-AE32-88A01AA57C03}"/>
          </ac:picMkLst>
        </pc:picChg>
        <pc:picChg chg="add mod">
          <ac:chgData name="Khrystyna Yatsyna" userId="e6954dd7-6c9e-43c8-bd42-ff8c4ce5393f" providerId="ADAL" clId="{BBB5A732-C083-4ACD-876F-6FB9A2AAF4AA}" dt="2023-08-18T12:35:14.702" v="793"/>
          <ac:picMkLst>
            <pc:docMk/>
            <pc:sldMk cId="214747599" sldId="3226"/>
            <ac:picMk id="15" creationId="{1492EA93-11EA-88E0-BAE5-837A6BD944E1}"/>
          </ac:picMkLst>
        </pc:picChg>
        <pc:picChg chg="del">
          <ac:chgData name="Khrystyna Yatsyna" userId="e6954dd7-6c9e-43c8-bd42-ff8c4ce5393f" providerId="ADAL" clId="{BBB5A732-C083-4ACD-876F-6FB9A2AAF4AA}" dt="2023-08-18T12:35:14.465" v="792" actId="478"/>
          <ac:picMkLst>
            <pc:docMk/>
            <pc:sldMk cId="214747599" sldId="3226"/>
            <ac:picMk id="275" creationId="{67C84187-A2F1-695F-DDC8-1FBD99DCCAA9}"/>
          </ac:picMkLst>
        </pc:picChg>
        <pc:picChg chg="mod">
          <ac:chgData name="Khrystyna Yatsyna" userId="e6954dd7-6c9e-43c8-bd42-ff8c4ce5393f" providerId="ADAL" clId="{BBB5A732-C083-4ACD-876F-6FB9A2AAF4AA}" dt="2023-08-03T11:36:40.362" v="503" actId="3626"/>
          <ac:picMkLst>
            <pc:docMk/>
            <pc:sldMk cId="214747599" sldId="3226"/>
            <ac:picMk id="277" creationId="{CB5D89AB-0970-EC55-B3E4-1097E07C22A5}"/>
          </ac:picMkLst>
        </pc:picChg>
        <pc:picChg chg="mod">
          <ac:chgData name="Khrystyna Yatsyna" userId="e6954dd7-6c9e-43c8-bd42-ff8c4ce5393f" providerId="ADAL" clId="{BBB5A732-C083-4ACD-876F-6FB9A2AAF4AA}" dt="2023-08-03T11:36:46.829" v="506" actId="3626"/>
          <ac:picMkLst>
            <pc:docMk/>
            <pc:sldMk cId="214747599" sldId="3226"/>
            <ac:picMk id="287" creationId="{EE025E46-9241-641C-E0F7-6A4E099DE4AD}"/>
          </ac:picMkLst>
        </pc:picChg>
        <pc:picChg chg="del mod">
          <ac:chgData name="Khrystyna Yatsyna" userId="e6954dd7-6c9e-43c8-bd42-ff8c4ce5393f" providerId="ADAL" clId="{BBB5A732-C083-4ACD-876F-6FB9A2AAF4AA}" dt="2023-08-18T12:35:14.465" v="792" actId="478"/>
          <ac:picMkLst>
            <pc:docMk/>
            <pc:sldMk cId="214747599" sldId="3226"/>
            <ac:picMk id="289" creationId="{993CFDDA-DE2C-F657-E07F-DD42E48E0E6D}"/>
          </ac:picMkLst>
        </pc:picChg>
        <pc:picChg chg="mod">
          <ac:chgData name="Khrystyna Yatsyna" userId="e6954dd7-6c9e-43c8-bd42-ff8c4ce5393f" providerId="ADAL" clId="{BBB5A732-C083-4ACD-876F-6FB9A2AAF4AA}" dt="2023-08-03T11:36:53.415" v="509" actId="3626"/>
          <ac:picMkLst>
            <pc:docMk/>
            <pc:sldMk cId="214747599" sldId="3226"/>
            <ac:picMk id="291" creationId="{160CE36F-BAE6-B7C8-E703-0D736815A246}"/>
          </ac:picMkLst>
        </pc:picChg>
        <pc:picChg chg="mod">
          <ac:chgData name="Khrystyna Yatsyna" userId="e6954dd7-6c9e-43c8-bd42-ff8c4ce5393f" providerId="ADAL" clId="{BBB5A732-C083-4ACD-876F-6FB9A2AAF4AA}" dt="2023-08-03T11:36:58.057" v="511" actId="3626"/>
          <ac:picMkLst>
            <pc:docMk/>
            <pc:sldMk cId="214747599" sldId="3226"/>
            <ac:picMk id="293" creationId="{326D31E4-0487-9468-0133-DB165CB0CA21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2:11.660" v="756" actId="108"/>
        <pc:sldMkLst>
          <pc:docMk/>
          <pc:sldMk cId="1507158165" sldId="3232"/>
        </pc:sldMkLst>
        <pc:spChg chg="add mod">
          <ac:chgData name="Khrystyna Yatsyna" userId="e6954dd7-6c9e-43c8-bd42-ff8c4ce5393f" providerId="ADAL" clId="{BBB5A732-C083-4ACD-876F-6FB9A2AAF4AA}" dt="2023-08-03T13:20:54.168" v="596"/>
          <ac:spMkLst>
            <pc:docMk/>
            <pc:sldMk cId="1507158165" sldId="3232"/>
            <ac:spMk id="4" creationId="{6DB51746-6836-9312-E55D-5262EA73C760}"/>
          </ac:spMkLst>
        </pc:spChg>
        <pc:spChg chg="mod">
          <ac:chgData name="Khrystyna Yatsyna" userId="e6954dd7-6c9e-43c8-bd42-ff8c4ce5393f" providerId="ADAL" clId="{BBB5A732-C083-4ACD-876F-6FB9A2AAF4AA}" dt="2023-08-03T13:20:54.168" v="596"/>
          <ac:spMkLst>
            <pc:docMk/>
            <pc:sldMk cId="1507158165" sldId="3232"/>
            <ac:spMk id="6" creationId="{09E76F74-9E58-0A00-BDBD-156BC75DB675}"/>
          </ac:spMkLst>
        </pc:spChg>
        <pc:spChg chg="mod">
          <ac:chgData name="Khrystyna Yatsyna" userId="e6954dd7-6c9e-43c8-bd42-ff8c4ce5393f" providerId="ADAL" clId="{BBB5A732-C083-4ACD-876F-6FB9A2AAF4AA}" dt="2023-08-03T13:20:54.168" v="596"/>
          <ac:spMkLst>
            <pc:docMk/>
            <pc:sldMk cId="1507158165" sldId="3232"/>
            <ac:spMk id="7" creationId="{5B1CD622-40A0-55E1-B399-1AD432FBD0D0}"/>
          </ac:spMkLst>
        </pc:spChg>
        <pc:spChg chg="mod">
          <ac:chgData name="Khrystyna Yatsyna" userId="e6954dd7-6c9e-43c8-bd42-ff8c4ce5393f" providerId="ADAL" clId="{BBB5A732-C083-4ACD-876F-6FB9A2AAF4AA}" dt="2023-08-03T13:20:54.168" v="596"/>
          <ac:spMkLst>
            <pc:docMk/>
            <pc:sldMk cId="1507158165" sldId="3232"/>
            <ac:spMk id="8" creationId="{9D53A57B-04CB-42C0-0395-A5D1E4F3DECB}"/>
          </ac:spMkLst>
        </pc:spChg>
        <pc:spChg chg="mod">
          <ac:chgData name="Khrystyna Yatsyna" userId="e6954dd7-6c9e-43c8-bd42-ff8c4ce5393f" providerId="ADAL" clId="{BBB5A732-C083-4ACD-876F-6FB9A2AAF4AA}" dt="2023-08-03T13:20:54.168" v="596"/>
          <ac:spMkLst>
            <pc:docMk/>
            <pc:sldMk cId="1507158165" sldId="3232"/>
            <ac:spMk id="9" creationId="{D57E9F77-6F7B-1657-D89A-809ADAD6A0CE}"/>
          </ac:spMkLst>
        </pc:spChg>
        <pc:spChg chg="mod">
          <ac:chgData name="Khrystyna Yatsyna" userId="e6954dd7-6c9e-43c8-bd42-ff8c4ce5393f" providerId="ADAL" clId="{BBB5A732-C083-4ACD-876F-6FB9A2AAF4AA}" dt="2023-08-03T13:20:54.168" v="596"/>
          <ac:spMkLst>
            <pc:docMk/>
            <pc:sldMk cId="1507158165" sldId="3232"/>
            <ac:spMk id="10" creationId="{7EA47345-83FC-9B9D-BF50-F77229776A74}"/>
          </ac:spMkLst>
        </pc:spChg>
        <pc:spChg chg="mod">
          <ac:chgData name="Khrystyna Yatsyna" userId="e6954dd7-6c9e-43c8-bd42-ff8c4ce5393f" providerId="ADAL" clId="{BBB5A732-C083-4ACD-876F-6FB9A2AAF4AA}" dt="2023-08-03T13:20:54.168" v="596"/>
          <ac:spMkLst>
            <pc:docMk/>
            <pc:sldMk cId="1507158165" sldId="3232"/>
            <ac:spMk id="11" creationId="{99DEF252-972B-41FC-836A-C82298C5822A}"/>
          </ac:spMkLst>
        </pc:spChg>
        <pc:spChg chg="mod">
          <ac:chgData name="Khrystyna Yatsyna" userId="e6954dd7-6c9e-43c8-bd42-ff8c4ce5393f" providerId="ADAL" clId="{BBB5A732-C083-4ACD-876F-6FB9A2AAF4AA}" dt="2023-08-18T12:32:08.043" v="752" actId="108"/>
          <ac:spMkLst>
            <pc:docMk/>
            <pc:sldMk cId="1507158165" sldId="3232"/>
            <ac:spMk id="90" creationId="{09B5B1D0-281D-489D-A9C6-F1D119359F89}"/>
          </ac:spMkLst>
        </pc:spChg>
        <pc:spChg chg="del mod">
          <ac:chgData name="Khrystyna Yatsyna" userId="e6954dd7-6c9e-43c8-bd42-ff8c4ce5393f" providerId="ADAL" clId="{BBB5A732-C083-4ACD-876F-6FB9A2AAF4AA}" dt="2023-08-03T13:20:54.013" v="595" actId="478"/>
          <ac:spMkLst>
            <pc:docMk/>
            <pc:sldMk cId="1507158165" sldId="3232"/>
            <ac:spMk id="92" creationId="{4676A47E-26BE-C765-8C97-4627888DBBBF}"/>
          </ac:spMkLst>
        </pc:spChg>
        <pc:spChg chg="mod">
          <ac:chgData name="Khrystyna Yatsyna" userId="e6954dd7-6c9e-43c8-bd42-ff8c4ce5393f" providerId="ADAL" clId="{BBB5A732-C083-4ACD-876F-6FB9A2AAF4AA}" dt="2023-08-18T12:32:08.813" v="753" actId="108"/>
          <ac:spMkLst>
            <pc:docMk/>
            <pc:sldMk cId="1507158165" sldId="3232"/>
            <ac:spMk id="101" creationId="{C74D009F-F087-D43E-5971-70DA74E130AD}"/>
          </ac:spMkLst>
        </pc:spChg>
        <pc:spChg chg="mod">
          <ac:chgData name="Khrystyna Yatsyna" userId="e6954dd7-6c9e-43c8-bd42-ff8c4ce5393f" providerId="ADAL" clId="{BBB5A732-C083-4ACD-876F-6FB9A2AAF4AA}" dt="2023-08-18T12:32:09.655" v="754" actId="108"/>
          <ac:spMkLst>
            <pc:docMk/>
            <pc:sldMk cId="1507158165" sldId="3232"/>
            <ac:spMk id="103" creationId="{A4B5E8EB-CCC8-CD45-E8AC-D51FF01D3E7F}"/>
          </ac:spMkLst>
        </pc:spChg>
        <pc:spChg chg="mod">
          <ac:chgData name="Khrystyna Yatsyna" userId="e6954dd7-6c9e-43c8-bd42-ff8c4ce5393f" providerId="ADAL" clId="{BBB5A732-C083-4ACD-876F-6FB9A2AAF4AA}" dt="2023-08-18T12:32:10.758" v="755" actId="108"/>
          <ac:spMkLst>
            <pc:docMk/>
            <pc:sldMk cId="1507158165" sldId="3232"/>
            <ac:spMk id="105" creationId="{59764C52-6E09-F246-32EB-FAB3458369DE}"/>
          </ac:spMkLst>
        </pc:spChg>
        <pc:spChg chg="mod">
          <ac:chgData name="Khrystyna Yatsyna" userId="e6954dd7-6c9e-43c8-bd42-ff8c4ce5393f" providerId="ADAL" clId="{BBB5A732-C083-4ACD-876F-6FB9A2AAF4AA}" dt="2023-08-18T12:32:11.660" v="756" actId="108"/>
          <ac:spMkLst>
            <pc:docMk/>
            <pc:sldMk cId="1507158165" sldId="3232"/>
            <ac:spMk id="107" creationId="{9BA3DD05-B3A6-F5AA-9AD3-08A678B0C1E0}"/>
          </ac:spMkLst>
        </pc:spChg>
        <pc:grpChg chg="add mod">
          <ac:chgData name="Khrystyna Yatsyna" userId="e6954dd7-6c9e-43c8-bd42-ff8c4ce5393f" providerId="ADAL" clId="{BBB5A732-C083-4ACD-876F-6FB9A2AAF4AA}" dt="2023-08-03T13:20:54.168" v="596"/>
          <ac:grpSpMkLst>
            <pc:docMk/>
            <pc:sldMk cId="1507158165" sldId="3232"/>
            <ac:grpSpMk id="5" creationId="{1CAE4D5A-F0A0-C7FE-FF4E-5B3AF3019808}"/>
          </ac:grpSpMkLst>
        </pc:grpChg>
        <pc:grpChg chg="del">
          <ac:chgData name="Khrystyna Yatsyna" userId="e6954dd7-6c9e-43c8-bd42-ff8c4ce5393f" providerId="ADAL" clId="{BBB5A732-C083-4ACD-876F-6FB9A2AAF4AA}" dt="2023-08-03T13:20:54.013" v="595" actId="478"/>
          <ac:grpSpMkLst>
            <pc:docMk/>
            <pc:sldMk cId="1507158165" sldId="3232"/>
            <ac:grpSpMk id="93" creationId="{C0EBB2FB-3299-E318-45C4-4C5CB3866419}"/>
          </ac:grpSpMkLst>
        </pc:grpChg>
        <pc:picChg chg="mod">
          <ac:chgData name="Khrystyna Yatsyna" userId="e6954dd7-6c9e-43c8-bd42-ff8c4ce5393f" providerId="ADAL" clId="{BBB5A732-C083-4ACD-876F-6FB9A2AAF4AA}" dt="2023-08-03T11:38:04.076" v="535" actId="3626"/>
          <ac:picMkLst>
            <pc:docMk/>
            <pc:sldMk cId="1507158165" sldId="3232"/>
            <ac:picMk id="91" creationId="{6BD8E39B-F2C8-C16F-60FC-1C2AC022DCEF}"/>
          </ac:picMkLst>
        </pc:picChg>
        <pc:picChg chg="mod">
          <ac:chgData name="Khrystyna Yatsyna" userId="e6954dd7-6c9e-43c8-bd42-ff8c4ce5393f" providerId="ADAL" clId="{BBB5A732-C083-4ACD-876F-6FB9A2AAF4AA}" dt="2023-08-03T11:38:00.206" v="533" actId="3626"/>
          <ac:picMkLst>
            <pc:docMk/>
            <pc:sldMk cId="1507158165" sldId="3232"/>
            <ac:picMk id="102" creationId="{A18B1613-53A9-BAA6-DD77-ACD057D295BC}"/>
          </ac:picMkLst>
        </pc:picChg>
        <pc:picChg chg="mod">
          <ac:chgData name="Khrystyna Yatsyna" userId="e6954dd7-6c9e-43c8-bd42-ff8c4ce5393f" providerId="ADAL" clId="{BBB5A732-C083-4ACD-876F-6FB9A2AAF4AA}" dt="2023-08-03T11:37:55.624" v="531" actId="3626"/>
          <ac:picMkLst>
            <pc:docMk/>
            <pc:sldMk cId="1507158165" sldId="3232"/>
            <ac:picMk id="104" creationId="{52932AF4-8D57-2A56-79FE-E5042A69E51D}"/>
          </ac:picMkLst>
        </pc:picChg>
        <pc:picChg chg="mod">
          <ac:chgData name="Khrystyna Yatsyna" userId="e6954dd7-6c9e-43c8-bd42-ff8c4ce5393f" providerId="ADAL" clId="{BBB5A732-C083-4ACD-876F-6FB9A2AAF4AA}" dt="2023-08-03T11:37:49.994" v="528" actId="3626"/>
          <ac:picMkLst>
            <pc:docMk/>
            <pc:sldMk cId="1507158165" sldId="3232"/>
            <ac:picMk id="106" creationId="{C6B133DA-E6A1-FBA2-5288-00D113853B43}"/>
          </ac:picMkLst>
        </pc:picChg>
        <pc:picChg chg="mod">
          <ac:chgData name="Khrystyna Yatsyna" userId="e6954dd7-6c9e-43c8-bd42-ff8c4ce5393f" providerId="ADAL" clId="{BBB5A732-C083-4ACD-876F-6FB9A2AAF4AA}" dt="2023-08-03T11:37:45.561" v="526" actId="3626"/>
          <ac:picMkLst>
            <pc:docMk/>
            <pc:sldMk cId="1507158165" sldId="3232"/>
            <ac:picMk id="108" creationId="{36BE3E1E-5B21-70C0-B621-E95349CF1DED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2:26.267" v="766" actId="108"/>
        <pc:sldMkLst>
          <pc:docMk/>
          <pc:sldMk cId="1044870750" sldId="3233"/>
        </pc:sldMkLst>
        <pc:spChg chg="add mod">
          <ac:chgData name="Khrystyna Yatsyna" userId="e6954dd7-6c9e-43c8-bd42-ff8c4ce5393f" providerId="ADAL" clId="{BBB5A732-C083-4ACD-876F-6FB9A2AAF4AA}" dt="2023-07-27T11:22:12.237" v="169" actId="1035"/>
          <ac:spMkLst>
            <pc:docMk/>
            <pc:sldMk cId="1044870750" sldId="3233"/>
            <ac:spMk id="4" creationId="{9A90C3AB-BDB0-BC65-2ADE-4308CA27B649}"/>
          </ac:spMkLst>
        </pc:spChg>
        <pc:spChg chg="add mod">
          <ac:chgData name="Khrystyna Yatsyna" userId="e6954dd7-6c9e-43c8-bd42-ff8c4ce5393f" providerId="ADAL" clId="{BBB5A732-C083-4ACD-876F-6FB9A2AAF4AA}" dt="2023-08-03T13:20:57.376" v="598"/>
          <ac:spMkLst>
            <pc:docMk/>
            <pc:sldMk cId="1044870750" sldId="3233"/>
            <ac:spMk id="8" creationId="{B4B64F34-06B7-1A04-BADE-1B8711DFDD4A}"/>
          </ac:spMkLst>
        </pc:spChg>
        <pc:spChg chg="mod">
          <ac:chgData name="Khrystyna Yatsyna" userId="e6954dd7-6c9e-43c8-bd42-ff8c4ce5393f" providerId="ADAL" clId="{BBB5A732-C083-4ACD-876F-6FB9A2AAF4AA}" dt="2023-08-03T13:20:57.376" v="598"/>
          <ac:spMkLst>
            <pc:docMk/>
            <pc:sldMk cId="1044870750" sldId="3233"/>
            <ac:spMk id="10" creationId="{1B734875-95C3-C167-6D90-6B56D9F26E13}"/>
          </ac:spMkLst>
        </pc:spChg>
        <pc:spChg chg="mod">
          <ac:chgData name="Khrystyna Yatsyna" userId="e6954dd7-6c9e-43c8-bd42-ff8c4ce5393f" providerId="ADAL" clId="{BBB5A732-C083-4ACD-876F-6FB9A2AAF4AA}" dt="2023-08-03T13:20:57.376" v="598"/>
          <ac:spMkLst>
            <pc:docMk/>
            <pc:sldMk cId="1044870750" sldId="3233"/>
            <ac:spMk id="14" creationId="{46F2B4C5-F821-F123-50E5-B206D96CC121}"/>
          </ac:spMkLst>
        </pc:spChg>
        <pc:spChg chg="mod">
          <ac:chgData name="Khrystyna Yatsyna" userId="e6954dd7-6c9e-43c8-bd42-ff8c4ce5393f" providerId="ADAL" clId="{BBB5A732-C083-4ACD-876F-6FB9A2AAF4AA}" dt="2023-08-03T13:20:57.376" v="598"/>
          <ac:spMkLst>
            <pc:docMk/>
            <pc:sldMk cId="1044870750" sldId="3233"/>
            <ac:spMk id="15" creationId="{4BE73C2B-9973-CFFA-CCB9-EB0A33BC934E}"/>
          </ac:spMkLst>
        </pc:spChg>
        <pc:spChg chg="mod">
          <ac:chgData name="Khrystyna Yatsyna" userId="e6954dd7-6c9e-43c8-bd42-ff8c4ce5393f" providerId="ADAL" clId="{BBB5A732-C083-4ACD-876F-6FB9A2AAF4AA}" dt="2023-08-03T13:20:57.376" v="598"/>
          <ac:spMkLst>
            <pc:docMk/>
            <pc:sldMk cId="1044870750" sldId="3233"/>
            <ac:spMk id="16" creationId="{519A0E64-4CB3-A5ED-4F81-B8D84C711873}"/>
          </ac:spMkLst>
        </pc:spChg>
        <pc:spChg chg="mod">
          <ac:chgData name="Khrystyna Yatsyna" userId="e6954dd7-6c9e-43c8-bd42-ff8c4ce5393f" providerId="ADAL" clId="{BBB5A732-C083-4ACD-876F-6FB9A2AAF4AA}" dt="2023-08-03T13:20:57.376" v="598"/>
          <ac:spMkLst>
            <pc:docMk/>
            <pc:sldMk cId="1044870750" sldId="3233"/>
            <ac:spMk id="17" creationId="{1A9F36AE-B925-5347-5785-B9E4AC55AD2E}"/>
          </ac:spMkLst>
        </pc:spChg>
        <pc:spChg chg="mod">
          <ac:chgData name="Khrystyna Yatsyna" userId="e6954dd7-6c9e-43c8-bd42-ff8c4ce5393f" providerId="ADAL" clId="{BBB5A732-C083-4ACD-876F-6FB9A2AAF4AA}" dt="2023-08-03T13:20:57.376" v="598"/>
          <ac:spMkLst>
            <pc:docMk/>
            <pc:sldMk cId="1044870750" sldId="3233"/>
            <ac:spMk id="18" creationId="{DA90290F-18B0-CBFF-7E8A-E7EC9BC3CEBF}"/>
          </ac:spMkLst>
        </pc:spChg>
        <pc:spChg chg="mod">
          <ac:chgData name="Khrystyna Yatsyna" userId="e6954dd7-6c9e-43c8-bd42-ff8c4ce5393f" providerId="ADAL" clId="{BBB5A732-C083-4ACD-876F-6FB9A2AAF4AA}" dt="2023-07-27T11:20:47.317" v="101" actId="121"/>
          <ac:spMkLst>
            <pc:docMk/>
            <pc:sldMk cId="1044870750" sldId="3233"/>
            <ac:spMk id="26" creationId="{59B06A73-DF3F-4639-8B57-817A87E965C0}"/>
          </ac:spMkLst>
        </pc:spChg>
        <pc:spChg chg="mod">
          <ac:chgData name="Khrystyna Yatsyna" userId="e6954dd7-6c9e-43c8-bd42-ff8c4ce5393f" providerId="ADAL" clId="{BBB5A732-C083-4ACD-876F-6FB9A2AAF4AA}" dt="2023-07-27T11:21:57.349" v="140" actId="1076"/>
          <ac:spMkLst>
            <pc:docMk/>
            <pc:sldMk cId="1044870750" sldId="3233"/>
            <ac:spMk id="30" creationId="{9C129820-5ADD-D53C-13E4-DC334E3A5A89}"/>
          </ac:spMkLst>
        </pc:spChg>
        <pc:spChg chg="mod">
          <ac:chgData name="Khrystyna Yatsyna" userId="e6954dd7-6c9e-43c8-bd42-ff8c4ce5393f" providerId="ADAL" clId="{BBB5A732-C083-4ACD-876F-6FB9A2AAF4AA}" dt="2023-07-27T11:22:04.891" v="159" actId="1036"/>
          <ac:spMkLst>
            <pc:docMk/>
            <pc:sldMk cId="1044870750" sldId="3233"/>
            <ac:spMk id="32" creationId="{C7EED711-1D1F-901B-1F12-57C755BCFE30}"/>
          </ac:spMkLst>
        </pc:spChg>
        <pc:spChg chg="mod">
          <ac:chgData name="Khrystyna Yatsyna" userId="e6954dd7-6c9e-43c8-bd42-ff8c4ce5393f" providerId="ADAL" clId="{BBB5A732-C083-4ACD-876F-6FB9A2AAF4AA}" dt="2023-07-27T11:22:04.891" v="159" actId="1036"/>
          <ac:spMkLst>
            <pc:docMk/>
            <pc:sldMk cId="1044870750" sldId="3233"/>
            <ac:spMk id="35" creationId="{CAA5032A-5D96-F578-EE2F-840D89C371DA}"/>
          </ac:spMkLst>
        </pc:spChg>
        <pc:spChg chg="mod">
          <ac:chgData name="Khrystyna Yatsyna" userId="e6954dd7-6c9e-43c8-bd42-ff8c4ce5393f" providerId="ADAL" clId="{BBB5A732-C083-4ACD-876F-6FB9A2AAF4AA}" dt="2023-08-03T11:38:13.004" v="538" actId="3626"/>
          <ac:spMkLst>
            <pc:docMk/>
            <pc:sldMk cId="1044870750" sldId="3233"/>
            <ac:spMk id="36" creationId="{369E67D2-4BB5-0E03-C191-465E081E39DF}"/>
          </ac:spMkLst>
        </pc:spChg>
        <pc:spChg chg="del mod">
          <ac:chgData name="Khrystyna Yatsyna" userId="e6954dd7-6c9e-43c8-bd42-ff8c4ce5393f" providerId="ADAL" clId="{BBB5A732-C083-4ACD-876F-6FB9A2AAF4AA}" dt="2023-08-03T13:20:57.179" v="597" actId="478"/>
          <ac:spMkLst>
            <pc:docMk/>
            <pc:sldMk cId="1044870750" sldId="3233"/>
            <ac:spMk id="38" creationId="{621727D9-671E-CB79-A3DF-41CBA2335EEC}"/>
          </ac:spMkLst>
        </pc:spChg>
        <pc:spChg chg="mod">
          <ac:chgData name="Khrystyna Yatsyna" userId="e6954dd7-6c9e-43c8-bd42-ff8c4ce5393f" providerId="ADAL" clId="{BBB5A732-C083-4ACD-876F-6FB9A2AAF4AA}" dt="2023-07-27T11:23:55.198" v="181" actId="1076"/>
          <ac:spMkLst>
            <pc:docMk/>
            <pc:sldMk cId="1044870750" sldId="3233"/>
            <ac:spMk id="41" creationId="{E1737980-F2F6-D707-8FCD-CD399C04BF06}"/>
          </ac:spMkLst>
        </pc:spChg>
        <pc:spChg chg="mod">
          <ac:chgData name="Khrystyna Yatsyna" userId="e6954dd7-6c9e-43c8-bd42-ff8c4ce5393f" providerId="ADAL" clId="{BBB5A732-C083-4ACD-876F-6FB9A2AAF4AA}" dt="2023-07-27T11:22:04.891" v="159" actId="1036"/>
          <ac:spMkLst>
            <pc:docMk/>
            <pc:sldMk cId="1044870750" sldId="3233"/>
            <ac:spMk id="43" creationId="{FDDD80A0-D8CC-1234-EC1E-657AA86410EB}"/>
          </ac:spMkLst>
        </pc:spChg>
        <pc:spChg chg="mod">
          <ac:chgData name="Khrystyna Yatsyna" userId="e6954dd7-6c9e-43c8-bd42-ff8c4ce5393f" providerId="ADAL" clId="{BBB5A732-C083-4ACD-876F-6FB9A2AAF4AA}" dt="2023-07-27T11:21:04.427" v="132" actId="1038"/>
          <ac:spMkLst>
            <pc:docMk/>
            <pc:sldMk cId="1044870750" sldId="3233"/>
            <ac:spMk id="47" creationId="{B2FFC8BD-8B83-5CD8-F8FD-B8FEEC9E63EE}"/>
          </ac:spMkLst>
        </pc:spChg>
        <pc:spChg chg="mod">
          <ac:chgData name="Khrystyna Yatsyna" userId="e6954dd7-6c9e-43c8-bd42-ff8c4ce5393f" providerId="ADAL" clId="{BBB5A732-C083-4ACD-876F-6FB9A2AAF4AA}" dt="2023-08-18T12:32:21.179" v="762" actId="108"/>
          <ac:spMkLst>
            <pc:docMk/>
            <pc:sldMk cId="1044870750" sldId="3233"/>
            <ac:spMk id="50" creationId="{B51FF2FA-6AA5-6792-8AF5-41E76069656E}"/>
          </ac:spMkLst>
        </pc:spChg>
        <pc:spChg chg="mod">
          <ac:chgData name="Khrystyna Yatsyna" userId="e6954dd7-6c9e-43c8-bd42-ff8c4ce5393f" providerId="ADAL" clId="{BBB5A732-C083-4ACD-876F-6FB9A2AAF4AA}" dt="2023-08-18T12:32:23.117" v="763" actId="108"/>
          <ac:spMkLst>
            <pc:docMk/>
            <pc:sldMk cId="1044870750" sldId="3233"/>
            <ac:spMk id="54" creationId="{6963B50B-B3CB-D5A8-99AA-C605D45BD238}"/>
          </ac:spMkLst>
        </pc:spChg>
        <pc:spChg chg="mod">
          <ac:chgData name="Khrystyna Yatsyna" userId="e6954dd7-6c9e-43c8-bd42-ff8c4ce5393f" providerId="ADAL" clId="{BBB5A732-C083-4ACD-876F-6FB9A2AAF4AA}" dt="2023-08-18T12:32:24.143" v="764" actId="108"/>
          <ac:spMkLst>
            <pc:docMk/>
            <pc:sldMk cId="1044870750" sldId="3233"/>
            <ac:spMk id="56" creationId="{9ECA63BE-6E55-4C8E-1F25-13B320243CDD}"/>
          </ac:spMkLst>
        </pc:spChg>
        <pc:spChg chg="mod">
          <ac:chgData name="Khrystyna Yatsyna" userId="e6954dd7-6c9e-43c8-bd42-ff8c4ce5393f" providerId="ADAL" clId="{BBB5A732-C083-4ACD-876F-6FB9A2AAF4AA}" dt="2023-08-18T12:32:25.227" v="765" actId="108"/>
          <ac:spMkLst>
            <pc:docMk/>
            <pc:sldMk cId="1044870750" sldId="3233"/>
            <ac:spMk id="61" creationId="{E9B76AF8-BC9A-AF74-34DF-7BC2A0DF0ECD}"/>
          </ac:spMkLst>
        </pc:spChg>
        <pc:spChg chg="mod">
          <ac:chgData name="Khrystyna Yatsyna" userId="e6954dd7-6c9e-43c8-bd42-ff8c4ce5393f" providerId="ADAL" clId="{BBB5A732-C083-4ACD-876F-6FB9A2AAF4AA}" dt="2023-07-27T11:22:04.891" v="159" actId="1036"/>
          <ac:spMkLst>
            <pc:docMk/>
            <pc:sldMk cId="1044870750" sldId="3233"/>
            <ac:spMk id="62" creationId="{B6C26415-AD42-DE53-D888-4832144596AC}"/>
          </ac:spMkLst>
        </pc:spChg>
        <pc:spChg chg="mod">
          <ac:chgData name="Khrystyna Yatsyna" userId="e6954dd7-6c9e-43c8-bd42-ff8c4ce5393f" providerId="ADAL" clId="{BBB5A732-C083-4ACD-876F-6FB9A2AAF4AA}" dt="2023-07-27T11:22:04.891" v="159" actId="1036"/>
          <ac:spMkLst>
            <pc:docMk/>
            <pc:sldMk cId="1044870750" sldId="3233"/>
            <ac:spMk id="63" creationId="{5186FBC6-6407-5FF6-A204-D9B01EF0010B}"/>
          </ac:spMkLst>
        </pc:spChg>
        <pc:spChg chg="mod">
          <ac:chgData name="Khrystyna Yatsyna" userId="e6954dd7-6c9e-43c8-bd42-ff8c4ce5393f" providerId="ADAL" clId="{BBB5A732-C083-4ACD-876F-6FB9A2AAF4AA}" dt="2023-08-18T12:32:26.267" v="766" actId="108"/>
          <ac:spMkLst>
            <pc:docMk/>
            <pc:sldMk cId="1044870750" sldId="3233"/>
            <ac:spMk id="65" creationId="{A21C471E-BDE6-D283-2560-7FDA84AAD357}"/>
          </ac:spMkLst>
        </pc:spChg>
        <pc:spChg chg="mod">
          <ac:chgData name="Khrystyna Yatsyna" userId="e6954dd7-6c9e-43c8-bd42-ff8c4ce5393f" providerId="ADAL" clId="{BBB5A732-C083-4ACD-876F-6FB9A2AAF4AA}" dt="2023-07-27T11:22:04.891" v="159" actId="1036"/>
          <ac:spMkLst>
            <pc:docMk/>
            <pc:sldMk cId="1044870750" sldId="3233"/>
            <ac:spMk id="96" creationId="{2C983CB4-02D6-1CDE-8FFA-52FFFE4C9A9E}"/>
          </ac:spMkLst>
        </pc:spChg>
        <pc:grpChg chg="add mod">
          <ac:chgData name="Khrystyna Yatsyna" userId="e6954dd7-6c9e-43c8-bd42-ff8c4ce5393f" providerId="ADAL" clId="{BBB5A732-C083-4ACD-876F-6FB9A2AAF4AA}" dt="2023-08-03T13:20:57.376" v="598"/>
          <ac:grpSpMkLst>
            <pc:docMk/>
            <pc:sldMk cId="1044870750" sldId="3233"/>
            <ac:grpSpMk id="9" creationId="{4DEB1271-80E9-8B22-1A67-E29C049A0983}"/>
          </ac:grpSpMkLst>
        </pc:grpChg>
        <pc:grpChg chg="del">
          <ac:chgData name="Khrystyna Yatsyna" userId="e6954dd7-6c9e-43c8-bd42-ff8c4ce5393f" providerId="ADAL" clId="{BBB5A732-C083-4ACD-876F-6FB9A2AAF4AA}" dt="2023-08-03T13:20:57.179" v="597" actId="478"/>
          <ac:grpSpMkLst>
            <pc:docMk/>
            <pc:sldMk cId="1044870750" sldId="3233"/>
            <ac:grpSpMk id="39" creationId="{337D49B3-86E2-EC22-ED3B-37DF5E9C1F87}"/>
          </ac:grpSpMkLst>
        </pc:grpChg>
        <pc:grpChg chg="mod">
          <ac:chgData name="Khrystyna Yatsyna" userId="e6954dd7-6c9e-43c8-bd42-ff8c4ce5393f" providerId="ADAL" clId="{BBB5A732-C083-4ACD-876F-6FB9A2AAF4AA}" dt="2023-07-27T11:22:04.891" v="159" actId="1036"/>
          <ac:grpSpMkLst>
            <pc:docMk/>
            <pc:sldMk cId="1044870750" sldId="3233"/>
            <ac:grpSpMk id="53" creationId="{0E9047D4-64A6-D243-3960-78631EF4E635}"/>
          </ac:grpSpMkLst>
        </pc:grpChg>
        <pc:grpChg chg="mod">
          <ac:chgData name="Khrystyna Yatsyna" userId="e6954dd7-6c9e-43c8-bd42-ff8c4ce5393f" providerId="ADAL" clId="{BBB5A732-C083-4ACD-876F-6FB9A2AAF4AA}" dt="2023-07-27T11:22:04.891" v="159" actId="1036"/>
          <ac:grpSpMkLst>
            <pc:docMk/>
            <pc:sldMk cId="1044870750" sldId="3233"/>
            <ac:grpSpMk id="79" creationId="{06DF3EFE-E41D-D759-2F1B-56DDBBE49136}"/>
          </ac:grpSpMkLst>
        </pc:grpChg>
        <pc:grpChg chg="mod">
          <ac:chgData name="Khrystyna Yatsyna" userId="e6954dd7-6c9e-43c8-bd42-ff8c4ce5393f" providerId="ADAL" clId="{BBB5A732-C083-4ACD-876F-6FB9A2AAF4AA}" dt="2023-07-27T11:22:04.891" v="159" actId="1036"/>
          <ac:grpSpMkLst>
            <pc:docMk/>
            <pc:sldMk cId="1044870750" sldId="3233"/>
            <ac:grpSpMk id="82" creationId="{E3969408-E9E7-9A85-AABB-393FF05436E3}"/>
          </ac:grpSpMkLst>
        </pc:grpChg>
        <pc:grpChg chg="mod">
          <ac:chgData name="Khrystyna Yatsyna" userId="e6954dd7-6c9e-43c8-bd42-ff8c4ce5393f" providerId="ADAL" clId="{BBB5A732-C083-4ACD-876F-6FB9A2AAF4AA}" dt="2023-07-27T11:22:04.891" v="159" actId="1036"/>
          <ac:grpSpMkLst>
            <pc:docMk/>
            <pc:sldMk cId="1044870750" sldId="3233"/>
            <ac:grpSpMk id="85" creationId="{0C743DE6-977E-DEFE-34CF-CA209CD9ABA5}"/>
          </ac:grpSpMkLst>
        </pc:grpChg>
        <pc:grpChg chg="mod">
          <ac:chgData name="Khrystyna Yatsyna" userId="e6954dd7-6c9e-43c8-bd42-ff8c4ce5393f" providerId="ADAL" clId="{BBB5A732-C083-4ACD-876F-6FB9A2AAF4AA}" dt="2023-07-27T11:22:04.891" v="159" actId="1036"/>
          <ac:grpSpMkLst>
            <pc:docMk/>
            <pc:sldMk cId="1044870750" sldId="3233"/>
            <ac:grpSpMk id="100" creationId="{EAAC1BD4-1A9F-26F1-8806-014DB01D314B}"/>
          </ac:grpSpMkLst>
        </pc:grpChg>
        <pc:picChg chg="mod">
          <ac:chgData name="Khrystyna Yatsyna" userId="e6954dd7-6c9e-43c8-bd42-ff8c4ce5393f" providerId="ADAL" clId="{BBB5A732-C083-4ACD-876F-6FB9A2AAF4AA}" dt="2023-08-03T11:38:14.829" v="539" actId="3626"/>
          <ac:picMkLst>
            <pc:docMk/>
            <pc:sldMk cId="1044870750" sldId="3233"/>
            <ac:picMk id="37" creationId="{DADAD012-B0BC-93D7-0EDD-B8B5A4CDC428}"/>
          </ac:picMkLst>
        </pc:picChg>
        <pc:picChg chg="mod">
          <ac:chgData name="Khrystyna Yatsyna" userId="e6954dd7-6c9e-43c8-bd42-ff8c4ce5393f" providerId="ADAL" clId="{BBB5A732-C083-4ACD-876F-6FB9A2AAF4AA}" dt="2023-07-27T11:22:04.891" v="159" actId="1036"/>
          <ac:picMkLst>
            <pc:docMk/>
            <pc:sldMk cId="1044870750" sldId="3233"/>
            <ac:picMk id="46" creationId="{6FD8365B-07AF-1704-8223-52DB3CE70C48}"/>
          </ac:picMkLst>
        </pc:picChg>
        <pc:picChg chg="mod">
          <ac:chgData name="Khrystyna Yatsyna" userId="e6954dd7-6c9e-43c8-bd42-ff8c4ce5393f" providerId="ADAL" clId="{BBB5A732-C083-4ACD-876F-6FB9A2AAF4AA}" dt="2023-08-03T11:38:16.522" v="540" actId="3626"/>
          <ac:picMkLst>
            <pc:docMk/>
            <pc:sldMk cId="1044870750" sldId="3233"/>
            <ac:picMk id="51" creationId="{7F99F853-FF9D-F962-014A-19B82B99F2A4}"/>
          </ac:picMkLst>
        </pc:picChg>
        <pc:picChg chg="mod">
          <ac:chgData name="Khrystyna Yatsyna" userId="e6954dd7-6c9e-43c8-bd42-ff8c4ce5393f" providerId="ADAL" clId="{BBB5A732-C083-4ACD-876F-6FB9A2AAF4AA}" dt="2023-07-27T11:22:04.891" v="159" actId="1036"/>
          <ac:picMkLst>
            <pc:docMk/>
            <pc:sldMk cId="1044870750" sldId="3233"/>
            <ac:picMk id="52" creationId="{6F35DC43-EADF-D856-95E2-AC36735CC9D8}"/>
          </ac:picMkLst>
        </pc:picChg>
        <pc:picChg chg="mod">
          <ac:chgData name="Khrystyna Yatsyna" userId="e6954dd7-6c9e-43c8-bd42-ff8c4ce5393f" providerId="ADAL" clId="{BBB5A732-C083-4ACD-876F-6FB9A2AAF4AA}" dt="2023-08-03T11:38:20.521" v="542" actId="3626"/>
          <ac:picMkLst>
            <pc:docMk/>
            <pc:sldMk cId="1044870750" sldId="3233"/>
            <ac:picMk id="55" creationId="{8FAA6889-7D63-B7CD-7BE0-4C2823295E9A}"/>
          </ac:picMkLst>
        </pc:picChg>
        <pc:picChg chg="mod">
          <ac:chgData name="Khrystyna Yatsyna" userId="e6954dd7-6c9e-43c8-bd42-ff8c4ce5393f" providerId="ADAL" clId="{BBB5A732-C083-4ACD-876F-6FB9A2AAF4AA}" dt="2023-08-03T11:38:25.081" v="544" actId="3626"/>
          <ac:picMkLst>
            <pc:docMk/>
            <pc:sldMk cId="1044870750" sldId="3233"/>
            <ac:picMk id="57" creationId="{808029FF-18D6-F9B5-8472-7A1AF6501368}"/>
          </ac:picMkLst>
        </pc:picChg>
        <pc:picChg chg="mod">
          <ac:chgData name="Khrystyna Yatsyna" userId="e6954dd7-6c9e-43c8-bd42-ff8c4ce5393f" providerId="ADAL" clId="{BBB5A732-C083-4ACD-876F-6FB9A2AAF4AA}" dt="2023-08-03T11:38:29.366" v="546" actId="3626"/>
          <ac:picMkLst>
            <pc:docMk/>
            <pc:sldMk cId="1044870750" sldId="3233"/>
            <ac:picMk id="64" creationId="{B295AAFE-11CD-D642-DCC3-86EADD6F7511}"/>
          </ac:picMkLst>
        </pc:picChg>
        <pc:picChg chg="mod">
          <ac:chgData name="Khrystyna Yatsyna" userId="e6954dd7-6c9e-43c8-bd42-ff8c4ce5393f" providerId="ADAL" clId="{BBB5A732-C083-4ACD-876F-6FB9A2AAF4AA}" dt="2023-08-03T11:38:35.456" v="548" actId="3626"/>
          <ac:picMkLst>
            <pc:docMk/>
            <pc:sldMk cId="1044870750" sldId="3233"/>
            <ac:picMk id="66" creationId="{5F060FF8-8A31-A599-BD7B-C42E0A594068}"/>
          </ac:picMkLst>
        </pc:picChg>
        <pc:picChg chg="mod">
          <ac:chgData name="Khrystyna Yatsyna" userId="e6954dd7-6c9e-43c8-bd42-ff8c4ce5393f" providerId="ADAL" clId="{BBB5A732-C083-4ACD-876F-6FB9A2AAF4AA}" dt="2023-07-27T11:22:04.891" v="159" actId="1036"/>
          <ac:picMkLst>
            <pc:docMk/>
            <pc:sldMk cId="1044870750" sldId="3233"/>
            <ac:picMk id="68" creationId="{593CAF55-D00F-40B1-1ACC-AF9EBF429ABD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0:38.787" v="695" actId="108"/>
        <pc:sldMkLst>
          <pc:docMk/>
          <pc:sldMk cId="3633188925" sldId="3236"/>
        </pc:sldMkLst>
        <pc:spChg chg="add mod">
          <ac:chgData name="Khrystyna Yatsyna" userId="e6954dd7-6c9e-43c8-bd42-ff8c4ce5393f" providerId="ADAL" clId="{BBB5A732-C083-4ACD-876F-6FB9A2AAF4AA}" dt="2023-08-03T13:20:10.038" v="569"/>
          <ac:spMkLst>
            <pc:docMk/>
            <pc:sldMk cId="3633188925" sldId="3236"/>
            <ac:spMk id="12" creationId="{2E39B5A7-795F-57CB-BA21-9D695779E6E0}"/>
          </ac:spMkLst>
        </pc:spChg>
        <pc:spChg chg="mod">
          <ac:chgData name="Khrystyna Yatsyna" userId="e6954dd7-6c9e-43c8-bd42-ff8c4ce5393f" providerId="ADAL" clId="{BBB5A732-C083-4ACD-876F-6FB9A2AAF4AA}" dt="2023-08-03T13:20:10.038" v="569"/>
          <ac:spMkLst>
            <pc:docMk/>
            <pc:sldMk cId="3633188925" sldId="3236"/>
            <ac:spMk id="14" creationId="{958CC898-A79A-B1FB-3213-9344C259FCAE}"/>
          </ac:spMkLst>
        </pc:spChg>
        <pc:spChg chg="mod">
          <ac:chgData name="Khrystyna Yatsyna" userId="e6954dd7-6c9e-43c8-bd42-ff8c4ce5393f" providerId="ADAL" clId="{BBB5A732-C083-4ACD-876F-6FB9A2AAF4AA}" dt="2023-08-03T13:20:10.038" v="569"/>
          <ac:spMkLst>
            <pc:docMk/>
            <pc:sldMk cId="3633188925" sldId="3236"/>
            <ac:spMk id="15" creationId="{5508EAD1-297C-7046-9541-0F04029576CB}"/>
          </ac:spMkLst>
        </pc:spChg>
        <pc:spChg chg="mod">
          <ac:chgData name="Khrystyna Yatsyna" userId="e6954dd7-6c9e-43c8-bd42-ff8c4ce5393f" providerId="ADAL" clId="{BBB5A732-C083-4ACD-876F-6FB9A2AAF4AA}" dt="2023-08-03T13:20:10.038" v="569"/>
          <ac:spMkLst>
            <pc:docMk/>
            <pc:sldMk cId="3633188925" sldId="3236"/>
            <ac:spMk id="16" creationId="{15DCDC92-4682-47B2-D614-C03A4E2E9283}"/>
          </ac:spMkLst>
        </pc:spChg>
        <pc:spChg chg="mod">
          <ac:chgData name="Khrystyna Yatsyna" userId="e6954dd7-6c9e-43c8-bd42-ff8c4ce5393f" providerId="ADAL" clId="{BBB5A732-C083-4ACD-876F-6FB9A2AAF4AA}" dt="2023-08-03T13:20:10.038" v="569"/>
          <ac:spMkLst>
            <pc:docMk/>
            <pc:sldMk cId="3633188925" sldId="3236"/>
            <ac:spMk id="17" creationId="{32530C0A-BDF9-6A5F-D9B0-B1222F08B83E}"/>
          </ac:spMkLst>
        </pc:spChg>
        <pc:spChg chg="mod">
          <ac:chgData name="Khrystyna Yatsyna" userId="e6954dd7-6c9e-43c8-bd42-ff8c4ce5393f" providerId="ADAL" clId="{BBB5A732-C083-4ACD-876F-6FB9A2AAF4AA}" dt="2023-08-03T13:20:10.038" v="569"/>
          <ac:spMkLst>
            <pc:docMk/>
            <pc:sldMk cId="3633188925" sldId="3236"/>
            <ac:spMk id="18" creationId="{1E5C7E29-E45F-6D48-0C96-B04B5F7247BF}"/>
          </ac:spMkLst>
        </pc:spChg>
        <pc:spChg chg="mod">
          <ac:chgData name="Khrystyna Yatsyna" userId="e6954dd7-6c9e-43c8-bd42-ff8c4ce5393f" providerId="ADAL" clId="{BBB5A732-C083-4ACD-876F-6FB9A2AAF4AA}" dt="2023-08-03T13:20:10.038" v="569"/>
          <ac:spMkLst>
            <pc:docMk/>
            <pc:sldMk cId="3633188925" sldId="3236"/>
            <ac:spMk id="19" creationId="{0A18FEF3-3444-4F38-7015-A8E4039DA80E}"/>
          </ac:spMkLst>
        </pc:spChg>
        <pc:spChg chg="del mod">
          <ac:chgData name="Khrystyna Yatsyna" userId="e6954dd7-6c9e-43c8-bd42-ff8c4ce5393f" providerId="ADAL" clId="{BBB5A732-C083-4ACD-876F-6FB9A2AAF4AA}" dt="2023-08-03T13:20:09.840" v="568" actId="478"/>
          <ac:spMkLst>
            <pc:docMk/>
            <pc:sldMk cId="3633188925" sldId="3236"/>
            <ac:spMk id="76" creationId="{420B1572-8D16-7E82-FEA0-2CF3E5D48039}"/>
          </ac:spMkLst>
        </pc:spChg>
        <pc:spChg chg="mod">
          <ac:chgData name="Khrystyna Yatsyna" userId="e6954dd7-6c9e-43c8-bd42-ff8c4ce5393f" providerId="ADAL" clId="{BBB5A732-C083-4ACD-876F-6FB9A2AAF4AA}" dt="2023-08-18T12:30:33.467" v="691" actId="108"/>
          <ac:spMkLst>
            <pc:docMk/>
            <pc:sldMk cId="3633188925" sldId="3236"/>
            <ac:spMk id="104" creationId="{99B6AB48-AD2E-9DCD-2822-15F26262FFD8}"/>
          </ac:spMkLst>
        </pc:spChg>
        <pc:spChg chg="mod">
          <ac:chgData name="Khrystyna Yatsyna" userId="e6954dd7-6c9e-43c8-bd42-ff8c4ce5393f" providerId="ADAL" clId="{BBB5A732-C083-4ACD-876F-6FB9A2AAF4AA}" dt="2023-08-18T12:30:34.941" v="692" actId="108"/>
          <ac:spMkLst>
            <pc:docMk/>
            <pc:sldMk cId="3633188925" sldId="3236"/>
            <ac:spMk id="106" creationId="{D2267DF7-978E-F377-4A18-2599FCF80B08}"/>
          </ac:spMkLst>
        </pc:spChg>
        <pc:spChg chg="mod">
          <ac:chgData name="Khrystyna Yatsyna" userId="e6954dd7-6c9e-43c8-bd42-ff8c4ce5393f" providerId="ADAL" clId="{BBB5A732-C083-4ACD-876F-6FB9A2AAF4AA}" dt="2023-08-18T12:30:36.264" v="693" actId="108"/>
          <ac:spMkLst>
            <pc:docMk/>
            <pc:sldMk cId="3633188925" sldId="3236"/>
            <ac:spMk id="108" creationId="{8315E328-25C4-37C5-A35F-395217506A6E}"/>
          </ac:spMkLst>
        </pc:spChg>
        <pc:spChg chg="mod">
          <ac:chgData name="Khrystyna Yatsyna" userId="e6954dd7-6c9e-43c8-bd42-ff8c4ce5393f" providerId="ADAL" clId="{BBB5A732-C083-4ACD-876F-6FB9A2AAF4AA}" dt="2023-08-18T12:30:37.578" v="694" actId="108"/>
          <ac:spMkLst>
            <pc:docMk/>
            <pc:sldMk cId="3633188925" sldId="3236"/>
            <ac:spMk id="110" creationId="{52C8EF5F-45CB-EC9A-7664-AEC660A6AA1B}"/>
          </ac:spMkLst>
        </pc:spChg>
        <pc:spChg chg="mod">
          <ac:chgData name="Khrystyna Yatsyna" userId="e6954dd7-6c9e-43c8-bd42-ff8c4ce5393f" providerId="ADAL" clId="{BBB5A732-C083-4ACD-876F-6FB9A2AAF4AA}" dt="2023-08-18T12:30:38.787" v="695" actId="108"/>
          <ac:spMkLst>
            <pc:docMk/>
            <pc:sldMk cId="3633188925" sldId="3236"/>
            <ac:spMk id="112" creationId="{0495B12F-704D-1131-414A-BA4086EC496D}"/>
          </ac:spMkLst>
        </pc:spChg>
        <pc:spChg chg="mod">
          <ac:chgData name="Khrystyna Yatsyna" userId="e6954dd7-6c9e-43c8-bd42-ff8c4ce5393f" providerId="ADAL" clId="{BBB5A732-C083-4ACD-876F-6FB9A2AAF4AA}" dt="2023-07-26T11:35:17.549" v="24" actId="1076"/>
          <ac:spMkLst>
            <pc:docMk/>
            <pc:sldMk cId="3633188925" sldId="3236"/>
            <ac:spMk id="118" creationId="{DF8C5C39-C90A-29AF-0655-B8AEF2E80C71}"/>
          </ac:spMkLst>
        </pc:spChg>
        <pc:grpChg chg="add mod">
          <ac:chgData name="Khrystyna Yatsyna" userId="e6954dd7-6c9e-43c8-bd42-ff8c4ce5393f" providerId="ADAL" clId="{BBB5A732-C083-4ACD-876F-6FB9A2AAF4AA}" dt="2023-08-03T13:20:10.038" v="569"/>
          <ac:grpSpMkLst>
            <pc:docMk/>
            <pc:sldMk cId="3633188925" sldId="3236"/>
            <ac:grpSpMk id="13" creationId="{83F3B742-B2B0-D362-A561-1C1CCF337E62}"/>
          </ac:grpSpMkLst>
        </pc:grpChg>
        <pc:grpChg chg="del">
          <ac:chgData name="Khrystyna Yatsyna" userId="e6954dd7-6c9e-43c8-bd42-ff8c4ce5393f" providerId="ADAL" clId="{BBB5A732-C083-4ACD-876F-6FB9A2AAF4AA}" dt="2023-08-03T13:20:09.840" v="568" actId="478"/>
          <ac:grpSpMkLst>
            <pc:docMk/>
            <pc:sldMk cId="3633188925" sldId="3236"/>
            <ac:grpSpMk id="77" creationId="{D5098C3C-866A-58AA-BC28-EF5DE8F2F4AC}"/>
          </ac:grpSpMkLst>
        </pc:grpChg>
        <pc:picChg chg="mod">
          <ac:chgData name="Khrystyna Yatsyna" userId="e6954dd7-6c9e-43c8-bd42-ff8c4ce5393f" providerId="ADAL" clId="{BBB5A732-C083-4ACD-876F-6FB9A2AAF4AA}" dt="2023-08-03T11:33:25.475" v="430" actId="3626"/>
          <ac:picMkLst>
            <pc:docMk/>
            <pc:sldMk cId="3633188925" sldId="3236"/>
            <ac:picMk id="105" creationId="{9F935F61-91AB-71C5-A335-472FFE4202B7}"/>
          </ac:picMkLst>
        </pc:picChg>
        <pc:picChg chg="mod">
          <ac:chgData name="Khrystyna Yatsyna" userId="e6954dd7-6c9e-43c8-bd42-ff8c4ce5393f" providerId="ADAL" clId="{BBB5A732-C083-4ACD-876F-6FB9A2AAF4AA}" dt="2023-08-03T11:33:29.756" v="432" actId="3626"/>
          <ac:picMkLst>
            <pc:docMk/>
            <pc:sldMk cId="3633188925" sldId="3236"/>
            <ac:picMk id="107" creationId="{0BDF3F86-6546-0F68-A47E-FDA78E0534B2}"/>
          </ac:picMkLst>
        </pc:picChg>
        <pc:picChg chg="mod">
          <ac:chgData name="Khrystyna Yatsyna" userId="e6954dd7-6c9e-43c8-bd42-ff8c4ce5393f" providerId="ADAL" clId="{BBB5A732-C083-4ACD-876F-6FB9A2AAF4AA}" dt="2023-08-03T11:33:34.021" v="434" actId="3626"/>
          <ac:picMkLst>
            <pc:docMk/>
            <pc:sldMk cId="3633188925" sldId="3236"/>
            <ac:picMk id="109" creationId="{15421841-676A-22A1-9F21-EDE8577FE234}"/>
          </ac:picMkLst>
        </pc:picChg>
        <pc:picChg chg="mod">
          <ac:chgData name="Khrystyna Yatsyna" userId="e6954dd7-6c9e-43c8-bd42-ff8c4ce5393f" providerId="ADAL" clId="{BBB5A732-C083-4ACD-876F-6FB9A2AAF4AA}" dt="2023-08-03T11:33:38.167" v="436" actId="3626"/>
          <ac:picMkLst>
            <pc:docMk/>
            <pc:sldMk cId="3633188925" sldId="3236"/>
            <ac:picMk id="111" creationId="{913091DD-58C2-B0C1-C0D9-A994C63597C8}"/>
          </ac:picMkLst>
        </pc:picChg>
        <pc:picChg chg="mod">
          <ac:chgData name="Khrystyna Yatsyna" userId="e6954dd7-6c9e-43c8-bd42-ff8c4ce5393f" providerId="ADAL" clId="{BBB5A732-C083-4ACD-876F-6FB9A2AAF4AA}" dt="2023-08-03T11:33:41.331" v="438" actId="3626"/>
          <ac:picMkLst>
            <pc:docMk/>
            <pc:sldMk cId="3633188925" sldId="3236"/>
            <ac:picMk id="113" creationId="{F4C6E4D8-276F-B97C-3DAE-010B88E4A449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1:10.652" v="715" actId="108"/>
        <pc:sldMkLst>
          <pc:docMk/>
          <pc:sldMk cId="969612364" sldId="3238"/>
        </pc:sldMkLst>
        <pc:spChg chg="add mod">
          <ac:chgData name="Khrystyna Yatsyna" userId="e6954dd7-6c9e-43c8-bd42-ff8c4ce5393f" providerId="ADAL" clId="{BBB5A732-C083-4ACD-876F-6FB9A2AAF4AA}" dt="2023-08-03T13:20:24.808" v="578"/>
          <ac:spMkLst>
            <pc:docMk/>
            <pc:sldMk cId="969612364" sldId="3238"/>
            <ac:spMk id="4" creationId="{431930B8-A6F4-9976-4D72-B7426C3F5D30}"/>
          </ac:spMkLst>
        </pc:spChg>
        <pc:spChg chg="mod">
          <ac:chgData name="Khrystyna Yatsyna" userId="e6954dd7-6c9e-43c8-bd42-ff8c4ce5393f" providerId="ADAL" clId="{BBB5A732-C083-4ACD-876F-6FB9A2AAF4AA}" dt="2023-08-03T13:20:24.808" v="578"/>
          <ac:spMkLst>
            <pc:docMk/>
            <pc:sldMk cId="969612364" sldId="3238"/>
            <ac:spMk id="6" creationId="{F6932015-C0AB-57E4-AEBD-819ABF9B04E1}"/>
          </ac:spMkLst>
        </pc:spChg>
        <pc:spChg chg="mod">
          <ac:chgData name="Khrystyna Yatsyna" userId="e6954dd7-6c9e-43c8-bd42-ff8c4ce5393f" providerId="ADAL" clId="{BBB5A732-C083-4ACD-876F-6FB9A2AAF4AA}" dt="2023-08-03T13:20:24.808" v="578"/>
          <ac:spMkLst>
            <pc:docMk/>
            <pc:sldMk cId="969612364" sldId="3238"/>
            <ac:spMk id="7" creationId="{4B904615-9364-E6E9-3FB7-8E71C581D321}"/>
          </ac:spMkLst>
        </pc:spChg>
        <pc:spChg chg="mod">
          <ac:chgData name="Khrystyna Yatsyna" userId="e6954dd7-6c9e-43c8-bd42-ff8c4ce5393f" providerId="ADAL" clId="{BBB5A732-C083-4ACD-876F-6FB9A2AAF4AA}" dt="2023-08-03T13:20:24.808" v="578"/>
          <ac:spMkLst>
            <pc:docMk/>
            <pc:sldMk cId="969612364" sldId="3238"/>
            <ac:spMk id="8" creationId="{A22CD92A-D6D4-895E-8447-6AEB670D7579}"/>
          </ac:spMkLst>
        </pc:spChg>
        <pc:spChg chg="mod">
          <ac:chgData name="Khrystyna Yatsyna" userId="e6954dd7-6c9e-43c8-bd42-ff8c4ce5393f" providerId="ADAL" clId="{BBB5A732-C083-4ACD-876F-6FB9A2AAF4AA}" dt="2023-08-03T13:20:24.808" v="578"/>
          <ac:spMkLst>
            <pc:docMk/>
            <pc:sldMk cId="969612364" sldId="3238"/>
            <ac:spMk id="9" creationId="{39AE062E-B28E-5320-8D48-C951EA52BEC6}"/>
          </ac:spMkLst>
        </pc:spChg>
        <pc:spChg chg="mod">
          <ac:chgData name="Khrystyna Yatsyna" userId="e6954dd7-6c9e-43c8-bd42-ff8c4ce5393f" providerId="ADAL" clId="{BBB5A732-C083-4ACD-876F-6FB9A2AAF4AA}" dt="2023-08-03T13:20:24.808" v="578"/>
          <ac:spMkLst>
            <pc:docMk/>
            <pc:sldMk cId="969612364" sldId="3238"/>
            <ac:spMk id="10" creationId="{EEC28C35-DECE-52CC-773C-63D9B6A08E38}"/>
          </ac:spMkLst>
        </pc:spChg>
        <pc:spChg chg="mod">
          <ac:chgData name="Khrystyna Yatsyna" userId="e6954dd7-6c9e-43c8-bd42-ff8c4ce5393f" providerId="ADAL" clId="{BBB5A732-C083-4ACD-876F-6FB9A2AAF4AA}" dt="2023-08-03T13:20:24.808" v="578"/>
          <ac:spMkLst>
            <pc:docMk/>
            <pc:sldMk cId="969612364" sldId="3238"/>
            <ac:spMk id="11" creationId="{B46AD7C7-9BB1-3F2A-3166-E2DDA7F52783}"/>
          </ac:spMkLst>
        </pc:spChg>
        <pc:spChg chg="mod">
          <ac:chgData name="Khrystyna Yatsyna" userId="e6954dd7-6c9e-43c8-bd42-ff8c4ce5393f" providerId="ADAL" clId="{BBB5A732-C083-4ACD-876F-6FB9A2AAF4AA}" dt="2023-08-18T12:31:10.652" v="715" actId="108"/>
          <ac:spMkLst>
            <pc:docMk/>
            <pc:sldMk cId="969612364" sldId="3238"/>
            <ac:spMk id="52" creationId="{6B1987D8-E99F-7FBF-EA0B-3E98EAEAA211}"/>
          </ac:spMkLst>
        </pc:spChg>
        <pc:spChg chg="del mod">
          <ac:chgData name="Khrystyna Yatsyna" userId="e6954dd7-6c9e-43c8-bd42-ff8c4ce5393f" providerId="ADAL" clId="{BBB5A732-C083-4ACD-876F-6FB9A2AAF4AA}" dt="2023-08-03T13:20:24.533" v="577" actId="478"/>
          <ac:spMkLst>
            <pc:docMk/>
            <pc:sldMk cId="969612364" sldId="3238"/>
            <ac:spMk id="54" creationId="{5C88B20E-9540-2209-4D8D-C73CEC24EE79}"/>
          </ac:spMkLst>
        </pc:spChg>
        <pc:spChg chg="mod">
          <ac:chgData name="Khrystyna Yatsyna" userId="e6954dd7-6c9e-43c8-bd42-ff8c4ce5393f" providerId="ADAL" clId="{BBB5A732-C083-4ACD-876F-6FB9A2AAF4AA}" dt="2023-08-18T12:31:04.734" v="711" actId="108"/>
          <ac:spMkLst>
            <pc:docMk/>
            <pc:sldMk cId="969612364" sldId="3238"/>
            <ac:spMk id="62" creationId="{8E7326F9-8357-2D3C-566B-14A9C7872A6D}"/>
          </ac:spMkLst>
        </pc:spChg>
        <pc:spChg chg="mod">
          <ac:chgData name="Khrystyna Yatsyna" userId="e6954dd7-6c9e-43c8-bd42-ff8c4ce5393f" providerId="ADAL" clId="{BBB5A732-C083-4ACD-876F-6FB9A2AAF4AA}" dt="2023-08-18T12:31:05.501" v="712" actId="108"/>
          <ac:spMkLst>
            <pc:docMk/>
            <pc:sldMk cId="969612364" sldId="3238"/>
            <ac:spMk id="512" creationId="{D1994A5E-5165-9534-28A3-AADAD08691F4}"/>
          </ac:spMkLst>
        </pc:spChg>
        <pc:spChg chg="mod">
          <ac:chgData name="Khrystyna Yatsyna" userId="e6954dd7-6c9e-43c8-bd42-ff8c4ce5393f" providerId="ADAL" clId="{BBB5A732-C083-4ACD-876F-6FB9A2AAF4AA}" dt="2023-08-18T12:31:06.556" v="713" actId="108"/>
          <ac:spMkLst>
            <pc:docMk/>
            <pc:sldMk cId="969612364" sldId="3238"/>
            <ac:spMk id="514" creationId="{545D3BA1-AAB0-590E-66E7-DFB684CEB805}"/>
          </ac:spMkLst>
        </pc:spChg>
        <pc:spChg chg="mod">
          <ac:chgData name="Khrystyna Yatsyna" userId="e6954dd7-6c9e-43c8-bd42-ff8c4ce5393f" providerId="ADAL" clId="{BBB5A732-C083-4ACD-876F-6FB9A2AAF4AA}" dt="2023-08-18T12:31:07.564" v="714" actId="108"/>
          <ac:spMkLst>
            <pc:docMk/>
            <pc:sldMk cId="969612364" sldId="3238"/>
            <ac:spMk id="516" creationId="{1D9CAA9D-4DE2-92C2-01FB-28BCA781297C}"/>
          </ac:spMkLst>
        </pc:spChg>
        <pc:spChg chg="mod">
          <ac:chgData name="Khrystyna Yatsyna" userId="e6954dd7-6c9e-43c8-bd42-ff8c4ce5393f" providerId="ADAL" clId="{BBB5A732-C083-4ACD-876F-6FB9A2AAF4AA}" dt="2023-08-02T11:23:27.081" v="298" actId="404"/>
          <ac:spMkLst>
            <pc:docMk/>
            <pc:sldMk cId="969612364" sldId="3238"/>
            <ac:spMk id="563" creationId="{2343D867-3BBD-4BD7-EBE4-C1F112F0B795}"/>
          </ac:spMkLst>
        </pc:spChg>
        <pc:grpChg chg="add mod">
          <ac:chgData name="Khrystyna Yatsyna" userId="e6954dd7-6c9e-43c8-bd42-ff8c4ce5393f" providerId="ADAL" clId="{BBB5A732-C083-4ACD-876F-6FB9A2AAF4AA}" dt="2023-08-03T13:20:24.808" v="578"/>
          <ac:grpSpMkLst>
            <pc:docMk/>
            <pc:sldMk cId="969612364" sldId="3238"/>
            <ac:grpSpMk id="5" creationId="{486F922E-DA24-7855-AC36-C934AA6D7537}"/>
          </ac:grpSpMkLst>
        </pc:grpChg>
        <pc:grpChg chg="del">
          <ac:chgData name="Khrystyna Yatsyna" userId="e6954dd7-6c9e-43c8-bd42-ff8c4ce5393f" providerId="ADAL" clId="{BBB5A732-C083-4ACD-876F-6FB9A2AAF4AA}" dt="2023-08-03T13:20:24.533" v="577" actId="478"/>
          <ac:grpSpMkLst>
            <pc:docMk/>
            <pc:sldMk cId="969612364" sldId="3238"/>
            <ac:grpSpMk id="55" creationId="{7AD158EF-04FF-F294-B8DB-AF87765EFA0F}"/>
          </ac:grpSpMkLst>
        </pc:grpChg>
        <pc:picChg chg="mod">
          <ac:chgData name="Khrystyna Yatsyna" userId="e6954dd7-6c9e-43c8-bd42-ff8c4ce5393f" providerId="ADAL" clId="{BBB5A732-C083-4ACD-876F-6FB9A2AAF4AA}" dt="2023-08-03T11:35:21.894" v="481" actId="3626"/>
          <ac:picMkLst>
            <pc:docMk/>
            <pc:sldMk cId="969612364" sldId="3238"/>
            <ac:picMk id="53" creationId="{2513147E-831D-501C-C584-1917A62092BF}"/>
          </ac:picMkLst>
        </pc:picChg>
        <pc:picChg chg="mod">
          <ac:chgData name="Khrystyna Yatsyna" userId="e6954dd7-6c9e-43c8-bd42-ff8c4ce5393f" providerId="ADAL" clId="{BBB5A732-C083-4ACD-876F-6FB9A2AAF4AA}" dt="2023-08-03T11:35:15.588" v="478" actId="3626"/>
          <ac:picMkLst>
            <pc:docMk/>
            <pc:sldMk cId="969612364" sldId="3238"/>
            <ac:picMk id="63" creationId="{155429FD-C841-CCD4-5B0B-B480809EC2DB}"/>
          </ac:picMkLst>
        </pc:picChg>
        <pc:picChg chg="mod">
          <ac:chgData name="Khrystyna Yatsyna" userId="e6954dd7-6c9e-43c8-bd42-ff8c4ce5393f" providerId="ADAL" clId="{BBB5A732-C083-4ACD-876F-6FB9A2AAF4AA}" dt="2023-08-03T11:35:11.581" v="476" actId="3626"/>
          <ac:picMkLst>
            <pc:docMk/>
            <pc:sldMk cId="969612364" sldId="3238"/>
            <ac:picMk id="513" creationId="{46D0149E-578A-9B50-21AC-CC4A1F9598B2}"/>
          </ac:picMkLst>
        </pc:picChg>
        <pc:picChg chg="mod">
          <ac:chgData name="Khrystyna Yatsyna" userId="e6954dd7-6c9e-43c8-bd42-ff8c4ce5393f" providerId="ADAL" clId="{BBB5A732-C083-4ACD-876F-6FB9A2AAF4AA}" dt="2023-08-03T11:35:07.311" v="474" actId="3626"/>
          <ac:picMkLst>
            <pc:docMk/>
            <pc:sldMk cId="969612364" sldId="3238"/>
            <ac:picMk id="515" creationId="{222CED08-B3FD-BFF6-7E08-346DA245ABF8}"/>
          </ac:picMkLst>
        </pc:picChg>
        <pc:picChg chg="mod">
          <ac:chgData name="Khrystyna Yatsyna" userId="e6954dd7-6c9e-43c8-bd42-ff8c4ce5393f" providerId="ADAL" clId="{BBB5A732-C083-4ACD-876F-6FB9A2AAF4AA}" dt="2023-08-03T11:35:02.633" v="472" actId="3626"/>
          <ac:picMkLst>
            <pc:docMk/>
            <pc:sldMk cId="969612364" sldId="3238"/>
            <ac:picMk id="517" creationId="{62AD8C90-8149-A970-52C4-7F795B212A14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4:15.195" v="785"/>
        <pc:sldMkLst>
          <pc:docMk/>
          <pc:sldMk cId="307146559" sldId="3255"/>
        </pc:sldMkLst>
        <pc:spChg chg="del mod">
          <ac:chgData name="Khrystyna Yatsyna" userId="e6954dd7-6c9e-43c8-bd42-ff8c4ce5393f" providerId="ADAL" clId="{BBB5A732-C083-4ACD-876F-6FB9A2AAF4AA}" dt="2023-08-18T12:34:14.884" v="784" actId="478"/>
          <ac:spMkLst>
            <pc:docMk/>
            <pc:sldMk cId="307146559" sldId="3255"/>
            <ac:spMk id="4" creationId="{DF65B8F7-DAC1-AE62-DB02-B7DBC13FCF5C}"/>
          </ac:spMkLst>
        </pc:spChg>
        <pc:spChg chg="del mod">
          <ac:chgData name="Khrystyna Yatsyna" userId="e6954dd7-6c9e-43c8-bd42-ff8c4ce5393f" providerId="ADAL" clId="{BBB5A732-C083-4ACD-876F-6FB9A2AAF4AA}" dt="2023-08-18T12:34:14.884" v="784" actId="478"/>
          <ac:spMkLst>
            <pc:docMk/>
            <pc:sldMk cId="307146559" sldId="3255"/>
            <ac:spMk id="7" creationId="{EB73945D-0C95-4329-2965-2E498B01812C}"/>
          </ac:spMkLst>
        </pc:spChg>
        <pc:spChg chg="add mod">
          <ac:chgData name="Khrystyna Yatsyna" userId="e6954dd7-6c9e-43c8-bd42-ff8c4ce5393f" providerId="ADAL" clId="{BBB5A732-C083-4ACD-876F-6FB9A2AAF4AA}" dt="2023-08-18T12:34:15.195" v="785"/>
          <ac:spMkLst>
            <pc:docMk/>
            <pc:sldMk cId="307146559" sldId="3255"/>
            <ac:spMk id="9" creationId="{5DE59579-090A-E4DE-8CBF-76402BD376DA}"/>
          </ac:spMkLst>
        </pc:spChg>
        <pc:spChg chg="add mod">
          <ac:chgData name="Khrystyna Yatsyna" userId="e6954dd7-6c9e-43c8-bd42-ff8c4ce5393f" providerId="ADAL" clId="{BBB5A732-C083-4ACD-876F-6FB9A2AAF4AA}" dt="2023-08-18T12:34:15.195" v="785"/>
          <ac:spMkLst>
            <pc:docMk/>
            <pc:sldMk cId="307146559" sldId="3255"/>
            <ac:spMk id="12" creationId="{6FAA1D10-716F-7EED-5608-5B7166136A58}"/>
          </ac:spMkLst>
        </pc:spChg>
        <pc:spChg chg="add mod">
          <ac:chgData name="Khrystyna Yatsyna" userId="e6954dd7-6c9e-43c8-bd42-ff8c4ce5393f" providerId="ADAL" clId="{BBB5A732-C083-4ACD-876F-6FB9A2AAF4AA}" dt="2023-08-18T12:34:15.195" v="785"/>
          <ac:spMkLst>
            <pc:docMk/>
            <pc:sldMk cId="307146559" sldId="3255"/>
            <ac:spMk id="14" creationId="{2F02EDF9-0D5F-69F0-46E6-92209F9EEF29}"/>
          </ac:spMkLst>
        </pc:spChg>
        <pc:spChg chg="add mod">
          <ac:chgData name="Khrystyna Yatsyna" userId="e6954dd7-6c9e-43c8-bd42-ff8c4ce5393f" providerId="ADAL" clId="{BBB5A732-C083-4ACD-876F-6FB9A2AAF4AA}" dt="2023-08-18T12:34:15.195" v="785"/>
          <ac:spMkLst>
            <pc:docMk/>
            <pc:sldMk cId="307146559" sldId="3255"/>
            <ac:spMk id="16" creationId="{B3A33DAE-78A1-08B3-FE02-570964517115}"/>
          </ac:spMkLst>
        </pc:spChg>
        <pc:spChg chg="add mod">
          <ac:chgData name="Khrystyna Yatsyna" userId="e6954dd7-6c9e-43c8-bd42-ff8c4ce5393f" providerId="ADAL" clId="{BBB5A732-C083-4ACD-876F-6FB9A2AAF4AA}" dt="2023-08-18T12:34:15.195" v="785"/>
          <ac:spMkLst>
            <pc:docMk/>
            <pc:sldMk cId="307146559" sldId="3255"/>
            <ac:spMk id="18" creationId="{4006D704-98D6-6A21-2C81-4BED4A1AC2A8}"/>
          </ac:spMkLst>
        </pc:spChg>
        <pc:spChg chg="add mod">
          <ac:chgData name="Khrystyna Yatsyna" userId="e6954dd7-6c9e-43c8-bd42-ff8c4ce5393f" providerId="ADAL" clId="{BBB5A732-C083-4ACD-876F-6FB9A2AAF4AA}" dt="2023-08-18T12:34:15.195" v="785"/>
          <ac:spMkLst>
            <pc:docMk/>
            <pc:sldMk cId="307146559" sldId="3255"/>
            <ac:spMk id="20" creationId="{F4F4444B-5DD9-9FCC-174C-34BD816D0AB3}"/>
          </ac:spMkLst>
        </pc:spChg>
        <pc:spChg chg="add mod">
          <ac:chgData name="Khrystyna Yatsyna" userId="e6954dd7-6c9e-43c8-bd42-ff8c4ce5393f" providerId="ADAL" clId="{BBB5A732-C083-4ACD-876F-6FB9A2AAF4AA}" dt="2023-08-18T12:34:15.195" v="785"/>
          <ac:spMkLst>
            <pc:docMk/>
            <pc:sldMk cId="307146559" sldId="3255"/>
            <ac:spMk id="22" creationId="{2E193F12-7BFE-CE3A-2B52-8B13B0DEBC6C}"/>
          </ac:spMkLst>
        </pc:spChg>
        <pc:spChg chg="mod">
          <ac:chgData name="Khrystyna Yatsyna" userId="e6954dd7-6c9e-43c8-bd42-ff8c4ce5393f" providerId="ADAL" clId="{BBB5A732-C083-4ACD-876F-6FB9A2AAF4AA}" dt="2023-08-18T12:34:15.195" v="785"/>
          <ac:spMkLst>
            <pc:docMk/>
            <pc:sldMk cId="307146559" sldId="3255"/>
            <ac:spMk id="26" creationId="{914D8F00-1554-82DF-56AE-830922B0CDE8}"/>
          </ac:spMkLst>
        </pc:spChg>
        <pc:spChg chg="mod">
          <ac:chgData name="Khrystyna Yatsyna" userId="e6954dd7-6c9e-43c8-bd42-ff8c4ce5393f" providerId="ADAL" clId="{BBB5A732-C083-4ACD-876F-6FB9A2AAF4AA}" dt="2023-08-18T12:34:15.195" v="785"/>
          <ac:spMkLst>
            <pc:docMk/>
            <pc:sldMk cId="307146559" sldId="3255"/>
            <ac:spMk id="28" creationId="{54C1877B-07DD-4A03-101F-81FA1832CE26}"/>
          </ac:spMkLst>
        </pc:spChg>
        <pc:spChg chg="mod">
          <ac:chgData name="Khrystyna Yatsyna" userId="e6954dd7-6c9e-43c8-bd42-ff8c4ce5393f" providerId="ADAL" clId="{BBB5A732-C083-4ACD-876F-6FB9A2AAF4AA}" dt="2023-08-18T12:34:15.195" v="785"/>
          <ac:spMkLst>
            <pc:docMk/>
            <pc:sldMk cId="307146559" sldId="3255"/>
            <ac:spMk id="29" creationId="{25E10BB6-5CB0-B967-57B3-8DF9E96121E6}"/>
          </ac:spMkLst>
        </pc:spChg>
        <pc:spChg chg="del mod">
          <ac:chgData name="Khrystyna Yatsyna" userId="e6954dd7-6c9e-43c8-bd42-ff8c4ce5393f" providerId="ADAL" clId="{BBB5A732-C083-4ACD-876F-6FB9A2AAF4AA}" dt="2023-08-18T12:34:14.884" v="784" actId="478"/>
          <ac:spMkLst>
            <pc:docMk/>
            <pc:sldMk cId="307146559" sldId="3255"/>
            <ac:spMk id="30" creationId="{FC432224-F639-27D4-BAE1-BB2BACAFFC92}"/>
          </ac:spMkLst>
        </pc:spChg>
        <pc:spChg chg="del mod">
          <ac:chgData name="Khrystyna Yatsyna" userId="e6954dd7-6c9e-43c8-bd42-ff8c4ce5393f" providerId="ADAL" clId="{BBB5A732-C083-4ACD-876F-6FB9A2AAF4AA}" dt="2023-08-18T12:34:14.884" v="784" actId="478"/>
          <ac:spMkLst>
            <pc:docMk/>
            <pc:sldMk cId="307146559" sldId="3255"/>
            <ac:spMk id="32" creationId="{78BDD43E-26FD-6B4F-6DEF-9E92D01FE320}"/>
          </ac:spMkLst>
        </pc:spChg>
        <pc:spChg chg="mod">
          <ac:chgData name="Khrystyna Yatsyna" userId="e6954dd7-6c9e-43c8-bd42-ff8c4ce5393f" providerId="ADAL" clId="{BBB5A732-C083-4ACD-876F-6FB9A2AAF4AA}" dt="2023-08-18T12:34:15.195" v="785"/>
          <ac:spMkLst>
            <pc:docMk/>
            <pc:sldMk cId="307146559" sldId="3255"/>
            <ac:spMk id="34" creationId="{76176EDF-3F5B-E8DF-FC04-4DD1D9CF134E}"/>
          </ac:spMkLst>
        </pc:spChg>
        <pc:spChg chg="mod">
          <ac:chgData name="Khrystyna Yatsyna" userId="e6954dd7-6c9e-43c8-bd42-ff8c4ce5393f" providerId="ADAL" clId="{BBB5A732-C083-4ACD-876F-6FB9A2AAF4AA}" dt="2023-08-18T12:34:15.195" v="785"/>
          <ac:spMkLst>
            <pc:docMk/>
            <pc:sldMk cId="307146559" sldId="3255"/>
            <ac:spMk id="35" creationId="{4A040A74-E16B-6D23-5EA1-E7593ED08E74}"/>
          </ac:spMkLst>
        </pc:spChg>
        <pc:spChg chg="mod">
          <ac:chgData name="Khrystyna Yatsyna" userId="e6954dd7-6c9e-43c8-bd42-ff8c4ce5393f" providerId="ADAL" clId="{BBB5A732-C083-4ACD-876F-6FB9A2AAF4AA}" dt="2023-08-18T12:34:15.195" v="785"/>
          <ac:spMkLst>
            <pc:docMk/>
            <pc:sldMk cId="307146559" sldId="3255"/>
            <ac:spMk id="36" creationId="{80F882F2-2B3D-DFCB-D8B9-0F32CDF0FB85}"/>
          </ac:spMkLst>
        </pc:spChg>
        <pc:spChg chg="del mod">
          <ac:chgData name="Khrystyna Yatsyna" userId="e6954dd7-6c9e-43c8-bd42-ff8c4ce5393f" providerId="ADAL" clId="{BBB5A732-C083-4ACD-876F-6FB9A2AAF4AA}" dt="2023-08-18T12:34:14.884" v="784" actId="478"/>
          <ac:spMkLst>
            <pc:docMk/>
            <pc:sldMk cId="307146559" sldId="3255"/>
            <ac:spMk id="39" creationId="{BEA9F8E5-779A-C39E-11B4-FE5CAF4CFD3C}"/>
          </ac:spMkLst>
        </pc:spChg>
        <pc:spChg chg="del">
          <ac:chgData name="Khrystyna Yatsyna" userId="e6954dd7-6c9e-43c8-bd42-ff8c4ce5393f" providerId="ADAL" clId="{BBB5A732-C083-4ACD-876F-6FB9A2AAF4AA}" dt="2023-08-18T12:34:14.884" v="784" actId="478"/>
          <ac:spMkLst>
            <pc:docMk/>
            <pc:sldMk cId="307146559" sldId="3255"/>
            <ac:spMk id="53" creationId="{99DDEB42-6B29-3D20-03EA-0F77C5D96EBD}"/>
          </ac:spMkLst>
        </pc:spChg>
        <pc:spChg chg="del">
          <ac:chgData name="Khrystyna Yatsyna" userId="e6954dd7-6c9e-43c8-bd42-ff8c4ce5393f" providerId="ADAL" clId="{BBB5A732-C083-4ACD-876F-6FB9A2AAF4AA}" dt="2023-08-18T12:34:14.884" v="784" actId="478"/>
          <ac:spMkLst>
            <pc:docMk/>
            <pc:sldMk cId="307146559" sldId="3255"/>
            <ac:spMk id="55" creationId="{73EF16CA-46C5-8192-1AAF-2AD196E49E4A}"/>
          </ac:spMkLst>
        </pc:spChg>
        <pc:grpChg chg="add mod">
          <ac:chgData name="Khrystyna Yatsyna" userId="e6954dd7-6c9e-43c8-bd42-ff8c4ce5393f" providerId="ADAL" clId="{BBB5A732-C083-4ACD-876F-6FB9A2AAF4AA}" dt="2023-08-18T12:34:15.195" v="785"/>
          <ac:grpSpMkLst>
            <pc:docMk/>
            <pc:sldMk cId="307146559" sldId="3255"/>
            <ac:grpSpMk id="23" creationId="{A2E473B2-A36E-D052-735C-C59D269DFB20}"/>
          </ac:grpSpMkLst>
        </pc:grpChg>
        <pc:grpChg chg="del">
          <ac:chgData name="Khrystyna Yatsyna" userId="e6954dd7-6c9e-43c8-bd42-ff8c4ce5393f" providerId="ADAL" clId="{BBB5A732-C083-4ACD-876F-6FB9A2AAF4AA}" dt="2023-08-18T12:34:14.884" v="784" actId="478"/>
          <ac:grpSpMkLst>
            <pc:docMk/>
            <pc:sldMk cId="307146559" sldId="3255"/>
            <ac:grpSpMk id="57" creationId="{553200FA-DADD-690E-44A4-A7A26CFFD735}"/>
          </ac:grpSpMkLst>
        </pc:grpChg>
        <pc:picChg chg="del">
          <ac:chgData name="Khrystyna Yatsyna" userId="e6954dd7-6c9e-43c8-bd42-ff8c4ce5393f" providerId="ADAL" clId="{BBB5A732-C083-4ACD-876F-6FB9A2AAF4AA}" dt="2023-08-18T12:34:14.884" v="784" actId="478"/>
          <ac:picMkLst>
            <pc:docMk/>
            <pc:sldMk cId="307146559" sldId="3255"/>
            <ac:picMk id="6" creationId="{06F2FC9F-68CE-5C34-151D-63125B8D5B50}"/>
          </ac:picMkLst>
        </pc:picChg>
        <pc:picChg chg="del">
          <ac:chgData name="Khrystyna Yatsyna" userId="e6954dd7-6c9e-43c8-bd42-ff8c4ce5393f" providerId="ADAL" clId="{BBB5A732-C083-4ACD-876F-6FB9A2AAF4AA}" dt="2023-08-18T12:34:14.884" v="784" actId="478"/>
          <ac:picMkLst>
            <pc:docMk/>
            <pc:sldMk cId="307146559" sldId="3255"/>
            <ac:picMk id="8" creationId="{F14F744E-6789-2082-C32B-F8166F8FF833}"/>
          </ac:picMkLst>
        </pc:picChg>
        <pc:picChg chg="mod">
          <ac:chgData name="Khrystyna Yatsyna" userId="e6954dd7-6c9e-43c8-bd42-ff8c4ce5393f" providerId="ADAL" clId="{BBB5A732-C083-4ACD-876F-6FB9A2AAF4AA}" dt="2023-08-08T10:14:49.901" v="615" actId="1038"/>
          <ac:picMkLst>
            <pc:docMk/>
            <pc:sldMk cId="307146559" sldId="3255"/>
            <ac:picMk id="10" creationId="{11CDFCE6-B121-1DF6-8982-BECC3302C61D}"/>
          </ac:picMkLst>
        </pc:picChg>
        <pc:picChg chg="add mod">
          <ac:chgData name="Khrystyna Yatsyna" userId="e6954dd7-6c9e-43c8-bd42-ff8c4ce5393f" providerId="ADAL" clId="{BBB5A732-C083-4ACD-876F-6FB9A2AAF4AA}" dt="2023-08-18T12:34:15.195" v="785"/>
          <ac:picMkLst>
            <pc:docMk/>
            <pc:sldMk cId="307146559" sldId="3255"/>
            <ac:picMk id="11" creationId="{7697C1F6-B9A6-AC1C-83FF-35A55403F682}"/>
          </ac:picMkLst>
        </pc:picChg>
        <pc:picChg chg="add del mod">
          <ac:chgData name="Khrystyna Yatsyna" userId="e6954dd7-6c9e-43c8-bd42-ff8c4ce5393f" providerId="ADAL" clId="{BBB5A732-C083-4ACD-876F-6FB9A2AAF4AA}" dt="2023-08-09T08:53:44.104" v="635" actId="478"/>
          <ac:picMkLst>
            <pc:docMk/>
            <pc:sldMk cId="307146559" sldId="3255"/>
            <ac:picMk id="11" creationId="{805F01AE-9011-A26F-801A-0AA7F3C5128E}"/>
          </ac:picMkLst>
        </pc:picChg>
        <pc:picChg chg="add mod">
          <ac:chgData name="Khrystyna Yatsyna" userId="e6954dd7-6c9e-43c8-bd42-ff8c4ce5393f" providerId="ADAL" clId="{BBB5A732-C083-4ACD-876F-6FB9A2AAF4AA}" dt="2023-08-18T12:34:15.195" v="785"/>
          <ac:picMkLst>
            <pc:docMk/>
            <pc:sldMk cId="307146559" sldId="3255"/>
            <ac:picMk id="13" creationId="{AFAB9E3A-5D11-C27F-2280-33B9380EB1DD}"/>
          </ac:picMkLst>
        </pc:picChg>
        <pc:picChg chg="add mod">
          <ac:chgData name="Khrystyna Yatsyna" userId="e6954dd7-6c9e-43c8-bd42-ff8c4ce5393f" providerId="ADAL" clId="{BBB5A732-C083-4ACD-876F-6FB9A2AAF4AA}" dt="2023-08-18T12:34:15.195" v="785"/>
          <ac:picMkLst>
            <pc:docMk/>
            <pc:sldMk cId="307146559" sldId="3255"/>
            <ac:picMk id="15" creationId="{0C34BB98-B78D-69FF-77CF-E98A77ED0B68}"/>
          </ac:picMkLst>
        </pc:picChg>
        <pc:picChg chg="add mod">
          <ac:chgData name="Khrystyna Yatsyna" userId="e6954dd7-6c9e-43c8-bd42-ff8c4ce5393f" providerId="ADAL" clId="{BBB5A732-C083-4ACD-876F-6FB9A2AAF4AA}" dt="2023-08-18T12:34:15.195" v="785"/>
          <ac:picMkLst>
            <pc:docMk/>
            <pc:sldMk cId="307146559" sldId="3255"/>
            <ac:picMk id="17" creationId="{0C2B7BBD-CB27-FC51-EB0D-A5E99312843C}"/>
          </ac:picMkLst>
        </pc:picChg>
        <pc:picChg chg="add mod">
          <ac:chgData name="Khrystyna Yatsyna" userId="e6954dd7-6c9e-43c8-bd42-ff8c4ce5393f" providerId="ADAL" clId="{BBB5A732-C083-4ACD-876F-6FB9A2AAF4AA}" dt="2023-08-18T12:34:15.195" v="785"/>
          <ac:picMkLst>
            <pc:docMk/>
            <pc:sldMk cId="307146559" sldId="3255"/>
            <ac:picMk id="19" creationId="{A87D791C-AC8B-EAD1-524B-70B4FF1002E4}"/>
          </ac:picMkLst>
        </pc:picChg>
        <pc:picChg chg="add mod">
          <ac:chgData name="Khrystyna Yatsyna" userId="e6954dd7-6c9e-43c8-bd42-ff8c4ce5393f" providerId="ADAL" clId="{BBB5A732-C083-4ACD-876F-6FB9A2AAF4AA}" dt="2023-08-18T12:34:15.195" v="785"/>
          <ac:picMkLst>
            <pc:docMk/>
            <pc:sldMk cId="307146559" sldId="3255"/>
            <ac:picMk id="21" creationId="{CF10B31E-597B-F2C2-EE0B-77EA9ADBCA36}"/>
          </ac:picMkLst>
        </pc:picChg>
        <pc:picChg chg="del">
          <ac:chgData name="Khrystyna Yatsyna" userId="e6954dd7-6c9e-43c8-bd42-ff8c4ce5393f" providerId="ADAL" clId="{BBB5A732-C083-4ACD-876F-6FB9A2AAF4AA}" dt="2023-08-18T12:34:14.884" v="784" actId="478"/>
          <ac:picMkLst>
            <pc:docMk/>
            <pc:sldMk cId="307146559" sldId="3255"/>
            <ac:picMk id="31" creationId="{BE797519-71F9-7C6A-D14F-1B552451910E}"/>
          </ac:picMkLst>
        </pc:picChg>
        <pc:picChg chg="del">
          <ac:chgData name="Khrystyna Yatsyna" userId="e6954dd7-6c9e-43c8-bd42-ff8c4ce5393f" providerId="ADAL" clId="{BBB5A732-C083-4ACD-876F-6FB9A2AAF4AA}" dt="2023-08-18T12:34:14.884" v="784" actId="478"/>
          <ac:picMkLst>
            <pc:docMk/>
            <pc:sldMk cId="307146559" sldId="3255"/>
            <ac:picMk id="33" creationId="{416135A2-CBA6-D734-D7BA-2A8F4B51BBC5}"/>
          </ac:picMkLst>
        </pc:picChg>
        <pc:picChg chg="del">
          <ac:chgData name="Khrystyna Yatsyna" userId="e6954dd7-6c9e-43c8-bd42-ff8c4ce5393f" providerId="ADAL" clId="{BBB5A732-C083-4ACD-876F-6FB9A2AAF4AA}" dt="2023-08-18T12:34:14.884" v="784" actId="478"/>
          <ac:picMkLst>
            <pc:docMk/>
            <pc:sldMk cId="307146559" sldId="3255"/>
            <ac:picMk id="40" creationId="{D6B57829-5B4D-B4F8-AC6B-BF8A0DF773AC}"/>
          </ac:picMkLst>
        </pc:picChg>
        <pc:picChg chg="del">
          <ac:chgData name="Khrystyna Yatsyna" userId="e6954dd7-6c9e-43c8-bd42-ff8c4ce5393f" providerId="ADAL" clId="{BBB5A732-C083-4ACD-876F-6FB9A2AAF4AA}" dt="2023-08-18T12:34:14.884" v="784" actId="478"/>
          <ac:picMkLst>
            <pc:docMk/>
            <pc:sldMk cId="307146559" sldId="3255"/>
            <ac:picMk id="54" creationId="{AE4EDCBB-6F32-D744-7AA3-CA8892C929BD}"/>
          </ac:picMkLst>
        </pc:picChg>
        <pc:picChg chg="mod">
          <ac:chgData name="Khrystyna Yatsyna" userId="e6954dd7-6c9e-43c8-bd42-ff8c4ce5393f" providerId="ADAL" clId="{BBB5A732-C083-4ACD-876F-6FB9A2AAF4AA}" dt="2023-08-08T10:14:09.857" v="608" actId="1076"/>
          <ac:picMkLst>
            <pc:docMk/>
            <pc:sldMk cId="307146559" sldId="3255"/>
            <ac:picMk id="65" creationId="{7CBAEF6D-DD17-B54D-C1F1-9F426393149E}"/>
          </ac:picMkLst>
        </pc:picChg>
        <pc:picChg chg="mod">
          <ac:chgData name="Khrystyna Yatsyna" userId="e6954dd7-6c9e-43c8-bd42-ff8c4ce5393f" providerId="ADAL" clId="{BBB5A732-C083-4ACD-876F-6FB9A2AAF4AA}" dt="2023-08-09T08:54:16.444" v="645" actId="1037"/>
          <ac:picMkLst>
            <pc:docMk/>
            <pc:sldMk cId="307146559" sldId="3255"/>
            <ac:picMk id="493" creationId="{65E1F685-D8CE-7E1A-7DFA-31A5050CC6AB}"/>
          </ac:picMkLst>
        </pc:picChg>
        <pc:picChg chg="mod">
          <ac:chgData name="Khrystyna Yatsyna" userId="e6954dd7-6c9e-43c8-bd42-ff8c4ce5393f" providerId="ADAL" clId="{BBB5A732-C083-4ACD-876F-6FB9A2AAF4AA}" dt="2023-08-09T08:54:06.962" v="640" actId="1076"/>
          <ac:picMkLst>
            <pc:docMk/>
            <pc:sldMk cId="307146559" sldId="3255"/>
            <ac:picMk id="500" creationId="{D165F7C3-47BC-D707-8BE9-992566F3EFBF}"/>
          </ac:picMkLst>
        </pc:picChg>
        <pc:picChg chg="mod">
          <ac:chgData name="Khrystyna Yatsyna" userId="e6954dd7-6c9e-43c8-bd42-ff8c4ce5393f" providerId="ADAL" clId="{BBB5A732-C083-4ACD-876F-6FB9A2AAF4AA}" dt="2023-08-08T10:15:02.903" v="617" actId="1076"/>
          <ac:picMkLst>
            <pc:docMk/>
            <pc:sldMk cId="307146559" sldId="3255"/>
            <ac:picMk id="501" creationId="{A321C521-93B8-07E8-6441-4B2A833FC83E}"/>
          </ac:picMkLst>
        </pc:picChg>
        <pc:picChg chg="mod">
          <ac:chgData name="Khrystyna Yatsyna" userId="e6954dd7-6c9e-43c8-bd42-ff8c4ce5393f" providerId="ADAL" clId="{BBB5A732-C083-4ACD-876F-6FB9A2AAF4AA}" dt="2023-08-09T08:54:29.822" v="646" actId="1076"/>
          <ac:picMkLst>
            <pc:docMk/>
            <pc:sldMk cId="307146559" sldId="3255"/>
            <ac:picMk id="509" creationId="{7B11F4B1-3778-F6A9-D34A-9AF0E87EA228}"/>
          </ac:picMkLst>
        </pc:picChg>
        <pc:picChg chg="mod">
          <ac:chgData name="Khrystyna Yatsyna" userId="e6954dd7-6c9e-43c8-bd42-ff8c4ce5393f" providerId="ADAL" clId="{BBB5A732-C083-4ACD-876F-6FB9A2AAF4AA}" dt="2023-08-08T10:14:46.449" v="614" actId="1076"/>
          <ac:picMkLst>
            <pc:docMk/>
            <pc:sldMk cId="307146559" sldId="3255"/>
            <ac:picMk id="510" creationId="{E13CE031-9E08-8C88-39C0-712E9DA5CD79}"/>
          </ac:picMkLst>
        </pc:picChg>
      </pc:sldChg>
      <pc:sldChg chg="modSp mod">
        <pc:chgData name="Khrystyna Yatsyna" userId="e6954dd7-6c9e-43c8-bd42-ff8c4ce5393f" providerId="ADAL" clId="{BBB5A732-C083-4ACD-876F-6FB9A2AAF4AA}" dt="2023-08-18T12:29:55.508" v="669" actId="108"/>
        <pc:sldMkLst>
          <pc:docMk/>
          <pc:sldMk cId="192629399" sldId="3256"/>
        </pc:sldMkLst>
        <pc:spChg chg="mod">
          <ac:chgData name="Khrystyna Yatsyna" userId="e6954dd7-6c9e-43c8-bd42-ff8c4ce5393f" providerId="ADAL" clId="{BBB5A732-C083-4ACD-876F-6FB9A2AAF4AA}" dt="2023-08-02T11:18:38.223" v="280" actId="1076"/>
          <ac:spMkLst>
            <pc:docMk/>
            <pc:sldMk cId="192629399" sldId="3256"/>
            <ac:spMk id="8" creationId="{7AEB7EB6-CCFD-AD4A-1DC8-B8DBFA1AEC8D}"/>
          </ac:spMkLst>
        </pc:spChg>
        <pc:spChg chg="mod">
          <ac:chgData name="Khrystyna Yatsyna" userId="e6954dd7-6c9e-43c8-bd42-ff8c4ce5393f" providerId="ADAL" clId="{BBB5A732-C083-4ACD-876F-6FB9A2AAF4AA}" dt="2023-08-18T12:29:49.771" v="664" actId="108"/>
          <ac:spMkLst>
            <pc:docMk/>
            <pc:sldMk cId="192629399" sldId="3256"/>
            <ac:spMk id="517" creationId="{EE03B6BB-6C4D-38BA-3268-823063260D6E}"/>
          </ac:spMkLst>
        </pc:spChg>
        <pc:spChg chg="mod">
          <ac:chgData name="Khrystyna Yatsyna" userId="e6954dd7-6c9e-43c8-bd42-ff8c4ce5393f" providerId="ADAL" clId="{BBB5A732-C083-4ACD-876F-6FB9A2AAF4AA}" dt="2023-08-18T12:29:50.822" v="665" actId="108"/>
          <ac:spMkLst>
            <pc:docMk/>
            <pc:sldMk cId="192629399" sldId="3256"/>
            <ac:spMk id="519" creationId="{23CEF011-95D8-8B2D-E4F3-2D97D53B670D}"/>
          </ac:spMkLst>
        </pc:spChg>
        <pc:spChg chg="mod">
          <ac:chgData name="Khrystyna Yatsyna" userId="e6954dd7-6c9e-43c8-bd42-ff8c4ce5393f" providerId="ADAL" clId="{BBB5A732-C083-4ACD-876F-6FB9A2AAF4AA}" dt="2023-08-18T12:29:51.692" v="666" actId="108"/>
          <ac:spMkLst>
            <pc:docMk/>
            <pc:sldMk cId="192629399" sldId="3256"/>
            <ac:spMk id="521" creationId="{E79E2585-F85E-25E8-3F06-20453457B84C}"/>
          </ac:spMkLst>
        </pc:spChg>
        <pc:spChg chg="mod">
          <ac:chgData name="Khrystyna Yatsyna" userId="e6954dd7-6c9e-43c8-bd42-ff8c4ce5393f" providerId="ADAL" clId="{BBB5A732-C083-4ACD-876F-6FB9A2AAF4AA}" dt="2023-08-18T12:29:52.868" v="667" actId="108"/>
          <ac:spMkLst>
            <pc:docMk/>
            <pc:sldMk cId="192629399" sldId="3256"/>
            <ac:spMk id="523" creationId="{280AABE3-1ABD-695C-B0C0-7FF3ABCBB898}"/>
          </ac:spMkLst>
        </pc:spChg>
        <pc:spChg chg="mod">
          <ac:chgData name="Khrystyna Yatsyna" userId="e6954dd7-6c9e-43c8-bd42-ff8c4ce5393f" providerId="ADAL" clId="{BBB5A732-C083-4ACD-876F-6FB9A2AAF4AA}" dt="2023-08-18T12:29:54.211" v="668" actId="108"/>
          <ac:spMkLst>
            <pc:docMk/>
            <pc:sldMk cId="192629399" sldId="3256"/>
            <ac:spMk id="525" creationId="{537C7203-C44A-FCE9-B172-07353EEF2DF0}"/>
          </ac:spMkLst>
        </pc:spChg>
        <pc:spChg chg="mod">
          <ac:chgData name="Khrystyna Yatsyna" userId="e6954dd7-6c9e-43c8-bd42-ff8c4ce5393f" providerId="ADAL" clId="{BBB5A732-C083-4ACD-876F-6FB9A2AAF4AA}" dt="2023-08-18T12:29:55.508" v="669" actId="108"/>
          <ac:spMkLst>
            <pc:docMk/>
            <pc:sldMk cId="192629399" sldId="3256"/>
            <ac:spMk id="527" creationId="{B58202C3-FEE3-AABA-FFAE-4F549A055585}"/>
          </ac:spMkLst>
        </pc:spChg>
        <pc:picChg chg="mod">
          <ac:chgData name="Khrystyna Yatsyna" userId="e6954dd7-6c9e-43c8-bd42-ff8c4ce5393f" providerId="ADAL" clId="{BBB5A732-C083-4ACD-876F-6FB9A2AAF4AA}" dt="2023-08-03T11:30:49.237" v="370" actId="3626"/>
          <ac:picMkLst>
            <pc:docMk/>
            <pc:sldMk cId="192629399" sldId="3256"/>
            <ac:picMk id="518" creationId="{3A9BF5C3-C451-90CF-787D-183D275B9F6F}"/>
          </ac:picMkLst>
        </pc:picChg>
        <pc:picChg chg="mod">
          <ac:chgData name="Khrystyna Yatsyna" userId="e6954dd7-6c9e-43c8-bd42-ff8c4ce5393f" providerId="ADAL" clId="{BBB5A732-C083-4ACD-876F-6FB9A2AAF4AA}" dt="2023-08-03T11:30:53.276" v="372" actId="3626"/>
          <ac:picMkLst>
            <pc:docMk/>
            <pc:sldMk cId="192629399" sldId="3256"/>
            <ac:picMk id="520" creationId="{C55C0E4F-9A4B-0352-30F8-030AE65AA68E}"/>
          </ac:picMkLst>
        </pc:picChg>
        <pc:picChg chg="mod">
          <ac:chgData name="Khrystyna Yatsyna" userId="e6954dd7-6c9e-43c8-bd42-ff8c4ce5393f" providerId="ADAL" clId="{BBB5A732-C083-4ACD-876F-6FB9A2AAF4AA}" dt="2023-08-03T11:30:56.653" v="374" actId="3626"/>
          <ac:picMkLst>
            <pc:docMk/>
            <pc:sldMk cId="192629399" sldId="3256"/>
            <ac:picMk id="522" creationId="{EC9FC017-7A68-2520-E76D-DA5F9B50E8D9}"/>
          </ac:picMkLst>
        </pc:picChg>
        <pc:picChg chg="mod">
          <ac:chgData name="Khrystyna Yatsyna" userId="e6954dd7-6c9e-43c8-bd42-ff8c4ce5393f" providerId="ADAL" clId="{BBB5A732-C083-4ACD-876F-6FB9A2AAF4AA}" dt="2023-08-03T11:31:00.712" v="376" actId="3626"/>
          <ac:picMkLst>
            <pc:docMk/>
            <pc:sldMk cId="192629399" sldId="3256"/>
            <ac:picMk id="524" creationId="{E759B115-9A9A-1791-FFD1-CF766A32CC72}"/>
          </ac:picMkLst>
        </pc:picChg>
        <pc:picChg chg="mod">
          <ac:chgData name="Khrystyna Yatsyna" userId="e6954dd7-6c9e-43c8-bd42-ff8c4ce5393f" providerId="ADAL" clId="{BBB5A732-C083-4ACD-876F-6FB9A2AAF4AA}" dt="2023-08-03T11:31:04.851" v="378" actId="3626"/>
          <ac:picMkLst>
            <pc:docMk/>
            <pc:sldMk cId="192629399" sldId="3256"/>
            <ac:picMk id="526" creationId="{F99ADC86-5E06-5D32-F3F1-6D159F80143F}"/>
          </ac:picMkLst>
        </pc:picChg>
        <pc:picChg chg="mod">
          <ac:chgData name="Khrystyna Yatsyna" userId="e6954dd7-6c9e-43c8-bd42-ff8c4ce5393f" providerId="ADAL" clId="{BBB5A732-C083-4ACD-876F-6FB9A2AAF4AA}" dt="2023-08-03T11:31:08.936" v="380" actId="3626"/>
          <ac:picMkLst>
            <pc:docMk/>
            <pc:sldMk cId="192629399" sldId="3256"/>
            <ac:picMk id="528" creationId="{BF8B59CE-9DBE-D7F3-817B-6CEF9BCAEA3D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4:46.037" v="787"/>
        <pc:sldMkLst>
          <pc:docMk/>
          <pc:sldMk cId="1992977235" sldId="3258"/>
        </pc:sldMkLst>
        <pc:spChg chg="add mod">
          <ac:chgData name="Khrystyna Yatsyna" userId="e6954dd7-6c9e-43c8-bd42-ff8c4ce5393f" providerId="ADAL" clId="{BBB5A732-C083-4ACD-876F-6FB9A2AAF4AA}" dt="2023-08-03T13:20:28.278" v="580"/>
          <ac:spMkLst>
            <pc:docMk/>
            <pc:sldMk cId="1992977235" sldId="3258"/>
            <ac:spMk id="5" creationId="{068CAFFC-381F-0F2D-2B01-5A3C9FC8C179}"/>
          </ac:spMkLst>
        </pc:spChg>
        <pc:spChg chg="mod">
          <ac:chgData name="Khrystyna Yatsyna" userId="e6954dd7-6c9e-43c8-bd42-ff8c4ce5393f" providerId="ADAL" clId="{BBB5A732-C083-4ACD-876F-6FB9A2AAF4AA}" dt="2023-08-03T13:20:28.278" v="580"/>
          <ac:spMkLst>
            <pc:docMk/>
            <pc:sldMk cId="1992977235" sldId="3258"/>
            <ac:spMk id="11" creationId="{89930563-3395-DEC8-E9C7-D2B668D1A104}"/>
          </ac:spMkLst>
        </pc:spChg>
        <pc:spChg chg="mod">
          <ac:chgData name="Khrystyna Yatsyna" userId="e6954dd7-6c9e-43c8-bd42-ff8c4ce5393f" providerId="ADAL" clId="{BBB5A732-C083-4ACD-876F-6FB9A2AAF4AA}" dt="2023-08-03T13:20:28.278" v="580"/>
          <ac:spMkLst>
            <pc:docMk/>
            <pc:sldMk cId="1992977235" sldId="3258"/>
            <ac:spMk id="12" creationId="{27BD19D9-4254-634F-C58C-8467386DC608}"/>
          </ac:spMkLst>
        </pc:spChg>
        <pc:spChg chg="mod">
          <ac:chgData name="Khrystyna Yatsyna" userId="e6954dd7-6c9e-43c8-bd42-ff8c4ce5393f" providerId="ADAL" clId="{BBB5A732-C083-4ACD-876F-6FB9A2AAF4AA}" dt="2023-08-03T13:20:28.278" v="580"/>
          <ac:spMkLst>
            <pc:docMk/>
            <pc:sldMk cId="1992977235" sldId="3258"/>
            <ac:spMk id="13" creationId="{E5839421-8266-0D5E-062B-34633826A40A}"/>
          </ac:spMkLst>
        </pc:spChg>
        <pc:spChg chg="mod">
          <ac:chgData name="Khrystyna Yatsyna" userId="e6954dd7-6c9e-43c8-bd42-ff8c4ce5393f" providerId="ADAL" clId="{BBB5A732-C083-4ACD-876F-6FB9A2AAF4AA}" dt="2023-08-03T13:20:28.278" v="580"/>
          <ac:spMkLst>
            <pc:docMk/>
            <pc:sldMk cId="1992977235" sldId="3258"/>
            <ac:spMk id="14" creationId="{E3A103E4-E3FD-36F0-5BC4-146591E21259}"/>
          </ac:spMkLst>
        </pc:spChg>
        <pc:spChg chg="mod">
          <ac:chgData name="Khrystyna Yatsyna" userId="e6954dd7-6c9e-43c8-bd42-ff8c4ce5393f" providerId="ADAL" clId="{BBB5A732-C083-4ACD-876F-6FB9A2AAF4AA}" dt="2023-08-03T13:20:28.278" v="580"/>
          <ac:spMkLst>
            <pc:docMk/>
            <pc:sldMk cId="1992977235" sldId="3258"/>
            <ac:spMk id="15" creationId="{FD99377A-21F0-8E3A-E7EE-C7031F0A4AC4}"/>
          </ac:spMkLst>
        </pc:spChg>
        <pc:spChg chg="mod">
          <ac:chgData name="Khrystyna Yatsyna" userId="e6954dd7-6c9e-43c8-bd42-ff8c4ce5393f" providerId="ADAL" clId="{BBB5A732-C083-4ACD-876F-6FB9A2AAF4AA}" dt="2023-08-03T13:20:28.278" v="580"/>
          <ac:spMkLst>
            <pc:docMk/>
            <pc:sldMk cId="1992977235" sldId="3258"/>
            <ac:spMk id="16" creationId="{76F284C3-BA47-E415-074C-D15053A2EB23}"/>
          </ac:spMkLst>
        </pc:spChg>
        <pc:spChg chg="add mod">
          <ac:chgData name="Khrystyna Yatsyna" userId="e6954dd7-6c9e-43c8-bd42-ff8c4ce5393f" providerId="ADAL" clId="{BBB5A732-C083-4ACD-876F-6FB9A2AAF4AA}" dt="2023-08-18T12:34:46.037" v="787"/>
          <ac:spMkLst>
            <pc:docMk/>
            <pc:sldMk cId="1992977235" sldId="3258"/>
            <ac:spMk id="17" creationId="{0CEE8DC6-2546-FFC3-4473-DD0773980D11}"/>
          </ac:spMkLst>
        </pc:spChg>
        <pc:spChg chg="add mod">
          <ac:chgData name="Khrystyna Yatsyna" userId="e6954dd7-6c9e-43c8-bd42-ff8c4ce5393f" providerId="ADAL" clId="{BBB5A732-C083-4ACD-876F-6FB9A2AAF4AA}" dt="2023-08-18T12:34:46.037" v="787"/>
          <ac:spMkLst>
            <pc:docMk/>
            <pc:sldMk cId="1992977235" sldId="3258"/>
            <ac:spMk id="19" creationId="{79A83289-FB03-8193-A53A-520480CFAFF3}"/>
          </ac:spMkLst>
        </pc:spChg>
        <pc:spChg chg="del">
          <ac:chgData name="Khrystyna Yatsyna" userId="e6954dd7-6c9e-43c8-bd42-ff8c4ce5393f" providerId="ADAL" clId="{BBB5A732-C083-4ACD-876F-6FB9A2AAF4AA}" dt="2023-08-18T12:34:45.612" v="786" actId="478"/>
          <ac:spMkLst>
            <pc:docMk/>
            <pc:sldMk cId="1992977235" sldId="3258"/>
            <ac:spMk id="61" creationId="{5F7F2608-A770-1869-1225-C40215B3E326}"/>
          </ac:spMkLst>
        </pc:spChg>
        <pc:spChg chg="mod">
          <ac:chgData name="Khrystyna Yatsyna" userId="e6954dd7-6c9e-43c8-bd42-ff8c4ce5393f" providerId="ADAL" clId="{BBB5A732-C083-4ACD-876F-6FB9A2AAF4AA}" dt="2023-08-18T12:31:13.313" v="716" actId="108"/>
          <ac:spMkLst>
            <pc:docMk/>
            <pc:sldMk cId="1992977235" sldId="3258"/>
            <ac:spMk id="63" creationId="{7704E34D-28F8-B0EF-8AF2-FB6C75046B9F}"/>
          </ac:spMkLst>
        </pc:spChg>
        <pc:spChg chg="del mod">
          <ac:chgData name="Khrystyna Yatsyna" userId="e6954dd7-6c9e-43c8-bd42-ff8c4ce5393f" providerId="ADAL" clId="{BBB5A732-C083-4ACD-876F-6FB9A2AAF4AA}" dt="2023-08-03T13:20:28.098" v="579" actId="478"/>
          <ac:spMkLst>
            <pc:docMk/>
            <pc:sldMk cId="1992977235" sldId="3258"/>
            <ac:spMk id="513" creationId="{DDA8B887-3629-4AD9-752F-C1F67D81C4E9}"/>
          </ac:spMkLst>
        </pc:spChg>
        <pc:spChg chg="del mod">
          <ac:chgData name="Khrystyna Yatsyna" userId="e6954dd7-6c9e-43c8-bd42-ff8c4ce5393f" providerId="ADAL" clId="{BBB5A732-C083-4ACD-876F-6FB9A2AAF4AA}" dt="2023-08-18T12:34:45.612" v="786" actId="478"/>
          <ac:spMkLst>
            <pc:docMk/>
            <pc:sldMk cId="1992977235" sldId="3258"/>
            <ac:spMk id="524" creationId="{AB023B86-E9D8-FFE7-4092-6BE15C4F1A0E}"/>
          </ac:spMkLst>
        </pc:spChg>
        <pc:spChg chg="mod">
          <ac:chgData name="Khrystyna Yatsyna" userId="e6954dd7-6c9e-43c8-bd42-ff8c4ce5393f" providerId="ADAL" clId="{BBB5A732-C083-4ACD-876F-6FB9A2AAF4AA}" dt="2023-08-18T12:31:15.259" v="718" actId="108"/>
          <ac:spMkLst>
            <pc:docMk/>
            <pc:sldMk cId="1992977235" sldId="3258"/>
            <ac:spMk id="526" creationId="{4A9F8074-4E01-3C70-6A8D-4F4057DC7358}"/>
          </ac:spMkLst>
        </pc:spChg>
        <pc:spChg chg="mod">
          <ac:chgData name="Khrystyna Yatsyna" userId="e6954dd7-6c9e-43c8-bd42-ff8c4ce5393f" providerId="ADAL" clId="{BBB5A732-C083-4ACD-876F-6FB9A2AAF4AA}" dt="2023-08-18T12:31:16.178" v="719" actId="108"/>
          <ac:spMkLst>
            <pc:docMk/>
            <pc:sldMk cId="1992977235" sldId="3258"/>
            <ac:spMk id="528" creationId="{FF7AFE8D-8693-5C01-9728-67B48F102B2B}"/>
          </ac:spMkLst>
        </pc:spChg>
        <pc:spChg chg="mod">
          <ac:chgData name="Khrystyna Yatsyna" userId="e6954dd7-6c9e-43c8-bd42-ff8c4ce5393f" providerId="ADAL" clId="{BBB5A732-C083-4ACD-876F-6FB9A2AAF4AA}" dt="2023-08-18T12:31:17.333" v="720" actId="108"/>
          <ac:spMkLst>
            <pc:docMk/>
            <pc:sldMk cId="1992977235" sldId="3258"/>
            <ac:spMk id="530" creationId="{258702E1-FF36-FE46-848A-7C6EC991A73A}"/>
          </ac:spMkLst>
        </pc:spChg>
        <pc:grpChg chg="add mod">
          <ac:chgData name="Khrystyna Yatsyna" userId="e6954dd7-6c9e-43c8-bd42-ff8c4ce5393f" providerId="ADAL" clId="{BBB5A732-C083-4ACD-876F-6FB9A2AAF4AA}" dt="2023-08-03T13:20:28.278" v="580"/>
          <ac:grpSpMkLst>
            <pc:docMk/>
            <pc:sldMk cId="1992977235" sldId="3258"/>
            <ac:grpSpMk id="6" creationId="{1D161A08-2015-49C2-674E-42F78DBCA3E9}"/>
          </ac:grpSpMkLst>
        </pc:grpChg>
        <pc:grpChg chg="del">
          <ac:chgData name="Khrystyna Yatsyna" userId="e6954dd7-6c9e-43c8-bd42-ff8c4ce5393f" providerId="ADAL" clId="{BBB5A732-C083-4ACD-876F-6FB9A2AAF4AA}" dt="2023-08-03T13:20:28.098" v="579" actId="478"/>
          <ac:grpSpMkLst>
            <pc:docMk/>
            <pc:sldMk cId="1992977235" sldId="3258"/>
            <ac:grpSpMk id="514" creationId="{E786664F-FEA4-93CE-661B-3F28D010D387}"/>
          </ac:grpSpMkLst>
        </pc:grpChg>
        <pc:picChg chg="add mod">
          <ac:chgData name="Khrystyna Yatsyna" userId="e6954dd7-6c9e-43c8-bd42-ff8c4ce5393f" providerId="ADAL" clId="{BBB5A732-C083-4ACD-876F-6FB9A2AAF4AA}" dt="2023-08-18T12:34:46.037" v="787"/>
          <ac:picMkLst>
            <pc:docMk/>
            <pc:sldMk cId="1992977235" sldId="3258"/>
            <ac:picMk id="18" creationId="{AA665703-00CB-F7E9-5B0D-F96BC215DFAB}"/>
          </ac:picMkLst>
        </pc:picChg>
        <pc:picChg chg="add mod">
          <ac:chgData name="Khrystyna Yatsyna" userId="e6954dd7-6c9e-43c8-bd42-ff8c4ce5393f" providerId="ADAL" clId="{BBB5A732-C083-4ACD-876F-6FB9A2AAF4AA}" dt="2023-08-18T12:34:46.037" v="787"/>
          <ac:picMkLst>
            <pc:docMk/>
            <pc:sldMk cId="1992977235" sldId="3258"/>
            <ac:picMk id="20" creationId="{53C2FC94-7937-7A82-7534-901542C1A8AD}"/>
          </ac:picMkLst>
        </pc:picChg>
        <pc:picChg chg="del">
          <ac:chgData name="Khrystyna Yatsyna" userId="e6954dd7-6c9e-43c8-bd42-ff8c4ce5393f" providerId="ADAL" clId="{BBB5A732-C083-4ACD-876F-6FB9A2AAF4AA}" dt="2023-08-18T12:34:45.612" v="786" actId="478"/>
          <ac:picMkLst>
            <pc:docMk/>
            <pc:sldMk cId="1992977235" sldId="3258"/>
            <ac:picMk id="62" creationId="{47F9A3FE-21D1-177F-9BA8-A0D477CAC6FD}"/>
          </ac:picMkLst>
        </pc:picChg>
        <pc:picChg chg="mod">
          <ac:chgData name="Khrystyna Yatsyna" userId="e6954dd7-6c9e-43c8-bd42-ff8c4ce5393f" providerId="ADAL" clId="{BBB5A732-C083-4ACD-876F-6FB9A2AAF4AA}" dt="2023-08-03T11:35:35.060" v="484" actId="3626"/>
          <ac:picMkLst>
            <pc:docMk/>
            <pc:sldMk cId="1992977235" sldId="3258"/>
            <ac:picMk id="512" creationId="{4795767B-23CA-2C36-FF52-4CE12D04ADFD}"/>
          </ac:picMkLst>
        </pc:picChg>
        <pc:picChg chg="del mod">
          <ac:chgData name="Khrystyna Yatsyna" userId="e6954dd7-6c9e-43c8-bd42-ff8c4ce5393f" providerId="ADAL" clId="{BBB5A732-C083-4ACD-876F-6FB9A2AAF4AA}" dt="2023-08-18T12:34:45.612" v="786" actId="478"/>
          <ac:picMkLst>
            <pc:docMk/>
            <pc:sldMk cId="1992977235" sldId="3258"/>
            <ac:picMk id="525" creationId="{0E929494-0F67-CE6A-210E-F465354209B1}"/>
          </ac:picMkLst>
        </pc:picChg>
        <pc:picChg chg="mod">
          <ac:chgData name="Khrystyna Yatsyna" userId="e6954dd7-6c9e-43c8-bd42-ff8c4ce5393f" providerId="ADAL" clId="{BBB5A732-C083-4ACD-876F-6FB9A2AAF4AA}" dt="2023-08-03T11:35:44.547" v="488" actId="3626"/>
          <ac:picMkLst>
            <pc:docMk/>
            <pc:sldMk cId="1992977235" sldId="3258"/>
            <ac:picMk id="527" creationId="{333E3F3B-BCA8-3627-C05C-92E3C290A643}"/>
          </ac:picMkLst>
        </pc:picChg>
        <pc:picChg chg="mod">
          <ac:chgData name="Khrystyna Yatsyna" userId="e6954dd7-6c9e-43c8-bd42-ff8c4ce5393f" providerId="ADAL" clId="{BBB5A732-C083-4ACD-876F-6FB9A2AAF4AA}" dt="2023-08-03T11:35:48.446" v="490" actId="3626"/>
          <ac:picMkLst>
            <pc:docMk/>
            <pc:sldMk cId="1992977235" sldId="3258"/>
            <ac:picMk id="529" creationId="{357FEF07-96DF-46B8-D31A-1F2EDE8339A3}"/>
          </ac:picMkLst>
        </pc:picChg>
        <pc:picChg chg="mod">
          <ac:chgData name="Khrystyna Yatsyna" userId="e6954dd7-6c9e-43c8-bd42-ff8c4ce5393f" providerId="ADAL" clId="{BBB5A732-C083-4ACD-876F-6FB9A2AAF4AA}" dt="2023-08-03T11:35:52.551" v="492" actId="3626"/>
          <ac:picMkLst>
            <pc:docMk/>
            <pc:sldMk cId="1992977235" sldId="3258"/>
            <ac:picMk id="531" creationId="{E3C38B93-361A-9025-3C18-C1ED5981C1D7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1:39.313" v="733" actId="108"/>
        <pc:sldMkLst>
          <pc:docMk/>
          <pc:sldMk cId="319615773" sldId="3259"/>
        </pc:sldMkLst>
        <pc:spChg chg="add mod">
          <ac:chgData name="Khrystyna Yatsyna" userId="e6954dd7-6c9e-43c8-bd42-ff8c4ce5393f" providerId="ADAL" clId="{BBB5A732-C083-4ACD-876F-6FB9A2AAF4AA}" dt="2023-08-03T11:36:19.147" v="499"/>
          <ac:spMkLst>
            <pc:docMk/>
            <pc:sldMk cId="319615773" sldId="3259"/>
            <ac:spMk id="4" creationId="{F442E451-97A8-F74E-4444-65B972F76203}"/>
          </ac:spMkLst>
        </pc:spChg>
        <pc:spChg chg="add mod">
          <ac:chgData name="Khrystyna Yatsyna" userId="e6954dd7-6c9e-43c8-bd42-ff8c4ce5393f" providerId="ADAL" clId="{BBB5A732-C083-4ACD-876F-6FB9A2AAF4AA}" dt="2023-08-03T11:36:19.147" v="499"/>
          <ac:spMkLst>
            <pc:docMk/>
            <pc:sldMk cId="319615773" sldId="3259"/>
            <ac:spMk id="8" creationId="{91B78E00-053F-EAFC-16DE-AB4E0CBBEED8}"/>
          </ac:spMkLst>
        </pc:spChg>
        <pc:spChg chg="add del mod">
          <ac:chgData name="Khrystyna Yatsyna" userId="e6954dd7-6c9e-43c8-bd42-ff8c4ce5393f" providerId="ADAL" clId="{BBB5A732-C083-4ACD-876F-6FB9A2AAF4AA}" dt="2023-08-03T13:20:37.332" v="585" actId="478"/>
          <ac:spMkLst>
            <pc:docMk/>
            <pc:sldMk cId="319615773" sldId="3259"/>
            <ac:spMk id="10" creationId="{02DAACF0-D1CA-6AA8-A2F7-DB2E85A11824}"/>
          </ac:spMkLst>
        </pc:spChg>
        <pc:spChg chg="mod">
          <ac:chgData name="Khrystyna Yatsyna" userId="e6954dd7-6c9e-43c8-bd42-ff8c4ce5393f" providerId="ADAL" clId="{BBB5A732-C083-4ACD-876F-6FB9A2AAF4AA}" dt="2023-08-03T11:36:19.147" v="499"/>
          <ac:spMkLst>
            <pc:docMk/>
            <pc:sldMk cId="319615773" sldId="3259"/>
            <ac:spMk id="27" creationId="{4C2AE637-E288-6032-FFF6-BE8F7E3721AE}"/>
          </ac:spMkLst>
        </pc:spChg>
        <pc:spChg chg="mod">
          <ac:chgData name="Khrystyna Yatsyna" userId="e6954dd7-6c9e-43c8-bd42-ff8c4ce5393f" providerId="ADAL" clId="{BBB5A732-C083-4ACD-876F-6FB9A2AAF4AA}" dt="2023-08-03T11:36:19.147" v="499"/>
          <ac:spMkLst>
            <pc:docMk/>
            <pc:sldMk cId="319615773" sldId="3259"/>
            <ac:spMk id="36" creationId="{93654AF1-BEA9-8F83-CFE5-08D60B422582}"/>
          </ac:spMkLst>
        </pc:spChg>
        <pc:spChg chg="mod">
          <ac:chgData name="Khrystyna Yatsyna" userId="e6954dd7-6c9e-43c8-bd42-ff8c4ce5393f" providerId="ADAL" clId="{BBB5A732-C083-4ACD-876F-6FB9A2AAF4AA}" dt="2023-08-03T11:36:19.147" v="499"/>
          <ac:spMkLst>
            <pc:docMk/>
            <pc:sldMk cId="319615773" sldId="3259"/>
            <ac:spMk id="38" creationId="{B90C9EF6-318D-EC07-59FE-E49292A9AFB3}"/>
          </ac:spMkLst>
        </pc:spChg>
        <pc:spChg chg="mod">
          <ac:chgData name="Khrystyna Yatsyna" userId="e6954dd7-6c9e-43c8-bd42-ff8c4ce5393f" providerId="ADAL" clId="{BBB5A732-C083-4ACD-876F-6FB9A2AAF4AA}" dt="2023-08-03T11:36:19.147" v="499"/>
          <ac:spMkLst>
            <pc:docMk/>
            <pc:sldMk cId="319615773" sldId="3259"/>
            <ac:spMk id="40" creationId="{5690A228-87A3-C74D-087F-EE62BDD1FD66}"/>
          </ac:spMkLst>
        </pc:spChg>
        <pc:spChg chg="mod">
          <ac:chgData name="Khrystyna Yatsyna" userId="e6954dd7-6c9e-43c8-bd42-ff8c4ce5393f" providerId="ADAL" clId="{BBB5A732-C083-4ACD-876F-6FB9A2AAF4AA}" dt="2023-08-03T11:36:19.147" v="499"/>
          <ac:spMkLst>
            <pc:docMk/>
            <pc:sldMk cId="319615773" sldId="3259"/>
            <ac:spMk id="48" creationId="{7B53E8DD-A0E0-EEF3-0FBF-B42FD3DEB1CB}"/>
          </ac:spMkLst>
        </pc:spChg>
        <pc:spChg chg="mod">
          <ac:chgData name="Khrystyna Yatsyna" userId="e6954dd7-6c9e-43c8-bd42-ff8c4ce5393f" providerId="ADAL" clId="{BBB5A732-C083-4ACD-876F-6FB9A2AAF4AA}" dt="2023-08-03T11:36:19.147" v="499"/>
          <ac:spMkLst>
            <pc:docMk/>
            <pc:sldMk cId="319615773" sldId="3259"/>
            <ac:spMk id="49" creationId="{020BCF98-3EAC-BA8F-1060-29434CEA7FA8}"/>
          </ac:spMkLst>
        </pc:spChg>
        <pc:spChg chg="add mod">
          <ac:chgData name="Khrystyna Yatsyna" userId="e6954dd7-6c9e-43c8-bd42-ff8c4ce5393f" providerId="ADAL" clId="{BBB5A732-C083-4ACD-876F-6FB9A2AAF4AA}" dt="2023-08-18T12:31:39.313" v="733" actId="108"/>
          <ac:spMkLst>
            <pc:docMk/>
            <pc:sldMk cId="319615773" sldId="3259"/>
            <ac:spMk id="57" creationId="{FF4DD655-206A-2421-90B8-2B88D422F3DD}"/>
          </ac:spMkLst>
        </pc:spChg>
        <pc:spChg chg="add mod">
          <ac:chgData name="Khrystyna Yatsyna" userId="e6954dd7-6c9e-43c8-bd42-ff8c4ce5393f" providerId="ADAL" clId="{BBB5A732-C083-4ACD-876F-6FB9A2AAF4AA}" dt="2023-08-18T12:31:35.631" v="730" actId="108"/>
          <ac:spMkLst>
            <pc:docMk/>
            <pc:sldMk cId="319615773" sldId="3259"/>
            <ac:spMk id="59" creationId="{23B3ADB3-9E6F-EB01-5F46-C1CB84116FFF}"/>
          </ac:spMkLst>
        </pc:spChg>
        <pc:spChg chg="add mod">
          <ac:chgData name="Khrystyna Yatsyna" userId="e6954dd7-6c9e-43c8-bd42-ff8c4ce5393f" providerId="ADAL" clId="{BBB5A732-C083-4ACD-876F-6FB9A2AAF4AA}" dt="2023-08-18T12:31:36.919" v="731" actId="108"/>
          <ac:spMkLst>
            <pc:docMk/>
            <pc:sldMk cId="319615773" sldId="3259"/>
            <ac:spMk id="61" creationId="{5B86A79E-C1DA-BAD5-5E7D-84557797A71C}"/>
          </ac:spMkLst>
        </pc:spChg>
        <pc:spChg chg="add mod">
          <ac:chgData name="Khrystyna Yatsyna" userId="e6954dd7-6c9e-43c8-bd42-ff8c4ce5393f" providerId="ADAL" clId="{BBB5A732-C083-4ACD-876F-6FB9A2AAF4AA}" dt="2023-08-18T12:31:37.786" v="732" actId="108"/>
          <ac:spMkLst>
            <pc:docMk/>
            <pc:sldMk cId="319615773" sldId="3259"/>
            <ac:spMk id="63" creationId="{5EF70806-938B-BDD0-01AB-BCC84DFD9C90}"/>
          </ac:spMkLst>
        </pc:spChg>
        <pc:spChg chg="del">
          <ac:chgData name="Khrystyna Yatsyna" userId="e6954dd7-6c9e-43c8-bd42-ff8c4ce5393f" providerId="ADAL" clId="{BBB5A732-C083-4ACD-876F-6FB9A2AAF4AA}" dt="2023-08-03T11:36:18.329" v="498" actId="478"/>
          <ac:spMkLst>
            <pc:docMk/>
            <pc:sldMk cId="319615773" sldId="3259"/>
            <ac:spMk id="76" creationId="{FF474BCA-9F3E-B36B-50E9-120EB219B908}"/>
          </ac:spMkLst>
        </pc:spChg>
        <pc:spChg chg="del">
          <ac:chgData name="Khrystyna Yatsyna" userId="e6954dd7-6c9e-43c8-bd42-ff8c4ce5393f" providerId="ADAL" clId="{BBB5A732-C083-4ACD-876F-6FB9A2AAF4AA}" dt="2023-08-03T11:36:18.329" v="498" actId="478"/>
          <ac:spMkLst>
            <pc:docMk/>
            <pc:sldMk cId="319615773" sldId="3259"/>
            <ac:spMk id="79" creationId="{06CC8D47-2327-9F85-FD75-A83D8327F1E5}"/>
          </ac:spMkLst>
        </pc:spChg>
        <pc:spChg chg="del">
          <ac:chgData name="Khrystyna Yatsyna" userId="e6954dd7-6c9e-43c8-bd42-ff8c4ce5393f" providerId="ADAL" clId="{BBB5A732-C083-4ACD-876F-6FB9A2AAF4AA}" dt="2023-08-03T11:36:18.329" v="498" actId="478"/>
          <ac:spMkLst>
            <pc:docMk/>
            <pc:sldMk cId="319615773" sldId="3259"/>
            <ac:spMk id="81" creationId="{7C24B534-4DCD-0335-24DE-77F4348C6B0A}"/>
          </ac:spMkLst>
        </pc:spChg>
        <pc:spChg chg="del">
          <ac:chgData name="Khrystyna Yatsyna" userId="e6954dd7-6c9e-43c8-bd42-ff8c4ce5393f" providerId="ADAL" clId="{BBB5A732-C083-4ACD-876F-6FB9A2AAF4AA}" dt="2023-08-03T11:36:18.329" v="498" actId="478"/>
          <ac:spMkLst>
            <pc:docMk/>
            <pc:sldMk cId="319615773" sldId="3259"/>
            <ac:spMk id="89" creationId="{9E1D18A4-3443-FBB8-5C1A-BA3F8AD02293}"/>
          </ac:spMkLst>
        </pc:spChg>
        <pc:spChg chg="del">
          <ac:chgData name="Khrystyna Yatsyna" userId="e6954dd7-6c9e-43c8-bd42-ff8c4ce5393f" providerId="ADAL" clId="{BBB5A732-C083-4ACD-876F-6FB9A2AAF4AA}" dt="2023-08-03T11:36:18.329" v="498" actId="478"/>
          <ac:spMkLst>
            <pc:docMk/>
            <pc:sldMk cId="319615773" sldId="3259"/>
            <ac:spMk id="91" creationId="{1EA1B8BC-3468-B287-C8BD-C8B1A16C5422}"/>
          </ac:spMkLst>
        </pc:spChg>
        <pc:spChg chg="del">
          <ac:chgData name="Khrystyna Yatsyna" userId="e6954dd7-6c9e-43c8-bd42-ff8c4ce5393f" providerId="ADAL" clId="{BBB5A732-C083-4ACD-876F-6FB9A2AAF4AA}" dt="2023-08-03T11:36:18.329" v="498" actId="478"/>
          <ac:spMkLst>
            <pc:docMk/>
            <pc:sldMk cId="319615773" sldId="3259"/>
            <ac:spMk id="93" creationId="{ECA389BE-AB30-91C7-F179-C2CFB82A7A14}"/>
          </ac:spMkLst>
        </pc:spChg>
        <pc:spChg chg="del">
          <ac:chgData name="Khrystyna Yatsyna" userId="e6954dd7-6c9e-43c8-bd42-ff8c4ce5393f" providerId="ADAL" clId="{BBB5A732-C083-4ACD-876F-6FB9A2AAF4AA}" dt="2023-08-03T11:36:18.329" v="498" actId="478"/>
          <ac:spMkLst>
            <pc:docMk/>
            <pc:sldMk cId="319615773" sldId="3259"/>
            <ac:spMk id="95" creationId="{D338FCF1-918B-0790-1CFC-2004F64B0C77}"/>
          </ac:spMkLst>
        </pc:spChg>
        <pc:spChg chg="add mod">
          <ac:chgData name="Khrystyna Yatsyna" userId="e6954dd7-6c9e-43c8-bd42-ff8c4ce5393f" providerId="ADAL" clId="{BBB5A732-C083-4ACD-876F-6FB9A2AAF4AA}" dt="2023-08-03T13:20:37.492" v="586"/>
          <ac:spMkLst>
            <pc:docMk/>
            <pc:sldMk cId="319615773" sldId="3259"/>
            <ac:spMk id="513" creationId="{B3327195-6C47-B78D-F799-BAD5E52F6A6B}"/>
          </ac:spMkLst>
        </pc:spChg>
        <pc:spChg chg="mod">
          <ac:chgData name="Khrystyna Yatsyna" userId="e6954dd7-6c9e-43c8-bd42-ff8c4ce5393f" providerId="ADAL" clId="{BBB5A732-C083-4ACD-876F-6FB9A2AAF4AA}" dt="2023-08-03T13:20:37.492" v="586"/>
          <ac:spMkLst>
            <pc:docMk/>
            <pc:sldMk cId="319615773" sldId="3259"/>
            <ac:spMk id="518" creationId="{41261999-737C-89DE-D569-0A5117F7B810}"/>
          </ac:spMkLst>
        </pc:spChg>
        <pc:spChg chg="mod">
          <ac:chgData name="Khrystyna Yatsyna" userId="e6954dd7-6c9e-43c8-bd42-ff8c4ce5393f" providerId="ADAL" clId="{BBB5A732-C083-4ACD-876F-6FB9A2AAF4AA}" dt="2023-08-03T13:20:37.492" v="586"/>
          <ac:spMkLst>
            <pc:docMk/>
            <pc:sldMk cId="319615773" sldId="3259"/>
            <ac:spMk id="519" creationId="{8C634B8E-3C0B-6943-4716-DACE804C6B92}"/>
          </ac:spMkLst>
        </pc:spChg>
        <pc:spChg chg="mod">
          <ac:chgData name="Khrystyna Yatsyna" userId="e6954dd7-6c9e-43c8-bd42-ff8c4ce5393f" providerId="ADAL" clId="{BBB5A732-C083-4ACD-876F-6FB9A2AAF4AA}" dt="2023-08-03T13:20:37.492" v="586"/>
          <ac:spMkLst>
            <pc:docMk/>
            <pc:sldMk cId="319615773" sldId="3259"/>
            <ac:spMk id="520" creationId="{8D302A25-ECC7-D3D4-926E-6D4648F31E92}"/>
          </ac:spMkLst>
        </pc:spChg>
        <pc:spChg chg="mod">
          <ac:chgData name="Khrystyna Yatsyna" userId="e6954dd7-6c9e-43c8-bd42-ff8c4ce5393f" providerId="ADAL" clId="{BBB5A732-C083-4ACD-876F-6FB9A2AAF4AA}" dt="2023-08-03T13:20:37.492" v="586"/>
          <ac:spMkLst>
            <pc:docMk/>
            <pc:sldMk cId="319615773" sldId="3259"/>
            <ac:spMk id="521" creationId="{D22C3B8B-5990-684F-13AA-171F3AEF6F58}"/>
          </ac:spMkLst>
        </pc:spChg>
        <pc:spChg chg="mod">
          <ac:chgData name="Khrystyna Yatsyna" userId="e6954dd7-6c9e-43c8-bd42-ff8c4ce5393f" providerId="ADAL" clId="{BBB5A732-C083-4ACD-876F-6FB9A2AAF4AA}" dt="2023-08-03T13:20:37.492" v="586"/>
          <ac:spMkLst>
            <pc:docMk/>
            <pc:sldMk cId="319615773" sldId="3259"/>
            <ac:spMk id="522" creationId="{58F4D78B-A3B0-2EED-FEA9-B087EB7022B0}"/>
          </ac:spMkLst>
        </pc:spChg>
        <pc:spChg chg="mod">
          <ac:chgData name="Khrystyna Yatsyna" userId="e6954dd7-6c9e-43c8-bd42-ff8c4ce5393f" providerId="ADAL" clId="{BBB5A732-C083-4ACD-876F-6FB9A2AAF4AA}" dt="2023-08-03T13:20:37.492" v="586"/>
          <ac:spMkLst>
            <pc:docMk/>
            <pc:sldMk cId="319615773" sldId="3259"/>
            <ac:spMk id="523" creationId="{1CF0FA00-57C4-B802-7226-4AEBBEFA16AE}"/>
          </ac:spMkLst>
        </pc:spChg>
        <pc:grpChg chg="add del mod">
          <ac:chgData name="Khrystyna Yatsyna" userId="e6954dd7-6c9e-43c8-bd42-ff8c4ce5393f" providerId="ADAL" clId="{BBB5A732-C083-4ACD-876F-6FB9A2AAF4AA}" dt="2023-08-03T13:20:37.332" v="585" actId="478"/>
          <ac:grpSpMkLst>
            <pc:docMk/>
            <pc:sldMk cId="319615773" sldId="3259"/>
            <ac:grpSpMk id="25" creationId="{651200EA-DA4B-B11F-854F-6C6DF7EC3489}"/>
          </ac:grpSpMkLst>
        </pc:grpChg>
        <pc:grpChg chg="del">
          <ac:chgData name="Khrystyna Yatsyna" userId="e6954dd7-6c9e-43c8-bd42-ff8c4ce5393f" providerId="ADAL" clId="{BBB5A732-C083-4ACD-876F-6FB9A2AAF4AA}" dt="2023-08-03T11:36:18.329" v="498" actId="478"/>
          <ac:grpSpMkLst>
            <pc:docMk/>
            <pc:sldMk cId="319615773" sldId="3259"/>
            <ac:grpSpMk id="82" creationId="{72F6FA88-23EF-DF37-7E50-633866FDF088}"/>
          </ac:grpSpMkLst>
        </pc:grpChg>
        <pc:grpChg chg="add mod">
          <ac:chgData name="Khrystyna Yatsyna" userId="e6954dd7-6c9e-43c8-bd42-ff8c4ce5393f" providerId="ADAL" clId="{BBB5A732-C083-4ACD-876F-6FB9A2AAF4AA}" dt="2023-08-03T13:20:37.492" v="586"/>
          <ac:grpSpMkLst>
            <pc:docMk/>
            <pc:sldMk cId="319615773" sldId="3259"/>
            <ac:grpSpMk id="517" creationId="{C18755A0-32FB-5DBA-F0DB-05F1AF60639E}"/>
          </ac:grpSpMkLst>
        </pc:grpChg>
        <pc:picChg chg="add mod">
          <ac:chgData name="Khrystyna Yatsyna" userId="e6954dd7-6c9e-43c8-bd42-ff8c4ce5393f" providerId="ADAL" clId="{BBB5A732-C083-4ACD-876F-6FB9A2AAF4AA}" dt="2023-08-03T11:36:19.147" v="499"/>
          <ac:picMkLst>
            <pc:docMk/>
            <pc:sldMk cId="319615773" sldId="3259"/>
            <ac:picMk id="7" creationId="{D2A761B7-55AF-8961-874B-B94887E07E9E}"/>
          </ac:picMkLst>
        </pc:picChg>
        <pc:picChg chg="add mod">
          <ac:chgData name="Khrystyna Yatsyna" userId="e6954dd7-6c9e-43c8-bd42-ff8c4ce5393f" providerId="ADAL" clId="{BBB5A732-C083-4ACD-876F-6FB9A2AAF4AA}" dt="2023-08-03T11:36:19.147" v="499"/>
          <ac:picMkLst>
            <pc:docMk/>
            <pc:sldMk cId="319615773" sldId="3259"/>
            <ac:picMk id="9" creationId="{6F78075C-96E0-D328-7C4E-67FC8977D761}"/>
          </ac:picMkLst>
        </pc:picChg>
        <pc:picChg chg="add mod">
          <ac:chgData name="Khrystyna Yatsyna" userId="e6954dd7-6c9e-43c8-bd42-ff8c4ce5393f" providerId="ADAL" clId="{BBB5A732-C083-4ACD-876F-6FB9A2AAF4AA}" dt="2023-08-03T11:36:19.147" v="499"/>
          <ac:picMkLst>
            <pc:docMk/>
            <pc:sldMk cId="319615773" sldId="3259"/>
            <ac:picMk id="58" creationId="{0BA4E4BA-90A8-64F1-17B7-C8E6316BA388}"/>
          </ac:picMkLst>
        </pc:picChg>
        <pc:picChg chg="add mod">
          <ac:chgData name="Khrystyna Yatsyna" userId="e6954dd7-6c9e-43c8-bd42-ff8c4ce5393f" providerId="ADAL" clId="{BBB5A732-C083-4ACD-876F-6FB9A2AAF4AA}" dt="2023-08-03T11:36:19.147" v="499"/>
          <ac:picMkLst>
            <pc:docMk/>
            <pc:sldMk cId="319615773" sldId="3259"/>
            <ac:picMk id="60" creationId="{A0F350F7-89B1-06FE-0C49-8C9AA572053F}"/>
          </ac:picMkLst>
        </pc:picChg>
        <pc:picChg chg="add mod">
          <ac:chgData name="Khrystyna Yatsyna" userId="e6954dd7-6c9e-43c8-bd42-ff8c4ce5393f" providerId="ADAL" clId="{BBB5A732-C083-4ACD-876F-6FB9A2AAF4AA}" dt="2023-08-03T11:36:19.147" v="499"/>
          <ac:picMkLst>
            <pc:docMk/>
            <pc:sldMk cId="319615773" sldId="3259"/>
            <ac:picMk id="62" creationId="{1F0F7315-F150-D5EC-3732-B3FE5CF874B7}"/>
          </ac:picMkLst>
        </pc:picChg>
        <pc:picChg chg="del">
          <ac:chgData name="Khrystyna Yatsyna" userId="e6954dd7-6c9e-43c8-bd42-ff8c4ce5393f" providerId="ADAL" clId="{BBB5A732-C083-4ACD-876F-6FB9A2AAF4AA}" dt="2023-08-03T11:36:18.329" v="498" actId="478"/>
          <ac:picMkLst>
            <pc:docMk/>
            <pc:sldMk cId="319615773" sldId="3259"/>
            <ac:picMk id="78" creationId="{FCF7E00A-D50C-5F72-5319-78CD77515FD1}"/>
          </ac:picMkLst>
        </pc:picChg>
        <pc:picChg chg="del">
          <ac:chgData name="Khrystyna Yatsyna" userId="e6954dd7-6c9e-43c8-bd42-ff8c4ce5393f" providerId="ADAL" clId="{BBB5A732-C083-4ACD-876F-6FB9A2AAF4AA}" dt="2023-08-03T11:36:18.329" v="498" actId="478"/>
          <ac:picMkLst>
            <pc:docMk/>
            <pc:sldMk cId="319615773" sldId="3259"/>
            <ac:picMk id="80" creationId="{BD3B6901-E9C6-CC05-D6BD-F9D32D9D4504}"/>
          </ac:picMkLst>
        </pc:picChg>
        <pc:picChg chg="del">
          <ac:chgData name="Khrystyna Yatsyna" userId="e6954dd7-6c9e-43c8-bd42-ff8c4ce5393f" providerId="ADAL" clId="{BBB5A732-C083-4ACD-876F-6FB9A2AAF4AA}" dt="2023-08-03T11:36:18.329" v="498" actId="478"/>
          <ac:picMkLst>
            <pc:docMk/>
            <pc:sldMk cId="319615773" sldId="3259"/>
            <ac:picMk id="90" creationId="{4193F353-5DD0-94F7-A296-3CF020C872A0}"/>
          </ac:picMkLst>
        </pc:picChg>
        <pc:picChg chg="del">
          <ac:chgData name="Khrystyna Yatsyna" userId="e6954dd7-6c9e-43c8-bd42-ff8c4ce5393f" providerId="ADAL" clId="{BBB5A732-C083-4ACD-876F-6FB9A2AAF4AA}" dt="2023-08-03T11:36:18.329" v="498" actId="478"/>
          <ac:picMkLst>
            <pc:docMk/>
            <pc:sldMk cId="319615773" sldId="3259"/>
            <ac:picMk id="92" creationId="{64014ED0-00CE-1ED9-136B-C8E42DA31C6F}"/>
          </ac:picMkLst>
        </pc:picChg>
        <pc:picChg chg="del">
          <ac:chgData name="Khrystyna Yatsyna" userId="e6954dd7-6c9e-43c8-bd42-ff8c4ce5393f" providerId="ADAL" clId="{BBB5A732-C083-4ACD-876F-6FB9A2AAF4AA}" dt="2023-08-03T11:36:18.329" v="498" actId="478"/>
          <ac:picMkLst>
            <pc:docMk/>
            <pc:sldMk cId="319615773" sldId="3259"/>
            <ac:picMk id="94" creationId="{EE1013F9-C9DA-B37B-4B26-2C5FF9B1A753}"/>
          </ac:picMkLst>
        </pc:picChg>
        <pc:picChg chg="del">
          <ac:chgData name="Khrystyna Yatsyna" userId="e6954dd7-6c9e-43c8-bd42-ff8c4ce5393f" providerId="ADAL" clId="{BBB5A732-C083-4ACD-876F-6FB9A2AAF4AA}" dt="2023-08-03T11:36:18.329" v="498" actId="478"/>
          <ac:picMkLst>
            <pc:docMk/>
            <pc:sldMk cId="319615773" sldId="3259"/>
            <ac:picMk id="96" creationId="{03EF6741-1391-4663-8C40-0FFD0CE08A29}"/>
          </ac:picMkLst>
        </pc:picChg>
        <pc:picChg chg="add mod">
          <ac:chgData name="Khrystyna Yatsyna" userId="e6954dd7-6c9e-43c8-bd42-ff8c4ce5393f" providerId="ADAL" clId="{BBB5A732-C083-4ACD-876F-6FB9A2AAF4AA}" dt="2023-08-03T11:36:19.147" v="499"/>
          <ac:picMkLst>
            <pc:docMk/>
            <pc:sldMk cId="319615773" sldId="3259"/>
            <ac:picMk id="512" creationId="{B72945B8-5CB4-C775-63EA-F5C81B71BD92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2:40.161" v="777" actId="108"/>
        <pc:sldMkLst>
          <pc:docMk/>
          <pc:sldMk cId="3101556701" sldId="3261"/>
        </pc:sldMkLst>
        <pc:spChg chg="add mod">
          <ac:chgData name="Khrystyna Yatsyna" userId="e6954dd7-6c9e-43c8-bd42-ff8c4ce5393f" providerId="ADAL" clId="{BBB5A732-C083-4ACD-876F-6FB9A2AAF4AA}" dt="2023-07-27T11:22:40.791" v="175"/>
          <ac:spMkLst>
            <pc:docMk/>
            <pc:sldMk cId="3101556701" sldId="3261"/>
            <ac:spMk id="5" creationId="{8C66598A-E17A-7D8A-2BFE-5413CD6D2E41}"/>
          </ac:spMkLst>
        </pc:spChg>
        <pc:spChg chg="add mod">
          <ac:chgData name="Khrystyna Yatsyna" userId="e6954dd7-6c9e-43c8-bd42-ff8c4ce5393f" providerId="ADAL" clId="{BBB5A732-C083-4ACD-876F-6FB9A2AAF4AA}" dt="2023-07-27T11:22:40.791" v="175"/>
          <ac:spMkLst>
            <pc:docMk/>
            <pc:sldMk cId="3101556701" sldId="3261"/>
            <ac:spMk id="6" creationId="{5FB82285-3435-5B2A-11B5-2638CAF1F533}"/>
          </ac:spMkLst>
        </pc:spChg>
        <pc:spChg chg="add mod">
          <ac:chgData name="Khrystyna Yatsyna" userId="e6954dd7-6c9e-43c8-bd42-ff8c4ce5393f" providerId="ADAL" clId="{BBB5A732-C083-4ACD-876F-6FB9A2AAF4AA}" dt="2023-07-27T11:24:55.573" v="277"/>
          <ac:spMkLst>
            <pc:docMk/>
            <pc:sldMk cId="3101556701" sldId="3261"/>
            <ac:spMk id="7" creationId="{B82CA23F-E06B-8B02-2C44-5179BAAE5FF9}"/>
          </ac:spMkLst>
        </pc:spChg>
        <pc:spChg chg="add mod">
          <ac:chgData name="Khrystyna Yatsyna" userId="e6954dd7-6c9e-43c8-bd42-ff8c4ce5393f" providerId="ADAL" clId="{BBB5A732-C083-4ACD-876F-6FB9A2AAF4AA}" dt="2023-08-18T12:32:35.593" v="772" actId="108"/>
          <ac:spMkLst>
            <pc:docMk/>
            <pc:sldMk cId="3101556701" sldId="3261"/>
            <ac:spMk id="11" creationId="{A140DAB7-B644-5769-C9BF-8ECC2BCFD94B}"/>
          </ac:spMkLst>
        </pc:spChg>
        <pc:spChg chg="add del mod">
          <ac:chgData name="Khrystyna Yatsyna" userId="e6954dd7-6c9e-43c8-bd42-ff8c4ce5393f" providerId="ADAL" clId="{BBB5A732-C083-4ACD-876F-6FB9A2AAF4AA}" dt="2023-08-03T13:21:04.317" v="603" actId="478"/>
          <ac:spMkLst>
            <pc:docMk/>
            <pc:sldMk cId="3101556701" sldId="3261"/>
            <ac:spMk id="13" creationId="{2E120F7D-3F94-64C0-694C-EF1D5175405C}"/>
          </ac:spMkLst>
        </pc:spChg>
        <pc:spChg chg="mod">
          <ac:chgData name="Khrystyna Yatsyna" userId="e6954dd7-6c9e-43c8-bd42-ff8c4ce5393f" providerId="ADAL" clId="{BBB5A732-C083-4ACD-876F-6FB9A2AAF4AA}" dt="2023-07-27T11:24:28.063" v="243" actId="1036"/>
          <ac:spMkLst>
            <pc:docMk/>
            <pc:sldMk cId="3101556701" sldId="3261"/>
            <ac:spMk id="19" creationId="{B8EAA1E1-5719-6DA1-E2FC-7AC1C5D39071}"/>
          </ac:spMkLst>
        </pc:spChg>
        <pc:spChg chg="mod">
          <ac:chgData name="Khrystyna Yatsyna" userId="e6954dd7-6c9e-43c8-bd42-ff8c4ce5393f" providerId="ADAL" clId="{BBB5A732-C083-4ACD-876F-6FB9A2AAF4AA}" dt="2023-07-27T11:24:28.063" v="243" actId="1036"/>
          <ac:spMkLst>
            <pc:docMk/>
            <pc:sldMk cId="3101556701" sldId="3261"/>
            <ac:spMk id="20" creationId="{B9C1C320-9993-E560-3982-35A055A627B0}"/>
          </ac:spMkLst>
        </pc:spChg>
        <pc:spChg chg="mod">
          <ac:chgData name="Khrystyna Yatsyna" userId="e6954dd7-6c9e-43c8-bd42-ff8c4ce5393f" providerId="ADAL" clId="{BBB5A732-C083-4ACD-876F-6FB9A2AAF4AA}" dt="2023-07-27T11:24:28.063" v="243" actId="1036"/>
          <ac:spMkLst>
            <pc:docMk/>
            <pc:sldMk cId="3101556701" sldId="3261"/>
            <ac:spMk id="21" creationId="{5A480056-D351-F035-3BCF-A421361F8EAA}"/>
          </ac:spMkLst>
        </pc:spChg>
        <pc:spChg chg="mod">
          <ac:chgData name="Khrystyna Yatsyna" userId="e6954dd7-6c9e-43c8-bd42-ff8c4ce5393f" providerId="ADAL" clId="{BBB5A732-C083-4ACD-876F-6FB9A2AAF4AA}" dt="2023-07-27T11:24:28.063" v="243" actId="1036"/>
          <ac:spMkLst>
            <pc:docMk/>
            <pc:sldMk cId="3101556701" sldId="3261"/>
            <ac:spMk id="22" creationId="{B7B7A5FB-1543-C123-FAC1-D325BF85D856}"/>
          </ac:spMkLst>
        </pc:spChg>
        <pc:spChg chg="mod">
          <ac:chgData name="Khrystyna Yatsyna" userId="e6954dd7-6c9e-43c8-bd42-ff8c4ce5393f" providerId="ADAL" clId="{BBB5A732-C083-4ACD-876F-6FB9A2AAF4AA}" dt="2023-08-03T11:38:51.542" v="553"/>
          <ac:spMkLst>
            <pc:docMk/>
            <pc:sldMk cId="3101556701" sldId="3261"/>
            <ac:spMk id="25" creationId="{A77F1D06-61A3-F7DD-37C6-9E6CD4041C20}"/>
          </ac:spMkLst>
        </pc:spChg>
        <pc:spChg chg="mod">
          <ac:chgData name="Khrystyna Yatsyna" userId="e6954dd7-6c9e-43c8-bd42-ff8c4ce5393f" providerId="ADAL" clId="{BBB5A732-C083-4ACD-876F-6FB9A2AAF4AA}" dt="2023-08-03T11:38:51.542" v="553"/>
          <ac:spMkLst>
            <pc:docMk/>
            <pc:sldMk cId="3101556701" sldId="3261"/>
            <ac:spMk id="27" creationId="{EBC653F4-D91C-CA2B-7CDD-8F938D4BBA8E}"/>
          </ac:spMkLst>
        </pc:spChg>
        <pc:spChg chg="mod">
          <ac:chgData name="Khrystyna Yatsyna" userId="e6954dd7-6c9e-43c8-bd42-ff8c4ce5393f" providerId="ADAL" clId="{BBB5A732-C083-4ACD-876F-6FB9A2AAF4AA}" dt="2023-08-03T11:38:51.542" v="553"/>
          <ac:spMkLst>
            <pc:docMk/>
            <pc:sldMk cId="3101556701" sldId="3261"/>
            <ac:spMk id="28" creationId="{DA7E1FCF-00EA-1768-CBB1-0C0FAD768D0B}"/>
          </ac:spMkLst>
        </pc:spChg>
        <pc:spChg chg="mod">
          <ac:chgData name="Khrystyna Yatsyna" userId="e6954dd7-6c9e-43c8-bd42-ff8c4ce5393f" providerId="ADAL" clId="{BBB5A732-C083-4ACD-876F-6FB9A2AAF4AA}" dt="2023-08-03T11:38:51.542" v="553"/>
          <ac:spMkLst>
            <pc:docMk/>
            <pc:sldMk cId="3101556701" sldId="3261"/>
            <ac:spMk id="29" creationId="{50BCE953-3981-CB9B-6109-51C8ECDD52BC}"/>
          </ac:spMkLst>
        </pc:spChg>
        <pc:spChg chg="del">
          <ac:chgData name="Khrystyna Yatsyna" userId="e6954dd7-6c9e-43c8-bd42-ff8c4ce5393f" providerId="ADAL" clId="{BBB5A732-C083-4ACD-876F-6FB9A2AAF4AA}" dt="2023-07-27T11:22:39.838" v="174" actId="478"/>
          <ac:spMkLst>
            <pc:docMk/>
            <pc:sldMk cId="3101556701" sldId="3261"/>
            <ac:spMk id="30" creationId="{9C129820-5ADD-D53C-13E4-DC334E3A5A89}"/>
          </ac:spMkLst>
        </pc:spChg>
        <pc:spChg chg="mod">
          <ac:chgData name="Khrystyna Yatsyna" userId="e6954dd7-6c9e-43c8-bd42-ff8c4ce5393f" providerId="ADAL" clId="{BBB5A732-C083-4ACD-876F-6FB9A2AAF4AA}" dt="2023-08-03T11:38:51.542" v="553"/>
          <ac:spMkLst>
            <pc:docMk/>
            <pc:sldMk cId="3101556701" sldId="3261"/>
            <ac:spMk id="30" creationId="{E60FC7BB-9645-6E05-1B8A-9927D9BFE457}"/>
          </ac:spMkLst>
        </pc:spChg>
        <pc:spChg chg="mod">
          <ac:chgData name="Khrystyna Yatsyna" userId="e6954dd7-6c9e-43c8-bd42-ff8c4ce5393f" providerId="ADAL" clId="{BBB5A732-C083-4ACD-876F-6FB9A2AAF4AA}" dt="2023-08-03T11:38:51.542" v="553"/>
          <ac:spMkLst>
            <pc:docMk/>
            <pc:sldMk cId="3101556701" sldId="3261"/>
            <ac:spMk id="31" creationId="{4DC9A13B-BC7E-0D6F-C789-3974E6E6F842}"/>
          </ac:spMkLst>
        </pc:spChg>
        <pc:spChg chg="add mod">
          <ac:chgData name="Khrystyna Yatsyna" userId="e6954dd7-6c9e-43c8-bd42-ff8c4ce5393f" providerId="ADAL" clId="{BBB5A732-C083-4ACD-876F-6FB9A2AAF4AA}" dt="2023-08-18T12:32:36.252" v="773" actId="108"/>
          <ac:spMkLst>
            <pc:docMk/>
            <pc:sldMk cId="3101556701" sldId="3261"/>
            <ac:spMk id="32" creationId="{53AD5B19-F0A2-14EC-7FF4-A829605087B6}"/>
          </ac:spMkLst>
        </pc:spChg>
        <pc:spChg chg="add mod">
          <ac:chgData name="Khrystyna Yatsyna" userId="e6954dd7-6c9e-43c8-bd42-ff8c4ce5393f" providerId="ADAL" clId="{BBB5A732-C083-4ACD-876F-6FB9A2AAF4AA}" dt="2023-08-18T12:32:37.262" v="774" actId="108"/>
          <ac:spMkLst>
            <pc:docMk/>
            <pc:sldMk cId="3101556701" sldId="3261"/>
            <ac:spMk id="34" creationId="{D70306E3-0C76-106A-D921-CBF39FB33FA9}"/>
          </ac:spMkLst>
        </pc:spChg>
        <pc:spChg chg="add mod">
          <ac:chgData name="Khrystyna Yatsyna" userId="e6954dd7-6c9e-43c8-bd42-ff8c4ce5393f" providerId="ADAL" clId="{BBB5A732-C083-4ACD-876F-6FB9A2AAF4AA}" dt="2023-08-18T12:32:38.303" v="775" actId="108"/>
          <ac:spMkLst>
            <pc:docMk/>
            <pc:sldMk cId="3101556701" sldId="3261"/>
            <ac:spMk id="36" creationId="{D65A46DD-5D85-3E5E-4D9F-E030183DE1F6}"/>
          </ac:spMkLst>
        </pc:spChg>
        <pc:spChg chg="add mod">
          <ac:chgData name="Khrystyna Yatsyna" userId="e6954dd7-6c9e-43c8-bd42-ff8c4ce5393f" providerId="ADAL" clId="{BBB5A732-C083-4ACD-876F-6FB9A2AAF4AA}" dt="2023-08-18T12:32:39.138" v="776" actId="108"/>
          <ac:spMkLst>
            <pc:docMk/>
            <pc:sldMk cId="3101556701" sldId="3261"/>
            <ac:spMk id="38" creationId="{5277148C-E936-CA77-DE55-E9729C959F23}"/>
          </ac:spMkLst>
        </pc:spChg>
        <pc:spChg chg="add mod">
          <ac:chgData name="Khrystyna Yatsyna" userId="e6954dd7-6c9e-43c8-bd42-ff8c4ce5393f" providerId="ADAL" clId="{BBB5A732-C083-4ACD-876F-6FB9A2AAF4AA}" dt="2023-08-18T12:32:40.161" v="777" actId="108"/>
          <ac:spMkLst>
            <pc:docMk/>
            <pc:sldMk cId="3101556701" sldId="3261"/>
            <ac:spMk id="40" creationId="{B2E85324-757C-ADCB-6FC9-9769CDD2A2E7}"/>
          </ac:spMkLst>
        </pc:spChg>
        <pc:spChg chg="add del mod">
          <ac:chgData name="Khrystyna Yatsyna" userId="e6954dd7-6c9e-43c8-bd42-ff8c4ce5393f" providerId="ADAL" clId="{BBB5A732-C083-4ACD-876F-6FB9A2AAF4AA}" dt="2023-08-03T13:21:03.783" v="602"/>
          <ac:spMkLst>
            <pc:docMk/>
            <pc:sldMk cId="3101556701" sldId="3261"/>
            <ac:spMk id="42" creationId="{6DA4C7D2-A477-EC60-2A94-685819A40856}"/>
          </ac:spMkLst>
        </pc:spChg>
        <pc:spChg chg="mod">
          <ac:chgData name="Khrystyna Yatsyna" userId="e6954dd7-6c9e-43c8-bd42-ff8c4ce5393f" providerId="ADAL" clId="{BBB5A732-C083-4ACD-876F-6FB9A2AAF4AA}" dt="2023-08-03T13:21:03.289" v="601"/>
          <ac:spMkLst>
            <pc:docMk/>
            <pc:sldMk cId="3101556701" sldId="3261"/>
            <ac:spMk id="44" creationId="{EFF0ED3C-99D5-02B3-70E8-D3E1E8F22F37}"/>
          </ac:spMkLst>
        </pc:spChg>
        <pc:spChg chg="mod">
          <ac:chgData name="Khrystyna Yatsyna" userId="e6954dd7-6c9e-43c8-bd42-ff8c4ce5393f" providerId="ADAL" clId="{BBB5A732-C083-4ACD-876F-6FB9A2AAF4AA}" dt="2023-08-03T13:21:03.289" v="601"/>
          <ac:spMkLst>
            <pc:docMk/>
            <pc:sldMk cId="3101556701" sldId="3261"/>
            <ac:spMk id="45" creationId="{397923CC-2069-6C82-DA06-C818BAB0B778}"/>
          </ac:spMkLst>
        </pc:spChg>
        <pc:spChg chg="del">
          <ac:chgData name="Khrystyna Yatsyna" userId="e6954dd7-6c9e-43c8-bd42-ff8c4ce5393f" providerId="ADAL" clId="{BBB5A732-C083-4ACD-876F-6FB9A2AAF4AA}" dt="2023-07-27T11:22:38.202" v="173" actId="478"/>
          <ac:spMkLst>
            <pc:docMk/>
            <pc:sldMk cId="3101556701" sldId="3261"/>
            <ac:spMk id="47" creationId="{B2FFC8BD-8B83-5CD8-F8FD-B8FEEC9E63EE}"/>
          </ac:spMkLst>
        </pc:spChg>
        <pc:spChg chg="mod">
          <ac:chgData name="Khrystyna Yatsyna" userId="e6954dd7-6c9e-43c8-bd42-ff8c4ce5393f" providerId="ADAL" clId="{BBB5A732-C083-4ACD-876F-6FB9A2AAF4AA}" dt="2023-08-03T13:21:03.289" v="601"/>
          <ac:spMkLst>
            <pc:docMk/>
            <pc:sldMk cId="3101556701" sldId="3261"/>
            <ac:spMk id="47" creationId="{E201114C-157E-D4BE-799F-B8288587F27E}"/>
          </ac:spMkLst>
        </pc:spChg>
        <pc:spChg chg="mod">
          <ac:chgData name="Khrystyna Yatsyna" userId="e6954dd7-6c9e-43c8-bd42-ff8c4ce5393f" providerId="ADAL" clId="{BBB5A732-C083-4ACD-876F-6FB9A2AAF4AA}" dt="2023-08-03T13:21:03.289" v="601"/>
          <ac:spMkLst>
            <pc:docMk/>
            <pc:sldMk cId="3101556701" sldId="3261"/>
            <ac:spMk id="48" creationId="{F752DAA5-88D7-A099-EC44-90FCE662D680}"/>
          </ac:spMkLst>
        </pc:spChg>
        <pc:spChg chg="mod">
          <ac:chgData name="Khrystyna Yatsyna" userId="e6954dd7-6c9e-43c8-bd42-ff8c4ce5393f" providerId="ADAL" clId="{BBB5A732-C083-4ACD-876F-6FB9A2AAF4AA}" dt="2023-08-03T13:21:03.289" v="601"/>
          <ac:spMkLst>
            <pc:docMk/>
            <pc:sldMk cId="3101556701" sldId="3261"/>
            <ac:spMk id="49" creationId="{DD92B836-14ED-3286-65F1-B4396EDA02BB}"/>
          </ac:spMkLst>
        </pc:spChg>
        <pc:spChg chg="mod">
          <ac:chgData name="Khrystyna Yatsyna" userId="e6954dd7-6c9e-43c8-bd42-ff8c4ce5393f" providerId="ADAL" clId="{BBB5A732-C083-4ACD-876F-6FB9A2AAF4AA}" dt="2023-08-03T13:21:03.289" v="601"/>
          <ac:spMkLst>
            <pc:docMk/>
            <pc:sldMk cId="3101556701" sldId="3261"/>
            <ac:spMk id="50" creationId="{C33CE986-E486-5016-E970-A902F6BD42AC}"/>
          </ac:spMkLst>
        </pc:spChg>
        <pc:spChg chg="add mod">
          <ac:chgData name="Khrystyna Yatsyna" userId="e6954dd7-6c9e-43c8-bd42-ff8c4ce5393f" providerId="ADAL" clId="{BBB5A732-C083-4ACD-876F-6FB9A2AAF4AA}" dt="2023-08-03T13:21:04.522" v="604"/>
          <ac:spMkLst>
            <pc:docMk/>
            <pc:sldMk cId="3101556701" sldId="3261"/>
            <ac:spMk id="51" creationId="{ABDE3BF0-49F7-9BF1-894A-C5669619CC46}"/>
          </ac:spMkLst>
        </pc:spChg>
        <pc:spChg chg="mod">
          <ac:chgData name="Khrystyna Yatsyna" userId="e6954dd7-6c9e-43c8-bd42-ff8c4ce5393f" providerId="ADAL" clId="{BBB5A732-C083-4ACD-876F-6FB9A2AAF4AA}" dt="2023-08-03T13:21:04.522" v="604"/>
          <ac:spMkLst>
            <pc:docMk/>
            <pc:sldMk cId="3101556701" sldId="3261"/>
            <ac:spMk id="55" creationId="{810CBB31-A20E-4A10-4381-325B1982BE6E}"/>
          </ac:spMkLst>
        </pc:spChg>
        <pc:spChg chg="mod">
          <ac:chgData name="Khrystyna Yatsyna" userId="e6954dd7-6c9e-43c8-bd42-ff8c4ce5393f" providerId="ADAL" clId="{BBB5A732-C083-4ACD-876F-6FB9A2AAF4AA}" dt="2023-08-03T13:21:04.522" v="604"/>
          <ac:spMkLst>
            <pc:docMk/>
            <pc:sldMk cId="3101556701" sldId="3261"/>
            <ac:spMk id="56" creationId="{5E2A3F0E-A079-4DF7-7B2D-7FADD6D5B50C}"/>
          </ac:spMkLst>
        </pc:spChg>
        <pc:spChg chg="mod">
          <ac:chgData name="Khrystyna Yatsyna" userId="e6954dd7-6c9e-43c8-bd42-ff8c4ce5393f" providerId="ADAL" clId="{BBB5A732-C083-4ACD-876F-6FB9A2AAF4AA}" dt="2023-08-03T13:21:04.522" v="604"/>
          <ac:spMkLst>
            <pc:docMk/>
            <pc:sldMk cId="3101556701" sldId="3261"/>
            <ac:spMk id="57" creationId="{073A2D0E-18A0-39B6-2CC2-3A7B62F7AE5E}"/>
          </ac:spMkLst>
        </pc:spChg>
        <pc:spChg chg="mod">
          <ac:chgData name="Khrystyna Yatsyna" userId="e6954dd7-6c9e-43c8-bd42-ff8c4ce5393f" providerId="ADAL" clId="{BBB5A732-C083-4ACD-876F-6FB9A2AAF4AA}" dt="2023-08-03T13:21:04.522" v="604"/>
          <ac:spMkLst>
            <pc:docMk/>
            <pc:sldMk cId="3101556701" sldId="3261"/>
            <ac:spMk id="60" creationId="{ABE0EA82-3F9B-3C79-48FF-372652FC1A1F}"/>
          </ac:spMkLst>
        </pc:spChg>
        <pc:spChg chg="mod">
          <ac:chgData name="Khrystyna Yatsyna" userId="e6954dd7-6c9e-43c8-bd42-ff8c4ce5393f" providerId="ADAL" clId="{BBB5A732-C083-4ACD-876F-6FB9A2AAF4AA}" dt="2023-08-03T13:21:04.522" v="604"/>
          <ac:spMkLst>
            <pc:docMk/>
            <pc:sldMk cId="3101556701" sldId="3261"/>
            <ac:spMk id="61" creationId="{AA80B768-DD18-E38D-3DFD-F690CEB3C27D}"/>
          </ac:spMkLst>
        </pc:spChg>
        <pc:spChg chg="mod">
          <ac:chgData name="Khrystyna Yatsyna" userId="e6954dd7-6c9e-43c8-bd42-ff8c4ce5393f" providerId="ADAL" clId="{BBB5A732-C083-4ACD-876F-6FB9A2AAF4AA}" dt="2023-07-27T11:24:28.063" v="243" actId="1036"/>
          <ac:spMkLst>
            <pc:docMk/>
            <pc:sldMk cId="3101556701" sldId="3261"/>
            <ac:spMk id="62" creationId="{B6C26415-AD42-DE53-D888-4832144596AC}"/>
          </ac:spMkLst>
        </pc:spChg>
        <pc:spChg chg="mod">
          <ac:chgData name="Khrystyna Yatsyna" userId="e6954dd7-6c9e-43c8-bd42-ff8c4ce5393f" providerId="ADAL" clId="{BBB5A732-C083-4ACD-876F-6FB9A2AAF4AA}" dt="2023-07-27T11:24:28.063" v="243" actId="1036"/>
          <ac:spMkLst>
            <pc:docMk/>
            <pc:sldMk cId="3101556701" sldId="3261"/>
            <ac:spMk id="63" creationId="{5186FBC6-6407-5FF6-A204-D9B01EF0010B}"/>
          </ac:spMkLst>
        </pc:spChg>
        <pc:spChg chg="mod">
          <ac:chgData name="Khrystyna Yatsyna" userId="e6954dd7-6c9e-43c8-bd42-ff8c4ce5393f" providerId="ADAL" clId="{BBB5A732-C083-4ACD-876F-6FB9A2AAF4AA}" dt="2023-08-03T13:21:04.522" v="604"/>
          <ac:spMkLst>
            <pc:docMk/>
            <pc:sldMk cId="3101556701" sldId="3261"/>
            <ac:spMk id="64" creationId="{9CE57CC9-9EF2-451C-07CD-515A11F13DC7}"/>
          </ac:spMkLst>
        </pc:spChg>
        <pc:spChg chg="mod">
          <ac:chgData name="Khrystyna Yatsyna" userId="e6954dd7-6c9e-43c8-bd42-ff8c4ce5393f" providerId="ADAL" clId="{BBB5A732-C083-4ACD-876F-6FB9A2AAF4AA}" dt="2023-07-27T11:24:28.063" v="243" actId="1036"/>
          <ac:spMkLst>
            <pc:docMk/>
            <pc:sldMk cId="3101556701" sldId="3261"/>
            <ac:spMk id="96" creationId="{2C983CB4-02D6-1CDE-8FFA-52FFFE4C9A9E}"/>
          </ac:spMkLst>
        </pc:spChg>
        <pc:spChg chg="del">
          <ac:chgData name="Khrystyna Yatsyna" userId="e6954dd7-6c9e-43c8-bd42-ff8c4ce5393f" providerId="ADAL" clId="{BBB5A732-C083-4ACD-876F-6FB9A2AAF4AA}" dt="2023-08-03T11:38:51.306" v="552" actId="478"/>
          <ac:spMkLst>
            <pc:docMk/>
            <pc:sldMk cId="3101556701" sldId="3261"/>
            <ac:spMk id="101" creationId="{E4EAB2CC-22C0-5975-FDC6-2D9610BE0A72}"/>
          </ac:spMkLst>
        </pc:spChg>
        <pc:spChg chg="del">
          <ac:chgData name="Khrystyna Yatsyna" userId="e6954dd7-6c9e-43c8-bd42-ff8c4ce5393f" providerId="ADAL" clId="{BBB5A732-C083-4ACD-876F-6FB9A2AAF4AA}" dt="2023-08-03T11:38:51.306" v="552" actId="478"/>
          <ac:spMkLst>
            <pc:docMk/>
            <pc:sldMk cId="3101556701" sldId="3261"/>
            <ac:spMk id="103" creationId="{360ABE95-ADE7-23A8-437D-956C28A6CCFA}"/>
          </ac:spMkLst>
        </pc:spChg>
        <pc:spChg chg="del">
          <ac:chgData name="Khrystyna Yatsyna" userId="e6954dd7-6c9e-43c8-bd42-ff8c4ce5393f" providerId="ADAL" clId="{BBB5A732-C083-4ACD-876F-6FB9A2AAF4AA}" dt="2023-08-03T11:38:51.306" v="552" actId="478"/>
          <ac:spMkLst>
            <pc:docMk/>
            <pc:sldMk cId="3101556701" sldId="3261"/>
            <ac:spMk id="111" creationId="{E096922C-C069-D178-3037-06BC546146D1}"/>
          </ac:spMkLst>
        </pc:spChg>
        <pc:spChg chg="del">
          <ac:chgData name="Khrystyna Yatsyna" userId="e6954dd7-6c9e-43c8-bd42-ff8c4ce5393f" providerId="ADAL" clId="{BBB5A732-C083-4ACD-876F-6FB9A2AAF4AA}" dt="2023-08-03T11:38:51.306" v="552" actId="478"/>
          <ac:spMkLst>
            <pc:docMk/>
            <pc:sldMk cId="3101556701" sldId="3261"/>
            <ac:spMk id="113" creationId="{251A55F6-F09E-BC52-CFE8-4376AA962470}"/>
          </ac:spMkLst>
        </pc:spChg>
        <pc:spChg chg="del">
          <ac:chgData name="Khrystyna Yatsyna" userId="e6954dd7-6c9e-43c8-bd42-ff8c4ce5393f" providerId="ADAL" clId="{BBB5A732-C083-4ACD-876F-6FB9A2AAF4AA}" dt="2023-08-03T11:38:51.306" v="552" actId="478"/>
          <ac:spMkLst>
            <pc:docMk/>
            <pc:sldMk cId="3101556701" sldId="3261"/>
            <ac:spMk id="115" creationId="{3F7D117D-38A2-7EA6-E46B-F5CEFAD7B572}"/>
          </ac:spMkLst>
        </pc:spChg>
        <pc:spChg chg="del">
          <ac:chgData name="Khrystyna Yatsyna" userId="e6954dd7-6c9e-43c8-bd42-ff8c4ce5393f" providerId="ADAL" clId="{BBB5A732-C083-4ACD-876F-6FB9A2AAF4AA}" dt="2023-08-03T11:38:51.306" v="552" actId="478"/>
          <ac:spMkLst>
            <pc:docMk/>
            <pc:sldMk cId="3101556701" sldId="3261"/>
            <ac:spMk id="117" creationId="{E1082A78-9B49-95F0-2B38-FAEBF934C6AC}"/>
          </ac:spMkLst>
        </pc:spChg>
        <pc:spChg chg="del">
          <ac:chgData name="Khrystyna Yatsyna" userId="e6954dd7-6c9e-43c8-bd42-ff8c4ce5393f" providerId="ADAL" clId="{BBB5A732-C083-4ACD-876F-6FB9A2AAF4AA}" dt="2023-08-03T11:38:51.306" v="552" actId="478"/>
          <ac:spMkLst>
            <pc:docMk/>
            <pc:sldMk cId="3101556701" sldId="3261"/>
            <ac:spMk id="119" creationId="{F7CAFE6D-7549-7A68-EE59-B4897720AC3A}"/>
          </ac:spMkLst>
        </pc:spChg>
        <pc:grpChg chg="add del mod">
          <ac:chgData name="Khrystyna Yatsyna" userId="e6954dd7-6c9e-43c8-bd42-ff8c4ce5393f" providerId="ADAL" clId="{BBB5A732-C083-4ACD-876F-6FB9A2AAF4AA}" dt="2023-08-03T13:21:04.317" v="603" actId="478"/>
          <ac:grpSpMkLst>
            <pc:docMk/>
            <pc:sldMk cId="3101556701" sldId="3261"/>
            <ac:grpSpMk id="23" creationId="{53691B42-0C7A-14F7-B4E6-E0FF94FB6230}"/>
          </ac:grpSpMkLst>
        </pc:grpChg>
        <pc:grpChg chg="add del mod">
          <ac:chgData name="Khrystyna Yatsyna" userId="e6954dd7-6c9e-43c8-bd42-ff8c4ce5393f" providerId="ADAL" clId="{BBB5A732-C083-4ACD-876F-6FB9A2AAF4AA}" dt="2023-08-03T13:21:03.783" v="602"/>
          <ac:grpSpMkLst>
            <pc:docMk/>
            <pc:sldMk cId="3101556701" sldId="3261"/>
            <ac:grpSpMk id="43" creationId="{50B4ED0F-A62B-6EB4-8EBB-D0F060554257}"/>
          </ac:grpSpMkLst>
        </pc:grpChg>
        <pc:grpChg chg="mod">
          <ac:chgData name="Khrystyna Yatsyna" userId="e6954dd7-6c9e-43c8-bd42-ff8c4ce5393f" providerId="ADAL" clId="{BBB5A732-C083-4ACD-876F-6FB9A2AAF4AA}" dt="2023-07-27T11:24:28.063" v="243" actId="1036"/>
          <ac:grpSpMkLst>
            <pc:docMk/>
            <pc:sldMk cId="3101556701" sldId="3261"/>
            <ac:grpSpMk id="53" creationId="{0E9047D4-64A6-D243-3960-78631EF4E635}"/>
          </ac:grpSpMkLst>
        </pc:grpChg>
        <pc:grpChg chg="add mod">
          <ac:chgData name="Khrystyna Yatsyna" userId="e6954dd7-6c9e-43c8-bd42-ff8c4ce5393f" providerId="ADAL" clId="{BBB5A732-C083-4ACD-876F-6FB9A2AAF4AA}" dt="2023-08-03T13:21:04.522" v="604"/>
          <ac:grpSpMkLst>
            <pc:docMk/>
            <pc:sldMk cId="3101556701" sldId="3261"/>
            <ac:grpSpMk id="54" creationId="{90B7FA93-627A-5AA5-AA5C-4A81EB638F2E}"/>
          </ac:grpSpMkLst>
        </pc:grpChg>
        <pc:grpChg chg="mod">
          <ac:chgData name="Khrystyna Yatsyna" userId="e6954dd7-6c9e-43c8-bd42-ff8c4ce5393f" providerId="ADAL" clId="{BBB5A732-C083-4ACD-876F-6FB9A2AAF4AA}" dt="2023-07-27T11:24:28.063" v="243" actId="1036"/>
          <ac:grpSpMkLst>
            <pc:docMk/>
            <pc:sldMk cId="3101556701" sldId="3261"/>
            <ac:grpSpMk id="79" creationId="{06DF3EFE-E41D-D759-2F1B-56DDBBE49136}"/>
          </ac:grpSpMkLst>
        </pc:grpChg>
        <pc:grpChg chg="mod">
          <ac:chgData name="Khrystyna Yatsyna" userId="e6954dd7-6c9e-43c8-bd42-ff8c4ce5393f" providerId="ADAL" clId="{BBB5A732-C083-4ACD-876F-6FB9A2AAF4AA}" dt="2023-07-27T11:24:28.063" v="243" actId="1036"/>
          <ac:grpSpMkLst>
            <pc:docMk/>
            <pc:sldMk cId="3101556701" sldId="3261"/>
            <ac:grpSpMk id="82" creationId="{E3969408-E9E7-9A85-AABB-393FF05436E3}"/>
          </ac:grpSpMkLst>
        </pc:grpChg>
        <pc:grpChg chg="mod">
          <ac:chgData name="Khrystyna Yatsyna" userId="e6954dd7-6c9e-43c8-bd42-ff8c4ce5393f" providerId="ADAL" clId="{BBB5A732-C083-4ACD-876F-6FB9A2AAF4AA}" dt="2023-07-27T11:24:28.063" v="243" actId="1036"/>
          <ac:grpSpMkLst>
            <pc:docMk/>
            <pc:sldMk cId="3101556701" sldId="3261"/>
            <ac:grpSpMk id="85" creationId="{0C743DE6-977E-DEFE-34CF-CA209CD9ABA5}"/>
          </ac:grpSpMkLst>
        </pc:grpChg>
        <pc:grpChg chg="mod">
          <ac:chgData name="Khrystyna Yatsyna" userId="e6954dd7-6c9e-43c8-bd42-ff8c4ce5393f" providerId="ADAL" clId="{BBB5A732-C083-4ACD-876F-6FB9A2AAF4AA}" dt="2023-07-27T11:24:28.063" v="243" actId="1036"/>
          <ac:grpSpMkLst>
            <pc:docMk/>
            <pc:sldMk cId="3101556701" sldId="3261"/>
            <ac:grpSpMk id="100" creationId="{EAAC1BD4-1A9F-26F1-8806-014DB01D314B}"/>
          </ac:grpSpMkLst>
        </pc:grpChg>
        <pc:grpChg chg="del">
          <ac:chgData name="Khrystyna Yatsyna" userId="e6954dd7-6c9e-43c8-bd42-ff8c4ce5393f" providerId="ADAL" clId="{BBB5A732-C083-4ACD-876F-6FB9A2AAF4AA}" dt="2023-08-03T11:38:51.306" v="552" actId="478"/>
          <ac:grpSpMkLst>
            <pc:docMk/>
            <pc:sldMk cId="3101556701" sldId="3261"/>
            <ac:grpSpMk id="104" creationId="{F2F7E2F6-C75D-8E5C-420B-70F10BB7740D}"/>
          </ac:grpSpMkLst>
        </pc:grpChg>
        <pc:picChg chg="add mod">
          <ac:chgData name="Khrystyna Yatsyna" userId="e6954dd7-6c9e-43c8-bd42-ff8c4ce5393f" providerId="ADAL" clId="{BBB5A732-C083-4ACD-876F-6FB9A2AAF4AA}" dt="2023-08-03T11:38:51.542" v="553"/>
          <ac:picMkLst>
            <pc:docMk/>
            <pc:sldMk cId="3101556701" sldId="3261"/>
            <ac:picMk id="12" creationId="{CA02A7E5-6AEA-3BB6-1F75-F233EC6446FC}"/>
          </ac:picMkLst>
        </pc:picChg>
        <pc:picChg chg="add mod">
          <ac:chgData name="Khrystyna Yatsyna" userId="e6954dd7-6c9e-43c8-bd42-ff8c4ce5393f" providerId="ADAL" clId="{BBB5A732-C083-4ACD-876F-6FB9A2AAF4AA}" dt="2023-08-03T11:38:51.542" v="553"/>
          <ac:picMkLst>
            <pc:docMk/>
            <pc:sldMk cId="3101556701" sldId="3261"/>
            <ac:picMk id="33" creationId="{D4350B89-9376-0BA6-09B5-D30F9D16ED81}"/>
          </ac:picMkLst>
        </pc:picChg>
        <pc:picChg chg="add mod">
          <ac:chgData name="Khrystyna Yatsyna" userId="e6954dd7-6c9e-43c8-bd42-ff8c4ce5393f" providerId="ADAL" clId="{BBB5A732-C083-4ACD-876F-6FB9A2AAF4AA}" dt="2023-08-03T11:38:51.542" v="553"/>
          <ac:picMkLst>
            <pc:docMk/>
            <pc:sldMk cId="3101556701" sldId="3261"/>
            <ac:picMk id="35" creationId="{F86CA433-A48A-CE41-E68E-9E9967C0F376}"/>
          </ac:picMkLst>
        </pc:picChg>
        <pc:picChg chg="add mod">
          <ac:chgData name="Khrystyna Yatsyna" userId="e6954dd7-6c9e-43c8-bd42-ff8c4ce5393f" providerId="ADAL" clId="{BBB5A732-C083-4ACD-876F-6FB9A2AAF4AA}" dt="2023-08-03T11:38:51.542" v="553"/>
          <ac:picMkLst>
            <pc:docMk/>
            <pc:sldMk cId="3101556701" sldId="3261"/>
            <ac:picMk id="37" creationId="{4F3B6C67-0C35-2FEC-CCB0-C9AB990DC52E}"/>
          </ac:picMkLst>
        </pc:picChg>
        <pc:picChg chg="add mod">
          <ac:chgData name="Khrystyna Yatsyna" userId="e6954dd7-6c9e-43c8-bd42-ff8c4ce5393f" providerId="ADAL" clId="{BBB5A732-C083-4ACD-876F-6FB9A2AAF4AA}" dt="2023-08-03T11:38:51.542" v="553"/>
          <ac:picMkLst>
            <pc:docMk/>
            <pc:sldMk cId="3101556701" sldId="3261"/>
            <ac:picMk id="39" creationId="{F1C844BD-4906-A19E-52E8-920BC6ACCE07}"/>
          </ac:picMkLst>
        </pc:picChg>
        <pc:picChg chg="add mod">
          <ac:chgData name="Khrystyna Yatsyna" userId="e6954dd7-6c9e-43c8-bd42-ff8c4ce5393f" providerId="ADAL" clId="{BBB5A732-C083-4ACD-876F-6FB9A2AAF4AA}" dt="2023-08-03T11:38:51.542" v="553"/>
          <ac:picMkLst>
            <pc:docMk/>
            <pc:sldMk cId="3101556701" sldId="3261"/>
            <ac:picMk id="41" creationId="{81CFFD74-30FD-4E9D-692B-9E94802449D0}"/>
          </ac:picMkLst>
        </pc:picChg>
        <pc:picChg chg="mod">
          <ac:chgData name="Khrystyna Yatsyna" userId="e6954dd7-6c9e-43c8-bd42-ff8c4ce5393f" providerId="ADAL" clId="{BBB5A732-C083-4ACD-876F-6FB9A2AAF4AA}" dt="2023-07-27T11:24:28.063" v="243" actId="1036"/>
          <ac:picMkLst>
            <pc:docMk/>
            <pc:sldMk cId="3101556701" sldId="3261"/>
            <ac:picMk id="46" creationId="{6FD8365B-07AF-1704-8223-52DB3CE70C48}"/>
          </ac:picMkLst>
        </pc:picChg>
        <pc:picChg chg="mod">
          <ac:chgData name="Khrystyna Yatsyna" userId="e6954dd7-6c9e-43c8-bd42-ff8c4ce5393f" providerId="ADAL" clId="{BBB5A732-C083-4ACD-876F-6FB9A2AAF4AA}" dt="2023-07-27T11:24:28.063" v="243" actId="1036"/>
          <ac:picMkLst>
            <pc:docMk/>
            <pc:sldMk cId="3101556701" sldId="3261"/>
            <ac:picMk id="52" creationId="{6F35DC43-EADF-D856-95E2-AC36735CC9D8}"/>
          </ac:picMkLst>
        </pc:picChg>
        <pc:picChg chg="mod">
          <ac:chgData name="Khrystyna Yatsyna" userId="e6954dd7-6c9e-43c8-bd42-ff8c4ce5393f" providerId="ADAL" clId="{BBB5A732-C083-4ACD-876F-6FB9A2AAF4AA}" dt="2023-07-27T11:24:28.063" v="243" actId="1036"/>
          <ac:picMkLst>
            <pc:docMk/>
            <pc:sldMk cId="3101556701" sldId="3261"/>
            <ac:picMk id="68" creationId="{593CAF55-D00F-40B1-1ACC-AF9EBF429ABD}"/>
          </ac:picMkLst>
        </pc:picChg>
        <pc:picChg chg="del">
          <ac:chgData name="Khrystyna Yatsyna" userId="e6954dd7-6c9e-43c8-bd42-ff8c4ce5393f" providerId="ADAL" clId="{BBB5A732-C083-4ACD-876F-6FB9A2AAF4AA}" dt="2023-08-03T11:38:51.306" v="552" actId="478"/>
          <ac:picMkLst>
            <pc:docMk/>
            <pc:sldMk cId="3101556701" sldId="3261"/>
            <ac:picMk id="102" creationId="{A2B2AA53-45F8-4989-CB0D-C6B89FF95F5D}"/>
          </ac:picMkLst>
        </pc:picChg>
        <pc:picChg chg="del">
          <ac:chgData name="Khrystyna Yatsyna" userId="e6954dd7-6c9e-43c8-bd42-ff8c4ce5393f" providerId="ADAL" clId="{BBB5A732-C083-4ACD-876F-6FB9A2AAF4AA}" dt="2023-08-03T11:38:51.306" v="552" actId="478"/>
          <ac:picMkLst>
            <pc:docMk/>
            <pc:sldMk cId="3101556701" sldId="3261"/>
            <ac:picMk id="112" creationId="{BE98E78A-52D8-4140-084B-95138D1D1260}"/>
          </ac:picMkLst>
        </pc:picChg>
        <pc:picChg chg="del">
          <ac:chgData name="Khrystyna Yatsyna" userId="e6954dd7-6c9e-43c8-bd42-ff8c4ce5393f" providerId="ADAL" clId="{BBB5A732-C083-4ACD-876F-6FB9A2AAF4AA}" dt="2023-08-03T11:38:51.306" v="552" actId="478"/>
          <ac:picMkLst>
            <pc:docMk/>
            <pc:sldMk cId="3101556701" sldId="3261"/>
            <ac:picMk id="114" creationId="{AC59048B-2411-1BB3-0F3B-5E534E320BBD}"/>
          </ac:picMkLst>
        </pc:picChg>
        <pc:picChg chg="del">
          <ac:chgData name="Khrystyna Yatsyna" userId="e6954dd7-6c9e-43c8-bd42-ff8c4ce5393f" providerId="ADAL" clId="{BBB5A732-C083-4ACD-876F-6FB9A2AAF4AA}" dt="2023-08-03T11:38:51.306" v="552" actId="478"/>
          <ac:picMkLst>
            <pc:docMk/>
            <pc:sldMk cId="3101556701" sldId="3261"/>
            <ac:picMk id="116" creationId="{82D87688-C6F3-AC5C-2A48-351989754065}"/>
          </ac:picMkLst>
        </pc:picChg>
        <pc:picChg chg="del">
          <ac:chgData name="Khrystyna Yatsyna" userId="e6954dd7-6c9e-43c8-bd42-ff8c4ce5393f" providerId="ADAL" clId="{BBB5A732-C083-4ACD-876F-6FB9A2AAF4AA}" dt="2023-08-03T11:38:51.306" v="552" actId="478"/>
          <ac:picMkLst>
            <pc:docMk/>
            <pc:sldMk cId="3101556701" sldId="3261"/>
            <ac:picMk id="118" creationId="{1FF12892-4CC8-51D1-0569-F13F72DC202B}"/>
          </ac:picMkLst>
        </pc:picChg>
        <pc:picChg chg="del">
          <ac:chgData name="Khrystyna Yatsyna" userId="e6954dd7-6c9e-43c8-bd42-ff8c4ce5393f" providerId="ADAL" clId="{BBB5A732-C083-4ACD-876F-6FB9A2AAF4AA}" dt="2023-08-03T11:38:51.306" v="552" actId="478"/>
          <ac:picMkLst>
            <pc:docMk/>
            <pc:sldMk cId="3101556701" sldId="3261"/>
            <ac:picMk id="120" creationId="{78D948F6-A1A8-0428-6008-D920A25B1CA8}"/>
          </ac:picMkLst>
        </pc:picChg>
      </pc:sldChg>
      <pc:sldChg chg="addSp modSp mod">
        <pc:chgData name="Khrystyna Yatsyna" userId="e6954dd7-6c9e-43c8-bd42-ff8c4ce5393f" providerId="ADAL" clId="{BBB5A732-C083-4ACD-876F-6FB9A2AAF4AA}" dt="2023-08-18T12:29:26.551" v="652" actId="108"/>
        <pc:sldMkLst>
          <pc:docMk/>
          <pc:sldMk cId="3166406643" sldId="3262"/>
        </pc:sldMkLst>
        <pc:spChg chg="add mod">
          <ac:chgData name="Khrystyna Yatsyna" userId="e6954dd7-6c9e-43c8-bd42-ff8c4ce5393f" providerId="ADAL" clId="{BBB5A732-C083-4ACD-876F-6FB9A2AAF4AA}" dt="2023-07-27T11:19:11.904" v="82" actId="1076"/>
          <ac:spMkLst>
            <pc:docMk/>
            <pc:sldMk cId="3166406643" sldId="3262"/>
            <ac:spMk id="5" creationId="{EE579F7F-F319-4CE0-A277-007C95EAA56C}"/>
          </ac:spMkLst>
        </pc:spChg>
        <pc:spChg chg="mod">
          <ac:chgData name="Khrystyna Yatsyna" userId="e6954dd7-6c9e-43c8-bd42-ff8c4ce5393f" providerId="ADAL" clId="{BBB5A732-C083-4ACD-876F-6FB9A2AAF4AA}" dt="2023-08-03T11:20:55.609" v="332" actId="3626"/>
          <ac:spMkLst>
            <pc:docMk/>
            <pc:sldMk cId="3166406643" sldId="3262"/>
            <ac:spMk id="81" creationId="{F2C5EFB2-59FF-4789-8BB4-9B0AE85078FC}"/>
          </ac:spMkLst>
        </pc:spChg>
        <pc:spChg chg="mod">
          <ac:chgData name="Khrystyna Yatsyna" userId="e6954dd7-6c9e-43c8-bd42-ff8c4ce5393f" providerId="ADAL" clId="{BBB5A732-C083-4ACD-876F-6FB9A2AAF4AA}" dt="2023-08-03T13:19:07.143" v="556" actId="3626"/>
          <ac:spMkLst>
            <pc:docMk/>
            <pc:sldMk cId="3166406643" sldId="3262"/>
            <ac:spMk id="83" creationId="{F1BDD00B-32CD-5C30-0FF1-41AE48829CB6}"/>
          </ac:spMkLst>
        </pc:spChg>
        <pc:spChg chg="mod">
          <ac:chgData name="Khrystyna Yatsyna" userId="e6954dd7-6c9e-43c8-bd42-ff8c4ce5393f" providerId="ADAL" clId="{BBB5A732-C083-4ACD-876F-6FB9A2AAF4AA}" dt="2023-08-03T13:19:09.476" v="557" actId="3626"/>
          <ac:spMkLst>
            <pc:docMk/>
            <pc:sldMk cId="3166406643" sldId="3262"/>
            <ac:spMk id="84" creationId="{95AA0F62-94CF-2867-6BBB-23B4E18A32AF}"/>
          </ac:spMkLst>
        </pc:spChg>
        <pc:spChg chg="mod">
          <ac:chgData name="Khrystyna Yatsyna" userId="e6954dd7-6c9e-43c8-bd42-ff8c4ce5393f" providerId="ADAL" clId="{BBB5A732-C083-4ACD-876F-6FB9A2AAF4AA}" dt="2023-08-03T13:19:24.221" v="559" actId="3626"/>
          <ac:spMkLst>
            <pc:docMk/>
            <pc:sldMk cId="3166406643" sldId="3262"/>
            <ac:spMk id="86" creationId="{C4CF7008-1AF7-526F-B6C0-DF5C5490CDC7}"/>
          </ac:spMkLst>
        </pc:spChg>
        <pc:spChg chg="mod">
          <ac:chgData name="Khrystyna Yatsyna" userId="e6954dd7-6c9e-43c8-bd42-ff8c4ce5393f" providerId="ADAL" clId="{BBB5A732-C083-4ACD-876F-6FB9A2AAF4AA}" dt="2023-08-03T13:19:19.848" v="558" actId="3626"/>
          <ac:spMkLst>
            <pc:docMk/>
            <pc:sldMk cId="3166406643" sldId="3262"/>
            <ac:spMk id="87" creationId="{81FD8A41-0571-979E-CB41-8E618E5A699E}"/>
          </ac:spMkLst>
        </pc:spChg>
        <pc:spChg chg="mod">
          <ac:chgData name="Khrystyna Yatsyna" userId="e6954dd7-6c9e-43c8-bd42-ff8c4ce5393f" providerId="ADAL" clId="{BBB5A732-C083-4ACD-876F-6FB9A2AAF4AA}" dt="2023-08-18T12:29:21.334" v="648" actId="108"/>
          <ac:spMkLst>
            <pc:docMk/>
            <pc:sldMk cId="3166406643" sldId="3262"/>
            <ac:spMk id="90" creationId="{5DDD5688-8034-577F-C00D-C8C5A79607B0}"/>
          </ac:spMkLst>
        </pc:spChg>
        <pc:spChg chg="mod">
          <ac:chgData name="Khrystyna Yatsyna" userId="e6954dd7-6c9e-43c8-bd42-ff8c4ce5393f" providerId="ADAL" clId="{BBB5A732-C083-4ACD-876F-6FB9A2AAF4AA}" dt="2023-08-18T12:29:22.346" v="649" actId="108"/>
          <ac:spMkLst>
            <pc:docMk/>
            <pc:sldMk cId="3166406643" sldId="3262"/>
            <ac:spMk id="92" creationId="{85F83F3F-569E-6487-2B39-026E966BA8E5}"/>
          </ac:spMkLst>
        </pc:spChg>
        <pc:spChg chg="mod">
          <ac:chgData name="Khrystyna Yatsyna" userId="e6954dd7-6c9e-43c8-bd42-ff8c4ce5393f" providerId="ADAL" clId="{BBB5A732-C083-4ACD-876F-6FB9A2AAF4AA}" dt="2023-08-18T12:29:26.551" v="652" actId="108"/>
          <ac:spMkLst>
            <pc:docMk/>
            <pc:sldMk cId="3166406643" sldId="3262"/>
            <ac:spMk id="93" creationId="{7D737B88-6C2F-90F3-3503-834A84C6C478}"/>
          </ac:spMkLst>
        </pc:spChg>
        <pc:spChg chg="mod">
          <ac:chgData name="Khrystyna Yatsyna" userId="e6954dd7-6c9e-43c8-bd42-ff8c4ce5393f" providerId="ADAL" clId="{BBB5A732-C083-4ACD-876F-6FB9A2AAF4AA}" dt="2023-08-18T12:29:23.968" v="650" actId="108"/>
          <ac:spMkLst>
            <pc:docMk/>
            <pc:sldMk cId="3166406643" sldId="3262"/>
            <ac:spMk id="94" creationId="{800761FB-8197-AA07-F61B-AB704C76DE55}"/>
          </ac:spMkLst>
        </pc:spChg>
        <pc:spChg chg="mod">
          <ac:chgData name="Khrystyna Yatsyna" userId="e6954dd7-6c9e-43c8-bd42-ff8c4ce5393f" providerId="ADAL" clId="{BBB5A732-C083-4ACD-876F-6FB9A2AAF4AA}" dt="2023-08-18T12:29:25.059" v="651" actId="108"/>
          <ac:spMkLst>
            <pc:docMk/>
            <pc:sldMk cId="3166406643" sldId="3262"/>
            <ac:spMk id="96" creationId="{7E9A0C41-4EE2-E50B-E4F7-273E85F416BF}"/>
          </ac:spMkLst>
        </pc:spChg>
        <pc:spChg chg="mod">
          <ac:chgData name="Khrystyna Yatsyna" userId="e6954dd7-6c9e-43c8-bd42-ff8c4ce5393f" providerId="ADAL" clId="{BBB5A732-C083-4ACD-876F-6FB9A2AAF4AA}" dt="2023-08-18T12:29:20.215" v="647" actId="108"/>
          <ac:spMkLst>
            <pc:docMk/>
            <pc:sldMk cId="3166406643" sldId="3262"/>
            <ac:spMk id="101" creationId="{33C3EFDD-219A-9A8B-1B6F-5859E467ED19}"/>
          </ac:spMkLst>
        </pc:spChg>
        <pc:picChg chg="mod">
          <ac:chgData name="Khrystyna Yatsyna" userId="e6954dd7-6c9e-43c8-bd42-ff8c4ce5393f" providerId="ADAL" clId="{BBB5A732-C083-4ACD-876F-6FB9A2AAF4AA}" dt="2023-08-03T11:21:07.128" v="336" actId="3626"/>
          <ac:picMkLst>
            <pc:docMk/>
            <pc:sldMk cId="3166406643" sldId="3262"/>
            <ac:picMk id="95" creationId="{898745E2-237A-90A6-3A4A-438F198C3D93}"/>
          </ac:picMkLst>
        </pc:picChg>
        <pc:picChg chg="mod">
          <ac:chgData name="Khrystyna Yatsyna" userId="e6954dd7-6c9e-43c8-bd42-ff8c4ce5393f" providerId="ADAL" clId="{BBB5A732-C083-4ACD-876F-6FB9A2AAF4AA}" dt="2023-08-03T11:21:20.472" v="342" actId="3626"/>
          <ac:picMkLst>
            <pc:docMk/>
            <pc:sldMk cId="3166406643" sldId="3262"/>
            <ac:picMk id="97" creationId="{EDC92B46-5232-C0A0-0979-B0D0260E9344}"/>
          </ac:picMkLst>
        </pc:picChg>
        <pc:picChg chg="mod">
          <ac:chgData name="Khrystyna Yatsyna" userId="e6954dd7-6c9e-43c8-bd42-ff8c4ce5393f" providerId="ADAL" clId="{BBB5A732-C083-4ACD-876F-6FB9A2AAF4AA}" dt="2023-08-03T11:21:16.438" v="340" actId="3626"/>
          <ac:picMkLst>
            <pc:docMk/>
            <pc:sldMk cId="3166406643" sldId="3262"/>
            <ac:picMk id="98" creationId="{1CDDF732-4E2E-B8D3-B447-3926E4153079}"/>
          </ac:picMkLst>
        </pc:picChg>
        <pc:picChg chg="mod">
          <ac:chgData name="Khrystyna Yatsyna" userId="e6954dd7-6c9e-43c8-bd42-ff8c4ce5393f" providerId="ADAL" clId="{BBB5A732-C083-4ACD-876F-6FB9A2AAF4AA}" dt="2023-08-03T11:21:11.979" v="338" actId="3626"/>
          <ac:picMkLst>
            <pc:docMk/>
            <pc:sldMk cId="3166406643" sldId="3262"/>
            <ac:picMk id="99" creationId="{BE2ECB7E-DB55-7F38-208F-977760141231}"/>
          </ac:picMkLst>
        </pc:picChg>
        <pc:picChg chg="mod">
          <ac:chgData name="Khrystyna Yatsyna" userId="e6954dd7-6c9e-43c8-bd42-ff8c4ce5393f" providerId="ADAL" clId="{BBB5A732-C083-4ACD-876F-6FB9A2AAF4AA}" dt="2023-08-03T11:21:24.255" v="344" actId="3626"/>
          <ac:picMkLst>
            <pc:docMk/>
            <pc:sldMk cId="3166406643" sldId="3262"/>
            <ac:picMk id="100" creationId="{ED8E6773-D69C-DC47-0EA8-06BA0BC04EFD}"/>
          </ac:picMkLst>
        </pc:picChg>
        <pc:picChg chg="mod">
          <ac:chgData name="Khrystyna Yatsyna" userId="e6954dd7-6c9e-43c8-bd42-ff8c4ce5393f" providerId="ADAL" clId="{BBB5A732-C083-4ACD-876F-6FB9A2AAF4AA}" dt="2023-08-03T11:21:02.874" v="334" actId="3626"/>
          <ac:picMkLst>
            <pc:docMk/>
            <pc:sldMk cId="3166406643" sldId="3262"/>
            <ac:picMk id="102" creationId="{F53AE46B-4561-4695-0A3B-53E63884B0CF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2:32.149" v="771" actId="108"/>
        <pc:sldMkLst>
          <pc:docMk/>
          <pc:sldMk cId="2177188782" sldId="3263"/>
        </pc:sldMkLst>
        <pc:spChg chg="mod">
          <ac:chgData name="Khrystyna Yatsyna" userId="e6954dd7-6c9e-43c8-bd42-ff8c4ce5393f" providerId="ADAL" clId="{BBB5A732-C083-4ACD-876F-6FB9A2AAF4AA}" dt="2023-07-27T11:24:12.849" v="209" actId="1036"/>
          <ac:spMkLst>
            <pc:docMk/>
            <pc:sldMk cId="2177188782" sldId="3263"/>
            <ac:spMk id="6" creationId="{07C698BB-BE0E-5A27-1E3C-7A25022C36B9}"/>
          </ac:spMkLst>
        </pc:spChg>
        <pc:spChg chg="mod">
          <ac:chgData name="Khrystyna Yatsyna" userId="e6954dd7-6c9e-43c8-bd42-ff8c4ce5393f" providerId="ADAL" clId="{BBB5A732-C083-4ACD-876F-6FB9A2AAF4AA}" dt="2023-07-27T11:24:12.849" v="209" actId="1036"/>
          <ac:spMkLst>
            <pc:docMk/>
            <pc:sldMk cId="2177188782" sldId="3263"/>
            <ac:spMk id="7" creationId="{F8CD55F6-5452-FDF8-E3B3-2644DD50E97B}"/>
          </ac:spMkLst>
        </pc:spChg>
        <pc:spChg chg="mod">
          <ac:chgData name="Khrystyna Yatsyna" userId="e6954dd7-6c9e-43c8-bd42-ff8c4ce5393f" providerId="ADAL" clId="{BBB5A732-C083-4ACD-876F-6FB9A2AAF4AA}" dt="2023-07-27T11:24:12.849" v="209" actId="1036"/>
          <ac:spMkLst>
            <pc:docMk/>
            <pc:sldMk cId="2177188782" sldId="3263"/>
            <ac:spMk id="11" creationId="{3A10DC69-A756-5BEA-5C4D-55973D7E88F2}"/>
          </ac:spMkLst>
        </pc:spChg>
        <pc:spChg chg="mod">
          <ac:chgData name="Khrystyna Yatsyna" userId="e6954dd7-6c9e-43c8-bd42-ff8c4ce5393f" providerId="ADAL" clId="{BBB5A732-C083-4ACD-876F-6FB9A2AAF4AA}" dt="2023-07-27T11:24:12.849" v="209" actId="1036"/>
          <ac:spMkLst>
            <pc:docMk/>
            <pc:sldMk cId="2177188782" sldId="3263"/>
            <ac:spMk id="12" creationId="{B79B2DFA-5BB2-5658-3E1A-9610E393C76E}"/>
          </ac:spMkLst>
        </pc:spChg>
        <pc:spChg chg="del">
          <ac:chgData name="Khrystyna Yatsyna" userId="e6954dd7-6c9e-43c8-bd42-ff8c4ce5393f" providerId="ADAL" clId="{BBB5A732-C083-4ACD-876F-6FB9A2AAF4AA}" dt="2023-08-03T11:38:46.892" v="550" actId="478"/>
          <ac:spMkLst>
            <pc:docMk/>
            <pc:sldMk cId="2177188782" sldId="3263"/>
            <ac:spMk id="13" creationId="{387EA82B-2762-B609-299A-E9EF42E84D05}"/>
          </ac:spMkLst>
        </pc:spChg>
        <pc:spChg chg="add mod">
          <ac:chgData name="Khrystyna Yatsyna" userId="e6954dd7-6c9e-43c8-bd42-ff8c4ce5393f" providerId="ADAL" clId="{BBB5A732-C083-4ACD-876F-6FB9A2AAF4AA}" dt="2023-08-03T13:21:00.159" v="600"/>
          <ac:spMkLst>
            <pc:docMk/>
            <pc:sldMk cId="2177188782" sldId="3263"/>
            <ac:spMk id="13" creationId="{5FA300F8-7383-B71E-E5BF-590616834468}"/>
          </ac:spMkLst>
        </pc:spChg>
        <pc:spChg chg="mod">
          <ac:chgData name="Khrystyna Yatsyna" userId="e6954dd7-6c9e-43c8-bd42-ff8c4ce5393f" providerId="ADAL" clId="{BBB5A732-C083-4ACD-876F-6FB9A2AAF4AA}" dt="2023-08-03T13:21:00.159" v="600"/>
          <ac:spMkLst>
            <pc:docMk/>
            <pc:sldMk cId="2177188782" sldId="3263"/>
            <ac:spMk id="19" creationId="{2B6988A1-94A2-35FE-B938-067AD4A9CC4E}"/>
          </ac:spMkLst>
        </pc:spChg>
        <pc:spChg chg="del">
          <ac:chgData name="Khrystyna Yatsyna" userId="e6954dd7-6c9e-43c8-bd42-ff8c4ce5393f" providerId="ADAL" clId="{BBB5A732-C083-4ACD-876F-6FB9A2AAF4AA}" dt="2023-08-03T11:38:46.892" v="550" actId="478"/>
          <ac:spMkLst>
            <pc:docMk/>
            <pc:sldMk cId="2177188782" sldId="3263"/>
            <ac:spMk id="19" creationId="{DEE95E8B-51FE-D7BA-3109-315C2BEB27D8}"/>
          </ac:spMkLst>
        </pc:spChg>
        <pc:spChg chg="mod">
          <ac:chgData name="Khrystyna Yatsyna" userId="e6954dd7-6c9e-43c8-bd42-ff8c4ce5393f" providerId="ADAL" clId="{BBB5A732-C083-4ACD-876F-6FB9A2AAF4AA}" dt="2023-08-03T13:21:00.159" v="600"/>
          <ac:spMkLst>
            <pc:docMk/>
            <pc:sldMk cId="2177188782" sldId="3263"/>
            <ac:spMk id="20" creationId="{1DDBCB22-89FC-5BE1-6F29-F10D52358FD4}"/>
          </ac:spMkLst>
        </pc:spChg>
        <pc:spChg chg="mod">
          <ac:chgData name="Khrystyna Yatsyna" userId="e6954dd7-6c9e-43c8-bd42-ff8c4ce5393f" providerId="ADAL" clId="{BBB5A732-C083-4ACD-876F-6FB9A2AAF4AA}" dt="2023-08-03T13:21:00.159" v="600"/>
          <ac:spMkLst>
            <pc:docMk/>
            <pc:sldMk cId="2177188782" sldId="3263"/>
            <ac:spMk id="21" creationId="{3456633F-394B-55D3-D964-50910FCF3269}"/>
          </ac:spMkLst>
        </pc:spChg>
        <pc:spChg chg="mod">
          <ac:chgData name="Khrystyna Yatsyna" userId="e6954dd7-6c9e-43c8-bd42-ff8c4ce5393f" providerId="ADAL" clId="{BBB5A732-C083-4ACD-876F-6FB9A2AAF4AA}" dt="2023-08-03T13:21:00.159" v="600"/>
          <ac:spMkLst>
            <pc:docMk/>
            <pc:sldMk cId="2177188782" sldId="3263"/>
            <ac:spMk id="22" creationId="{1EDA85AE-2314-4021-C778-1F6319E655AF}"/>
          </ac:spMkLst>
        </pc:spChg>
        <pc:spChg chg="mod">
          <ac:chgData name="Khrystyna Yatsyna" userId="e6954dd7-6c9e-43c8-bd42-ff8c4ce5393f" providerId="ADAL" clId="{BBB5A732-C083-4ACD-876F-6FB9A2AAF4AA}" dt="2023-08-03T13:21:00.159" v="600"/>
          <ac:spMkLst>
            <pc:docMk/>
            <pc:sldMk cId="2177188782" sldId="3263"/>
            <ac:spMk id="23" creationId="{9D9716C5-B9BD-E2FE-16D8-6468C7FD8E14}"/>
          </ac:spMkLst>
        </pc:spChg>
        <pc:spChg chg="mod">
          <ac:chgData name="Khrystyna Yatsyna" userId="e6954dd7-6c9e-43c8-bd42-ff8c4ce5393f" providerId="ADAL" clId="{BBB5A732-C083-4ACD-876F-6FB9A2AAF4AA}" dt="2023-08-03T13:21:00.159" v="600"/>
          <ac:spMkLst>
            <pc:docMk/>
            <pc:sldMk cId="2177188782" sldId="3263"/>
            <ac:spMk id="25" creationId="{58C6E408-4551-9565-620D-66E25BB45BBC}"/>
          </ac:spMkLst>
        </pc:spChg>
        <pc:spChg chg="del">
          <ac:chgData name="Khrystyna Yatsyna" userId="e6954dd7-6c9e-43c8-bd42-ff8c4ce5393f" providerId="ADAL" clId="{BBB5A732-C083-4ACD-876F-6FB9A2AAF4AA}" dt="2023-08-03T11:38:46.892" v="550" actId="478"/>
          <ac:spMkLst>
            <pc:docMk/>
            <pc:sldMk cId="2177188782" sldId="3263"/>
            <ac:spMk id="29" creationId="{05DEEEAE-BCA2-F993-0BEE-8F0666221AD2}"/>
          </ac:spMkLst>
        </pc:spChg>
        <pc:spChg chg="add mod">
          <ac:chgData name="Khrystyna Yatsyna" userId="e6954dd7-6c9e-43c8-bd42-ff8c4ce5393f" providerId="ADAL" clId="{BBB5A732-C083-4ACD-876F-6FB9A2AAF4AA}" dt="2023-08-03T11:38:47.165" v="551"/>
          <ac:spMkLst>
            <pc:docMk/>
            <pc:sldMk cId="2177188782" sldId="3263"/>
            <ac:spMk id="30" creationId="{735AFDA6-670A-F8EA-707C-3F770EB8ED26}"/>
          </ac:spMkLst>
        </pc:spChg>
        <pc:spChg chg="del">
          <ac:chgData name="Khrystyna Yatsyna" userId="e6954dd7-6c9e-43c8-bd42-ff8c4ce5393f" providerId="ADAL" clId="{BBB5A732-C083-4ACD-876F-6FB9A2AAF4AA}" dt="2023-07-27T11:22:31.327" v="171" actId="478"/>
          <ac:spMkLst>
            <pc:docMk/>
            <pc:sldMk cId="2177188782" sldId="3263"/>
            <ac:spMk id="30" creationId="{9C129820-5ADD-D53C-13E4-DC334E3A5A89}"/>
          </ac:spMkLst>
        </pc:spChg>
        <pc:spChg chg="del">
          <ac:chgData name="Khrystyna Yatsyna" userId="e6954dd7-6c9e-43c8-bd42-ff8c4ce5393f" providerId="ADAL" clId="{BBB5A732-C083-4ACD-876F-6FB9A2AAF4AA}" dt="2023-08-03T11:38:46.892" v="550" actId="478"/>
          <ac:spMkLst>
            <pc:docMk/>
            <pc:sldMk cId="2177188782" sldId="3263"/>
            <ac:spMk id="32" creationId="{F4FA9452-4025-F98D-ED83-96E6B255B494}"/>
          </ac:spMkLst>
        </pc:spChg>
        <pc:spChg chg="del">
          <ac:chgData name="Khrystyna Yatsyna" userId="e6954dd7-6c9e-43c8-bd42-ff8c4ce5393f" providerId="ADAL" clId="{BBB5A732-C083-4ACD-876F-6FB9A2AAF4AA}" dt="2023-08-03T11:38:46.892" v="550" actId="478"/>
          <ac:spMkLst>
            <pc:docMk/>
            <pc:sldMk cId="2177188782" sldId="3263"/>
            <ac:spMk id="34" creationId="{5657347A-05E2-5816-3447-7E393DCB032F}"/>
          </ac:spMkLst>
        </pc:spChg>
        <pc:spChg chg="del">
          <ac:chgData name="Khrystyna Yatsyna" userId="e6954dd7-6c9e-43c8-bd42-ff8c4ce5393f" providerId="ADAL" clId="{BBB5A732-C083-4ACD-876F-6FB9A2AAF4AA}" dt="2023-08-03T11:38:46.892" v="550" actId="478"/>
          <ac:spMkLst>
            <pc:docMk/>
            <pc:sldMk cId="2177188782" sldId="3263"/>
            <ac:spMk id="36" creationId="{8B015E4B-AF97-56C4-6B79-769AF41EB621}"/>
          </ac:spMkLst>
        </pc:spChg>
        <pc:spChg chg="del">
          <ac:chgData name="Khrystyna Yatsyna" userId="e6954dd7-6c9e-43c8-bd42-ff8c4ce5393f" providerId="ADAL" clId="{BBB5A732-C083-4ACD-876F-6FB9A2AAF4AA}" dt="2023-08-03T11:38:46.892" v="550" actId="478"/>
          <ac:spMkLst>
            <pc:docMk/>
            <pc:sldMk cId="2177188782" sldId="3263"/>
            <ac:spMk id="38" creationId="{55F492E8-E4E9-B2CD-A72F-08E15BF3C254}"/>
          </ac:spMkLst>
        </pc:spChg>
        <pc:spChg chg="add mod">
          <ac:chgData name="Khrystyna Yatsyna" userId="e6954dd7-6c9e-43c8-bd42-ff8c4ce5393f" providerId="ADAL" clId="{BBB5A732-C083-4ACD-876F-6FB9A2AAF4AA}" dt="2023-07-27T11:22:32.468" v="172"/>
          <ac:spMkLst>
            <pc:docMk/>
            <pc:sldMk cId="2177188782" sldId="3263"/>
            <ac:spMk id="40" creationId="{D1EBFEBE-43B9-3B55-9042-6F64D31F8A3A}"/>
          </ac:spMkLst>
        </pc:spChg>
        <pc:spChg chg="add mod">
          <ac:chgData name="Khrystyna Yatsyna" userId="e6954dd7-6c9e-43c8-bd42-ff8c4ce5393f" providerId="ADAL" clId="{BBB5A732-C083-4ACD-876F-6FB9A2AAF4AA}" dt="2023-07-27T11:22:32.468" v="172"/>
          <ac:spMkLst>
            <pc:docMk/>
            <pc:sldMk cId="2177188782" sldId="3263"/>
            <ac:spMk id="41" creationId="{B3DE1E4D-832A-BB5A-F6CC-DA534C5C98D1}"/>
          </ac:spMkLst>
        </pc:spChg>
        <pc:spChg chg="add mod">
          <ac:chgData name="Khrystyna Yatsyna" userId="e6954dd7-6c9e-43c8-bd42-ff8c4ce5393f" providerId="ADAL" clId="{BBB5A732-C083-4ACD-876F-6FB9A2AAF4AA}" dt="2023-07-27T11:24:52.720" v="276"/>
          <ac:spMkLst>
            <pc:docMk/>
            <pc:sldMk cId="2177188782" sldId="3263"/>
            <ac:spMk id="42" creationId="{D13B0530-1CA2-5B60-8521-FE0DE98F98A6}"/>
          </ac:spMkLst>
        </pc:spChg>
        <pc:spChg chg="add del mod">
          <ac:chgData name="Khrystyna Yatsyna" userId="e6954dd7-6c9e-43c8-bd42-ff8c4ce5393f" providerId="ADAL" clId="{BBB5A732-C083-4ACD-876F-6FB9A2AAF4AA}" dt="2023-08-03T13:20:59.986" v="599" actId="478"/>
          <ac:spMkLst>
            <pc:docMk/>
            <pc:sldMk cId="2177188782" sldId="3263"/>
            <ac:spMk id="44" creationId="{995A537B-B3B2-B8D6-4DD6-B954BF9AAF31}"/>
          </ac:spMkLst>
        </pc:spChg>
        <pc:spChg chg="mod">
          <ac:chgData name="Khrystyna Yatsyna" userId="e6954dd7-6c9e-43c8-bd42-ff8c4ce5393f" providerId="ADAL" clId="{BBB5A732-C083-4ACD-876F-6FB9A2AAF4AA}" dt="2023-08-03T11:38:47.165" v="551"/>
          <ac:spMkLst>
            <pc:docMk/>
            <pc:sldMk cId="2177188782" sldId="3263"/>
            <ac:spMk id="47" creationId="{67764E4A-0B1F-43C1-0813-CE7D14BA1DCD}"/>
          </ac:spMkLst>
        </pc:spChg>
        <pc:spChg chg="del">
          <ac:chgData name="Khrystyna Yatsyna" userId="e6954dd7-6c9e-43c8-bd42-ff8c4ce5393f" providerId="ADAL" clId="{BBB5A732-C083-4ACD-876F-6FB9A2AAF4AA}" dt="2023-07-27T11:22:28.065" v="170" actId="478"/>
          <ac:spMkLst>
            <pc:docMk/>
            <pc:sldMk cId="2177188782" sldId="3263"/>
            <ac:spMk id="47" creationId="{B2FFC8BD-8B83-5CD8-F8FD-B8FEEC9E63EE}"/>
          </ac:spMkLst>
        </pc:spChg>
        <pc:spChg chg="mod">
          <ac:chgData name="Khrystyna Yatsyna" userId="e6954dd7-6c9e-43c8-bd42-ff8c4ce5393f" providerId="ADAL" clId="{BBB5A732-C083-4ACD-876F-6FB9A2AAF4AA}" dt="2023-08-03T11:38:47.165" v="551"/>
          <ac:spMkLst>
            <pc:docMk/>
            <pc:sldMk cId="2177188782" sldId="3263"/>
            <ac:spMk id="48" creationId="{58F7AFF6-F815-76B4-3FAC-464252FD7865}"/>
          </ac:spMkLst>
        </pc:spChg>
        <pc:spChg chg="mod">
          <ac:chgData name="Khrystyna Yatsyna" userId="e6954dd7-6c9e-43c8-bd42-ff8c4ce5393f" providerId="ADAL" clId="{BBB5A732-C083-4ACD-876F-6FB9A2AAF4AA}" dt="2023-08-03T11:38:47.165" v="551"/>
          <ac:spMkLst>
            <pc:docMk/>
            <pc:sldMk cId="2177188782" sldId="3263"/>
            <ac:spMk id="49" creationId="{2F6B1C2A-A5BE-94BD-CDB6-21E3F29FE73A}"/>
          </ac:spMkLst>
        </pc:spChg>
        <pc:spChg chg="mod">
          <ac:chgData name="Khrystyna Yatsyna" userId="e6954dd7-6c9e-43c8-bd42-ff8c4ce5393f" providerId="ADAL" clId="{BBB5A732-C083-4ACD-876F-6FB9A2AAF4AA}" dt="2023-08-03T11:38:47.165" v="551"/>
          <ac:spMkLst>
            <pc:docMk/>
            <pc:sldMk cId="2177188782" sldId="3263"/>
            <ac:spMk id="50" creationId="{E154F5D9-6DA1-A594-5DE8-FDA2958C4101}"/>
          </ac:spMkLst>
        </pc:spChg>
        <pc:spChg chg="mod">
          <ac:chgData name="Khrystyna Yatsyna" userId="e6954dd7-6c9e-43c8-bd42-ff8c4ce5393f" providerId="ADAL" clId="{BBB5A732-C083-4ACD-876F-6FB9A2AAF4AA}" dt="2023-08-03T11:38:47.165" v="551"/>
          <ac:spMkLst>
            <pc:docMk/>
            <pc:sldMk cId="2177188782" sldId="3263"/>
            <ac:spMk id="51" creationId="{7EF1322F-D7F7-8252-E889-FB437B6016D9}"/>
          </ac:spMkLst>
        </pc:spChg>
        <pc:spChg chg="mod">
          <ac:chgData name="Khrystyna Yatsyna" userId="e6954dd7-6c9e-43c8-bd42-ff8c4ce5393f" providerId="ADAL" clId="{BBB5A732-C083-4ACD-876F-6FB9A2AAF4AA}" dt="2023-08-03T11:38:47.165" v="551"/>
          <ac:spMkLst>
            <pc:docMk/>
            <pc:sldMk cId="2177188782" sldId="3263"/>
            <ac:spMk id="54" creationId="{842EBC53-2C47-ECDB-C6F9-6AC4E73E96BD}"/>
          </ac:spMkLst>
        </pc:spChg>
        <pc:spChg chg="add mod">
          <ac:chgData name="Khrystyna Yatsyna" userId="e6954dd7-6c9e-43c8-bd42-ff8c4ce5393f" providerId="ADAL" clId="{BBB5A732-C083-4ACD-876F-6FB9A2AAF4AA}" dt="2023-08-18T12:32:32.149" v="771" actId="108"/>
          <ac:spMkLst>
            <pc:docMk/>
            <pc:sldMk cId="2177188782" sldId="3263"/>
            <ac:spMk id="55" creationId="{6E662107-4265-C3CC-6681-9A782887C1EB}"/>
          </ac:spMkLst>
        </pc:spChg>
        <pc:spChg chg="add mod">
          <ac:chgData name="Khrystyna Yatsyna" userId="e6954dd7-6c9e-43c8-bd42-ff8c4ce5393f" providerId="ADAL" clId="{BBB5A732-C083-4ACD-876F-6FB9A2AAF4AA}" dt="2023-08-18T12:32:28.484" v="767" actId="108"/>
          <ac:spMkLst>
            <pc:docMk/>
            <pc:sldMk cId="2177188782" sldId="3263"/>
            <ac:spMk id="57" creationId="{E8627AA6-4F33-F4CB-717B-33FD4B491B39}"/>
          </ac:spMkLst>
        </pc:spChg>
        <pc:spChg chg="add mod">
          <ac:chgData name="Khrystyna Yatsyna" userId="e6954dd7-6c9e-43c8-bd42-ff8c4ce5393f" providerId="ADAL" clId="{BBB5A732-C083-4ACD-876F-6FB9A2AAF4AA}" dt="2023-08-18T12:32:29.098" v="768" actId="108"/>
          <ac:spMkLst>
            <pc:docMk/>
            <pc:sldMk cId="2177188782" sldId="3263"/>
            <ac:spMk id="61" creationId="{F9ACA5CF-3395-2137-744B-FFA2B148F12F}"/>
          </ac:spMkLst>
        </pc:spChg>
        <pc:spChg chg="mod">
          <ac:chgData name="Khrystyna Yatsyna" userId="e6954dd7-6c9e-43c8-bd42-ff8c4ce5393f" providerId="ADAL" clId="{BBB5A732-C083-4ACD-876F-6FB9A2AAF4AA}" dt="2023-07-27T11:24:12.849" v="209" actId="1036"/>
          <ac:spMkLst>
            <pc:docMk/>
            <pc:sldMk cId="2177188782" sldId="3263"/>
            <ac:spMk id="62" creationId="{B6C26415-AD42-DE53-D888-4832144596AC}"/>
          </ac:spMkLst>
        </pc:spChg>
        <pc:spChg chg="mod">
          <ac:chgData name="Khrystyna Yatsyna" userId="e6954dd7-6c9e-43c8-bd42-ff8c4ce5393f" providerId="ADAL" clId="{BBB5A732-C083-4ACD-876F-6FB9A2AAF4AA}" dt="2023-07-27T11:24:12.849" v="209" actId="1036"/>
          <ac:spMkLst>
            <pc:docMk/>
            <pc:sldMk cId="2177188782" sldId="3263"/>
            <ac:spMk id="63" creationId="{5186FBC6-6407-5FF6-A204-D9B01EF0010B}"/>
          </ac:spMkLst>
        </pc:spChg>
        <pc:spChg chg="add mod">
          <ac:chgData name="Khrystyna Yatsyna" userId="e6954dd7-6c9e-43c8-bd42-ff8c4ce5393f" providerId="ADAL" clId="{BBB5A732-C083-4ACD-876F-6FB9A2AAF4AA}" dt="2023-08-18T12:32:29.841" v="769" actId="108"/>
          <ac:spMkLst>
            <pc:docMk/>
            <pc:sldMk cId="2177188782" sldId="3263"/>
            <ac:spMk id="65" creationId="{AD00E1FB-6A4C-D8C1-AC2D-0D5547719CE2}"/>
          </ac:spMkLst>
        </pc:spChg>
        <pc:spChg chg="add mod">
          <ac:chgData name="Khrystyna Yatsyna" userId="e6954dd7-6c9e-43c8-bd42-ff8c4ce5393f" providerId="ADAL" clId="{BBB5A732-C083-4ACD-876F-6FB9A2AAF4AA}" dt="2023-08-18T12:32:30.542" v="770" actId="108"/>
          <ac:spMkLst>
            <pc:docMk/>
            <pc:sldMk cId="2177188782" sldId="3263"/>
            <ac:spMk id="67" creationId="{ADDC82BB-B874-D723-BD2A-957EF1CB34E3}"/>
          </ac:spMkLst>
        </pc:spChg>
        <pc:spChg chg="mod">
          <ac:chgData name="Khrystyna Yatsyna" userId="e6954dd7-6c9e-43c8-bd42-ff8c4ce5393f" providerId="ADAL" clId="{BBB5A732-C083-4ACD-876F-6FB9A2AAF4AA}" dt="2023-07-27T11:24:12.849" v="209" actId="1036"/>
          <ac:spMkLst>
            <pc:docMk/>
            <pc:sldMk cId="2177188782" sldId="3263"/>
            <ac:spMk id="96" creationId="{2C983CB4-02D6-1CDE-8FFA-52FFFE4C9A9E}"/>
          </ac:spMkLst>
        </pc:spChg>
        <pc:grpChg chg="add mod">
          <ac:chgData name="Khrystyna Yatsyna" userId="e6954dd7-6c9e-43c8-bd42-ff8c4ce5393f" providerId="ADAL" clId="{BBB5A732-C083-4ACD-876F-6FB9A2AAF4AA}" dt="2023-08-03T13:21:00.159" v="600"/>
          <ac:grpSpMkLst>
            <pc:docMk/>
            <pc:sldMk cId="2177188782" sldId="3263"/>
            <ac:grpSpMk id="17" creationId="{F6C1538E-D75D-1EE5-F75D-DFDD03B8B98A}"/>
          </ac:grpSpMkLst>
        </pc:grpChg>
        <pc:grpChg chg="del">
          <ac:chgData name="Khrystyna Yatsyna" userId="e6954dd7-6c9e-43c8-bd42-ff8c4ce5393f" providerId="ADAL" clId="{BBB5A732-C083-4ACD-876F-6FB9A2AAF4AA}" dt="2023-08-03T11:38:46.892" v="550" actId="478"/>
          <ac:grpSpMkLst>
            <pc:docMk/>
            <pc:sldMk cId="2177188782" sldId="3263"/>
            <ac:grpSpMk id="20" creationId="{68855B3D-9962-AABF-7315-DD0E7B80F37E}"/>
          </ac:grpSpMkLst>
        </pc:grpChg>
        <pc:grpChg chg="add del mod">
          <ac:chgData name="Khrystyna Yatsyna" userId="e6954dd7-6c9e-43c8-bd42-ff8c4ce5393f" providerId="ADAL" clId="{BBB5A732-C083-4ACD-876F-6FB9A2AAF4AA}" dt="2023-08-03T13:20:59.986" v="599" actId="478"/>
          <ac:grpSpMkLst>
            <pc:docMk/>
            <pc:sldMk cId="2177188782" sldId="3263"/>
            <ac:grpSpMk id="45" creationId="{FDF0815A-9F70-7B43-4B9F-00233A046DD5}"/>
          </ac:grpSpMkLst>
        </pc:grpChg>
        <pc:grpChg chg="mod">
          <ac:chgData name="Khrystyna Yatsyna" userId="e6954dd7-6c9e-43c8-bd42-ff8c4ce5393f" providerId="ADAL" clId="{BBB5A732-C083-4ACD-876F-6FB9A2AAF4AA}" dt="2023-07-27T11:24:12.849" v="209" actId="1036"/>
          <ac:grpSpMkLst>
            <pc:docMk/>
            <pc:sldMk cId="2177188782" sldId="3263"/>
            <ac:grpSpMk id="53" creationId="{0E9047D4-64A6-D243-3960-78631EF4E635}"/>
          </ac:grpSpMkLst>
        </pc:grpChg>
        <pc:grpChg chg="mod">
          <ac:chgData name="Khrystyna Yatsyna" userId="e6954dd7-6c9e-43c8-bd42-ff8c4ce5393f" providerId="ADAL" clId="{BBB5A732-C083-4ACD-876F-6FB9A2AAF4AA}" dt="2023-07-27T11:24:12.849" v="209" actId="1036"/>
          <ac:grpSpMkLst>
            <pc:docMk/>
            <pc:sldMk cId="2177188782" sldId="3263"/>
            <ac:grpSpMk id="79" creationId="{06DF3EFE-E41D-D759-2F1B-56DDBBE49136}"/>
          </ac:grpSpMkLst>
        </pc:grpChg>
        <pc:grpChg chg="mod">
          <ac:chgData name="Khrystyna Yatsyna" userId="e6954dd7-6c9e-43c8-bd42-ff8c4ce5393f" providerId="ADAL" clId="{BBB5A732-C083-4ACD-876F-6FB9A2AAF4AA}" dt="2023-07-27T11:24:12.849" v="209" actId="1036"/>
          <ac:grpSpMkLst>
            <pc:docMk/>
            <pc:sldMk cId="2177188782" sldId="3263"/>
            <ac:grpSpMk id="82" creationId="{E3969408-E9E7-9A85-AABB-393FF05436E3}"/>
          </ac:grpSpMkLst>
        </pc:grpChg>
        <pc:grpChg chg="mod">
          <ac:chgData name="Khrystyna Yatsyna" userId="e6954dd7-6c9e-43c8-bd42-ff8c4ce5393f" providerId="ADAL" clId="{BBB5A732-C083-4ACD-876F-6FB9A2AAF4AA}" dt="2023-07-27T11:24:12.849" v="209" actId="1036"/>
          <ac:grpSpMkLst>
            <pc:docMk/>
            <pc:sldMk cId="2177188782" sldId="3263"/>
            <ac:grpSpMk id="85" creationId="{0C743DE6-977E-DEFE-34CF-CA209CD9ABA5}"/>
          </ac:grpSpMkLst>
        </pc:grpChg>
        <pc:grpChg chg="mod">
          <ac:chgData name="Khrystyna Yatsyna" userId="e6954dd7-6c9e-43c8-bd42-ff8c4ce5393f" providerId="ADAL" clId="{BBB5A732-C083-4ACD-876F-6FB9A2AAF4AA}" dt="2023-07-27T11:24:12.849" v="209" actId="1036"/>
          <ac:grpSpMkLst>
            <pc:docMk/>
            <pc:sldMk cId="2177188782" sldId="3263"/>
            <ac:grpSpMk id="100" creationId="{EAAC1BD4-1A9F-26F1-8806-014DB01D314B}"/>
          </ac:grpSpMkLst>
        </pc:grpChg>
        <pc:picChg chg="del">
          <ac:chgData name="Khrystyna Yatsyna" userId="e6954dd7-6c9e-43c8-bd42-ff8c4ce5393f" providerId="ADAL" clId="{BBB5A732-C083-4ACD-876F-6FB9A2AAF4AA}" dt="2023-08-03T11:38:46.892" v="550" actId="478"/>
          <ac:picMkLst>
            <pc:docMk/>
            <pc:sldMk cId="2177188782" sldId="3263"/>
            <ac:picMk id="17" creationId="{15A62675-3E72-2B91-E79D-E790CE0F7C9A}"/>
          </ac:picMkLst>
        </pc:picChg>
        <pc:picChg chg="del">
          <ac:chgData name="Khrystyna Yatsyna" userId="e6954dd7-6c9e-43c8-bd42-ff8c4ce5393f" providerId="ADAL" clId="{BBB5A732-C083-4ACD-876F-6FB9A2AAF4AA}" dt="2023-08-03T11:38:46.892" v="550" actId="478"/>
          <ac:picMkLst>
            <pc:docMk/>
            <pc:sldMk cId="2177188782" sldId="3263"/>
            <ac:picMk id="31" creationId="{8088803E-F354-A693-FF09-537D272B190C}"/>
          </ac:picMkLst>
        </pc:picChg>
        <pc:picChg chg="del">
          <ac:chgData name="Khrystyna Yatsyna" userId="e6954dd7-6c9e-43c8-bd42-ff8c4ce5393f" providerId="ADAL" clId="{BBB5A732-C083-4ACD-876F-6FB9A2AAF4AA}" dt="2023-08-03T11:38:46.892" v="550" actId="478"/>
          <ac:picMkLst>
            <pc:docMk/>
            <pc:sldMk cId="2177188782" sldId="3263"/>
            <ac:picMk id="33" creationId="{62871DBF-B4F3-69FF-F35C-9DF9314B675B}"/>
          </ac:picMkLst>
        </pc:picChg>
        <pc:picChg chg="del">
          <ac:chgData name="Khrystyna Yatsyna" userId="e6954dd7-6c9e-43c8-bd42-ff8c4ce5393f" providerId="ADAL" clId="{BBB5A732-C083-4ACD-876F-6FB9A2AAF4AA}" dt="2023-08-03T11:38:46.892" v="550" actId="478"/>
          <ac:picMkLst>
            <pc:docMk/>
            <pc:sldMk cId="2177188782" sldId="3263"/>
            <ac:picMk id="35" creationId="{C1ED4746-16BF-2DEF-C9E9-1D7AD8C8332D}"/>
          </ac:picMkLst>
        </pc:picChg>
        <pc:picChg chg="del">
          <ac:chgData name="Khrystyna Yatsyna" userId="e6954dd7-6c9e-43c8-bd42-ff8c4ce5393f" providerId="ADAL" clId="{BBB5A732-C083-4ACD-876F-6FB9A2AAF4AA}" dt="2023-08-03T11:38:46.892" v="550" actId="478"/>
          <ac:picMkLst>
            <pc:docMk/>
            <pc:sldMk cId="2177188782" sldId="3263"/>
            <ac:picMk id="37" creationId="{C1D08987-62EE-CEAF-F00D-F7E64ABD931C}"/>
          </ac:picMkLst>
        </pc:picChg>
        <pc:picChg chg="del">
          <ac:chgData name="Khrystyna Yatsyna" userId="e6954dd7-6c9e-43c8-bd42-ff8c4ce5393f" providerId="ADAL" clId="{BBB5A732-C083-4ACD-876F-6FB9A2AAF4AA}" dt="2023-08-03T11:38:46.892" v="550" actId="478"/>
          <ac:picMkLst>
            <pc:docMk/>
            <pc:sldMk cId="2177188782" sldId="3263"/>
            <ac:picMk id="39" creationId="{BACB3765-893B-0563-2319-F4DBB318F50B}"/>
          </ac:picMkLst>
        </pc:picChg>
        <pc:picChg chg="add mod">
          <ac:chgData name="Khrystyna Yatsyna" userId="e6954dd7-6c9e-43c8-bd42-ff8c4ce5393f" providerId="ADAL" clId="{BBB5A732-C083-4ACD-876F-6FB9A2AAF4AA}" dt="2023-08-03T11:38:47.165" v="551"/>
          <ac:picMkLst>
            <pc:docMk/>
            <pc:sldMk cId="2177188782" sldId="3263"/>
            <ac:picMk id="43" creationId="{266AEE8F-D230-3359-0D4A-84D1F8B2C584}"/>
          </ac:picMkLst>
        </pc:picChg>
        <pc:picChg chg="mod">
          <ac:chgData name="Khrystyna Yatsyna" userId="e6954dd7-6c9e-43c8-bd42-ff8c4ce5393f" providerId="ADAL" clId="{BBB5A732-C083-4ACD-876F-6FB9A2AAF4AA}" dt="2023-07-27T11:24:12.849" v="209" actId="1036"/>
          <ac:picMkLst>
            <pc:docMk/>
            <pc:sldMk cId="2177188782" sldId="3263"/>
            <ac:picMk id="46" creationId="{6FD8365B-07AF-1704-8223-52DB3CE70C48}"/>
          </ac:picMkLst>
        </pc:picChg>
        <pc:picChg chg="mod">
          <ac:chgData name="Khrystyna Yatsyna" userId="e6954dd7-6c9e-43c8-bd42-ff8c4ce5393f" providerId="ADAL" clId="{BBB5A732-C083-4ACD-876F-6FB9A2AAF4AA}" dt="2023-07-27T11:24:12.849" v="209" actId="1036"/>
          <ac:picMkLst>
            <pc:docMk/>
            <pc:sldMk cId="2177188782" sldId="3263"/>
            <ac:picMk id="52" creationId="{6F35DC43-EADF-D856-95E2-AC36735CC9D8}"/>
          </ac:picMkLst>
        </pc:picChg>
        <pc:picChg chg="add mod">
          <ac:chgData name="Khrystyna Yatsyna" userId="e6954dd7-6c9e-43c8-bd42-ff8c4ce5393f" providerId="ADAL" clId="{BBB5A732-C083-4ACD-876F-6FB9A2AAF4AA}" dt="2023-08-03T11:38:47.165" v="551"/>
          <ac:picMkLst>
            <pc:docMk/>
            <pc:sldMk cId="2177188782" sldId="3263"/>
            <ac:picMk id="56" creationId="{D1C78447-AEAB-FCBB-7641-73E7D894E711}"/>
          </ac:picMkLst>
        </pc:picChg>
        <pc:picChg chg="add mod">
          <ac:chgData name="Khrystyna Yatsyna" userId="e6954dd7-6c9e-43c8-bd42-ff8c4ce5393f" providerId="ADAL" clId="{BBB5A732-C083-4ACD-876F-6FB9A2AAF4AA}" dt="2023-08-03T11:38:47.165" v="551"/>
          <ac:picMkLst>
            <pc:docMk/>
            <pc:sldMk cId="2177188782" sldId="3263"/>
            <ac:picMk id="60" creationId="{AD0CD6C5-C6F9-6AC3-2948-941663E92421}"/>
          </ac:picMkLst>
        </pc:picChg>
        <pc:picChg chg="add mod">
          <ac:chgData name="Khrystyna Yatsyna" userId="e6954dd7-6c9e-43c8-bd42-ff8c4ce5393f" providerId="ADAL" clId="{BBB5A732-C083-4ACD-876F-6FB9A2AAF4AA}" dt="2023-08-03T11:38:47.165" v="551"/>
          <ac:picMkLst>
            <pc:docMk/>
            <pc:sldMk cId="2177188782" sldId="3263"/>
            <ac:picMk id="64" creationId="{C2035B84-ED87-2C47-6860-14728EB10B46}"/>
          </ac:picMkLst>
        </pc:picChg>
        <pc:picChg chg="add mod">
          <ac:chgData name="Khrystyna Yatsyna" userId="e6954dd7-6c9e-43c8-bd42-ff8c4ce5393f" providerId="ADAL" clId="{BBB5A732-C083-4ACD-876F-6FB9A2AAF4AA}" dt="2023-08-03T11:38:47.165" v="551"/>
          <ac:picMkLst>
            <pc:docMk/>
            <pc:sldMk cId="2177188782" sldId="3263"/>
            <ac:picMk id="66" creationId="{7870BAE7-F62C-2952-889C-39775A6D47C0}"/>
          </ac:picMkLst>
        </pc:picChg>
        <pc:picChg chg="mod">
          <ac:chgData name="Khrystyna Yatsyna" userId="e6954dd7-6c9e-43c8-bd42-ff8c4ce5393f" providerId="ADAL" clId="{BBB5A732-C083-4ACD-876F-6FB9A2AAF4AA}" dt="2023-07-27T11:24:12.849" v="209" actId="1036"/>
          <ac:picMkLst>
            <pc:docMk/>
            <pc:sldMk cId="2177188782" sldId="3263"/>
            <ac:picMk id="68" creationId="{593CAF55-D00F-40B1-1ACC-AF9EBF429ABD}"/>
          </ac:picMkLst>
        </pc:picChg>
        <pc:picChg chg="add mod">
          <ac:chgData name="Khrystyna Yatsyna" userId="e6954dd7-6c9e-43c8-bd42-ff8c4ce5393f" providerId="ADAL" clId="{BBB5A732-C083-4ACD-876F-6FB9A2AAF4AA}" dt="2023-08-03T11:38:47.165" v="551"/>
          <ac:picMkLst>
            <pc:docMk/>
            <pc:sldMk cId="2177188782" sldId="3263"/>
            <ac:picMk id="69" creationId="{411997EA-4CF7-CB2F-440C-9059504D8662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0:21.306" v="685" actId="108"/>
        <pc:sldMkLst>
          <pc:docMk/>
          <pc:sldMk cId="2178714066" sldId="3264"/>
        </pc:sldMkLst>
        <pc:spChg chg="add mod">
          <ac:chgData name="Khrystyna Yatsyna" userId="e6954dd7-6c9e-43c8-bd42-ff8c4ce5393f" providerId="ADAL" clId="{BBB5A732-C083-4ACD-876F-6FB9A2AAF4AA}" dt="2023-08-03T13:20:00.835" v="565"/>
          <ac:spMkLst>
            <pc:docMk/>
            <pc:sldMk cId="2178714066" sldId="3264"/>
            <ac:spMk id="4" creationId="{5EA63F33-FB6D-3860-BD88-8D3AC718C9A2}"/>
          </ac:spMkLst>
        </pc:spChg>
        <pc:spChg chg="mod">
          <ac:chgData name="Khrystyna Yatsyna" userId="e6954dd7-6c9e-43c8-bd42-ff8c4ce5393f" providerId="ADAL" clId="{BBB5A732-C083-4ACD-876F-6FB9A2AAF4AA}" dt="2023-08-03T13:20:00.835" v="565"/>
          <ac:spMkLst>
            <pc:docMk/>
            <pc:sldMk cId="2178714066" sldId="3264"/>
            <ac:spMk id="6" creationId="{369F44E2-4696-DE2A-878C-26A7B785395E}"/>
          </ac:spMkLst>
        </pc:spChg>
        <pc:spChg chg="mod">
          <ac:chgData name="Khrystyna Yatsyna" userId="e6954dd7-6c9e-43c8-bd42-ff8c4ce5393f" providerId="ADAL" clId="{BBB5A732-C083-4ACD-876F-6FB9A2AAF4AA}" dt="2023-08-03T13:20:00.835" v="565"/>
          <ac:spMkLst>
            <pc:docMk/>
            <pc:sldMk cId="2178714066" sldId="3264"/>
            <ac:spMk id="7" creationId="{C1776611-7D14-8226-9755-F5FADD3B26CA}"/>
          </ac:spMkLst>
        </pc:spChg>
        <pc:spChg chg="mod">
          <ac:chgData name="Khrystyna Yatsyna" userId="e6954dd7-6c9e-43c8-bd42-ff8c4ce5393f" providerId="ADAL" clId="{BBB5A732-C083-4ACD-876F-6FB9A2AAF4AA}" dt="2023-08-03T13:20:00.835" v="565"/>
          <ac:spMkLst>
            <pc:docMk/>
            <pc:sldMk cId="2178714066" sldId="3264"/>
            <ac:spMk id="8" creationId="{BEFFB363-94D0-255C-2626-534343F4F6A4}"/>
          </ac:spMkLst>
        </pc:spChg>
        <pc:spChg chg="mod">
          <ac:chgData name="Khrystyna Yatsyna" userId="e6954dd7-6c9e-43c8-bd42-ff8c4ce5393f" providerId="ADAL" clId="{BBB5A732-C083-4ACD-876F-6FB9A2AAF4AA}" dt="2023-08-03T13:20:00.835" v="565"/>
          <ac:spMkLst>
            <pc:docMk/>
            <pc:sldMk cId="2178714066" sldId="3264"/>
            <ac:spMk id="9" creationId="{EE141CB9-5AF7-4413-8CD6-807410A02616}"/>
          </ac:spMkLst>
        </pc:spChg>
        <pc:spChg chg="mod">
          <ac:chgData name="Khrystyna Yatsyna" userId="e6954dd7-6c9e-43c8-bd42-ff8c4ce5393f" providerId="ADAL" clId="{BBB5A732-C083-4ACD-876F-6FB9A2AAF4AA}" dt="2023-08-03T13:20:00.835" v="565"/>
          <ac:spMkLst>
            <pc:docMk/>
            <pc:sldMk cId="2178714066" sldId="3264"/>
            <ac:spMk id="10" creationId="{4260AEC2-8ADD-7C84-DDC5-2B432FBE19A3}"/>
          </ac:spMkLst>
        </pc:spChg>
        <pc:spChg chg="mod">
          <ac:chgData name="Khrystyna Yatsyna" userId="e6954dd7-6c9e-43c8-bd42-ff8c4ce5393f" providerId="ADAL" clId="{BBB5A732-C083-4ACD-876F-6FB9A2AAF4AA}" dt="2023-08-03T13:20:00.835" v="565"/>
          <ac:spMkLst>
            <pc:docMk/>
            <pc:sldMk cId="2178714066" sldId="3264"/>
            <ac:spMk id="11" creationId="{BA53AEFF-BB78-92FB-5D4C-9BBD0233431F}"/>
          </ac:spMkLst>
        </pc:spChg>
        <pc:spChg chg="del mod">
          <ac:chgData name="Khrystyna Yatsyna" userId="e6954dd7-6c9e-43c8-bd42-ff8c4ce5393f" providerId="ADAL" clId="{BBB5A732-C083-4ACD-876F-6FB9A2AAF4AA}" dt="2023-08-03T13:20:00.508" v="564" actId="478"/>
          <ac:spMkLst>
            <pc:docMk/>
            <pc:sldMk cId="2178714066" sldId="3264"/>
            <ac:spMk id="32" creationId="{B8D21DA2-21BF-9DF5-6362-440A0682487F}"/>
          </ac:spMkLst>
        </pc:spChg>
        <pc:spChg chg="mod">
          <ac:chgData name="Khrystyna Yatsyna" userId="e6954dd7-6c9e-43c8-bd42-ff8c4ce5393f" providerId="ADAL" clId="{BBB5A732-C083-4ACD-876F-6FB9A2AAF4AA}" dt="2023-08-03T11:32:26.383" v="406" actId="3626"/>
          <ac:spMkLst>
            <pc:docMk/>
            <pc:sldMk cId="2178714066" sldId="3264"/>
            <ac:spMk id="34" creationId="{296DAC03-CCC1-9DD8-9BDA-67F5FFB9812D}"/>
          </ac:spMkLst>
        </pc:spChg>
        <pc:spChg chg="mod">
          <ac:chgData name="Khrystyna Yatsyna" userId="e6954dd7-6c9e-43c8-bd42-ff8c4ce5393f" providerId="ADAL" clId="{BBB5A732-C083-4ACD-876F-6FB9A2AAF4AA}" dt="2023-07-26T11:34:01.198" v="8" actId="20577"/>
          <ac:spMkLst>
            <pc:docMk/>
            <pc:sldMk cId="2178714066" sldId="3264"/>
            <ac:spMk id="37" creationId="{2F7BC16F-386B-F721-08BC-C4701DCB5848}"/>
          </ac:spMkLst>
        </pc:spChg>
        <pc:spChg chg="mod">
          <ac:chgData name="Khrystyna Yatsyna" userId="e6954dd7-6c9e-43c8-bd42-ff8c4ce5393f" providerId="ADAL" clId="{BBB5A732-C083-4ACD-876F-6FB9A2AAF4AA}" dt="2023-07-26T11:34:08.833" v="14" actId="20577"/>
          <ac:spMkLst>
            <pc:docMk/>
            <pc:sldMk cId="2178714066" sldId="3264"/>
            <ac:spMk id="38" creationId="{2A8F1BBB-DD0E-236A-150C-004FF7E94F6C}"/>
          </ac:spMkLst>
        </pc:spChg>
        <pc:spChg chg="mod">
          <ac:chgData name="Khrystyna Yatsyna" userId="e6954dd7-6c9e-43c8-bd42-ff8c4ce5393f" providerId="ADAL" clId="{BBB5A732-C083-4ACD-876F-6FB9A2AAF4AA}" dt="2023-07-26T11:34:21.354" v="18" actId="20577"/>
          <ac:spMkLst>
            <pc:docMk/>
            <pc:sldMk cId="2178714066" sldId="3264"/>
            <ac:spMk id="40" creationId="{96734656-BF8D-DBBF-674D-261F2930715A}"/>
          </ac:spMkLst>
        </pc:spChg>
        <pc:spChg chg="mod">
          <ac:chgData name="Khrystyna Yatsyna" userId="e6954dd7-6c9e-43c8-bd42-ff8c4ce5393f" providerId="ADAL" clId="{BBB5A732-C083-4ACD-876F-6FB9A2AAF4AA}" dt="2023-07-26T11:34:33.422" v="22" actId="20577"/>
          <ac:spMkLst>
            <pc:docMk/>
            <pc:sldMk cId="2178714066" sldId="3264"/>
            <ac:spMk id="49" creationId="{AF93AA4D-784E-51AF-221B-BABE62377A93}"/>
          </ac:spMkLst>
        </pc:spChg>
        <pc:spChg chg="mod">
          <ac:chgData name="Khrystyna Yatsyna" userId="e6954dd7-6c9e-43c8-bd42-ff8c4ce5393f" providerId="ADAL" clId="{BBB5A732-C083-4ACD-876F-6FB9A2AAF4AA}" dt="2023-08-18T12:30:16.296" v="681" actId="108"/>
          <ac:spMkLst>
            <pc:docMk/>
            <pc:sldMk cId="2178714066" sldId="3264"/>
            <ac:spMk id="64" creationId="{0ED421BD-6BE0-3CB4-4E92-7C5042C9B6E5}"/>
          </ac:spMkLst>
        </pc:spChg>
        <pc:spChg chg="mod">
          <ac:chgData name="Khrystyna Yatsyna" userId="e6954dd7-6c9e-43c8-bd42-ff8c4ce5393f" providerId="ADAL" clId="{BBB5A732-C083-4ACD-876F-6FB9A2AAF4AA}" dt="2023-08-18T12:30:17.290" v="682" actId="108"/>
          <ac:spMkLst>
            <pc:docMk/>
            <pc:sldMk cId="2178714066" sldId="3264"/>
            <ac:spMk id="66" creationId="{6873A6CB-CB75-8BD3-0620-6E05292AA03F}"/>
          </ac:spMkLst>
        </pc:spChg>
        <pc:spChg chg="mod">
          <ac:chgData name="Khrystyna Yatsyna" userId="e6954dd7-6c9e-43c8-bd42-ff8c4ce5393f" providerId="ADAL" clId="{BBB5A732-C083-4ACD-876F-6FB9A2AAF4AA}" dt="2023-08-18T12:30:18.466" v="683" actId="108"/>
          <ac:spMkLst>
            <pc:docMk/>
            <pc:sldMk cId="2178714066" sldId="3264"/>
            <ac:spMk id="68" creationId="{87BCD210-4030-64EF-2E64-D8B420129B60}"/>
          </ac:spMkLst>
        </pc:spChg>
        <pc:spChg chg="mod">
          <ac:chgData name="Khrystyna Yatsyna" userId="e6954dd7-6c9e-43c8-bd42-ff8c4ce5393f" providerId="ADAL" clId="{BBB5A732-C083-4ACD-876F-6FB9A2AAF4AA}" dt="2023-08-18T12:30:20.025" v="684" actId="108"/>
          <ac:spMkLst>
            <pc:docMk/>
            <pc:sldMk cId="2178714066" sldId="3264"/>
            <ac:spMk id="70" creationId="{7433A13C-1F09-6C00-47A3-39E25A80E0CC}"/>
          </ac:spMkLst>
        </pc:spChg>
        <pc:spChg chg="mod">
          <ac:chgData name="Khrystyna Yatsyna" userId="e6954dd7-6c9e-43c8-bd42-ff8c4ce5393f" providerId="ADAL" clId="{BBB5A732-C083-4ACD-876F-6FB9A2AAF4AA}" dt="2023-08-18T12:30:21.306" v="685" actId="108"/>
          <ac:spMkLst>
            <pc:docMk/>
            <pc:sldMk cId="2178714066" sldId="3264"/>
            <ac:spMk id="72" creationId="{C881831B-072B-8469-BF59-A944C65A5517}"/>
          </ac:spMkLst>
        </pc:spChg>
        <pc:grpChg chg="add mod">
          <ac:chgData name="Khrystyna Yatsyna" userId="e6954dd7-6c9e-43c8-bd42-ff8c4ce5393f" providerId="ADAL" clId="{BBB5A732-C083-4ACD-876F-6FB9A2AAF4AA}" dt="2023-08-03T13:20:00.835" v="565"/>
          <ac:grpSpMkLst>
            <pc:docMk/>
            <pc:sldMk cId="2178714066" sldId="3264"/>
            <ac:grpSpMk id="5" creationId="{C92B226F-0CFD-A832-C773-0F85EEB24E5E}"/>
          </ac:grpSpMkLst>
        </pc:grpChg>
        <pc:grpChg chg="del">
          <ac:chgData name="Khrystyna Yatsyna" userId="e6954dd7-6c9e-43c8-bd42-ff8c4ce5393f" providerId="ADAL" clId="{BBB5A732-C083-4ACD-876F-6FB9A2AAF4AA}" dt="2023-08-03T13:20:00.508" v="564" actId="478"/>
          <ac:grpSpMkLst>
            <pc:docMk/>
            <pc:sldMk cId="2178714066" sldId="3264"/>
            <ac:grpSpMk id="33" creationId="{4F8A082E-0BD8-00CB-9FA2-E81FD66D0870}"/>
          </ac:grpSpMkLst>
        </pc:grpChg>
        <pc:picChg chg="mod">
          <ac:chgData name="Khrystyna Yatsyna" userId="e6954dd7-6c9e-43c8-bd42-ff8c4ce5393f" providerId="ADAL" clId="{BBB5A732-C083-4ACD-876F-6FB9A2AAF4AA}" dt="2023-08-03T11:32:36.031" v="408" actId="3626"/>
          <ac:picMkLst>
            <pc:docMk/>
            <pc:sldMk cId="2178714066" sldId="3264"/>
            <ac:picMk id="65" creationId="{467C8F6C-58FB-0B64-2F39-03B9E02E5B41}"/>
          </ac:picMkLst>
        </pc:picChg>
        <pc:picChg chg="mod">
          <ac:chgData name="Khrystyna Yatsyna" userId="e6954dd7-6c9e-43c8-bd42-ff8c4ce5393f" providerId="ADAL" clId="{BBB5A732-C083-4ACD-876F-6FB9A2AAF4AA}" dt="2023-08-03T11:32:40.320" v="410" actId="3626"/>
          <ac:picMkLst>
            <pc:docMk/>
            <pc:sldMk cId="2178714066" sldId="3264"/>
            <ac:picMk id="67" creationId="{E66D8E32-51EF-CE00-816C-E030B15CD191}"/>
          </ac:picMkLst>
        </pc:picChg>
        <pc:picChg chg="mod">
          <ac:chgData name="Khrystyna Yatsyna" userId="e6954dd7-6c9e-43c8-bd42-ff8c4ce5393f" providerId="ADAL" clId="{BBB5A732-C083-4ACD-876F-6FB9A2AAF4AA}" dt="2023-08-03T11:32:43.698" v="412" actId="3626"/>
          <ac:picMkLst>
            <pc:docMk/>
            <pc:sldMk cId="2178714066" sldId="3264"/>
            <ac:picMk id="69" creationId="{7CAEECD7-0EE4-9653-2A42-1E2E1728677D}"/>
          </ac:picMkLst>
        </pc:picChg>
        <pc:picChg chg="mod">
          <ac:chgData name="Khrystyna Yatsyna" userId="e6954dd7-6c9e-43c8-bd42-ff8c4ce5393f" providerId="ADAL" clId="{BBB5A732-C083-4ACD-876F-6FB9A2AAF4AA}" dt="2023-08-03T11:32:47.755" v="414" actId="3626"/>
          <ac:picMkLst>
            <pc:docMk/>
            <pc:sldMk cId="2178714066" sldId="3264"/>
            <ac:picMk id="71" creationId="{11E75306-2234-5A00-F767-370474B53816}"/>
          </ac:picMkLst>
        </pc:picChg>
        <pc:picChg chg="mod">
          <ac:chgData name="Khrystyna Yatsyna" userId="e6954dd7-6c9e-43c8-bd42-ff8c4ce5393f" providerId="ADAL" clId="{BBB5A732-C083-4ACD-876F-6FB9A2AAF4AA}" dt="2023-08-03T11:32:51.530" v="416" actId="3626"/>
          <ac:picMkLst>
            <pc:docMk/>
            <pc:sldMk cId="2178714066" sldId="3264"/>
            <ac:picMk id="73" creationId="{104D5691-92AF-66D9-404B-7D897339B1A9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4:49.543" v="789"/>
        <pc:sldMkLst>
          <pc:docMk/>
          <pc:sldMk cId="2534891703" sldId="3267"/>
        </pc:sldMkLst>
        <pc:spChg chg="add del mod">
          <ac:chgData name="Khrystyna Yatsyna" userId="e6954dd7-6c9e-43c8-bd42-ff8c4ce5393f" providerId="ADAL" clId="{BBB5A732-C083-4ACD-876F-6FB9A2AAF4AA}" dt="2023-08-18T12:34:49.262" v="788" actId="478"/>
          <ac:spMkLst>
            <pc:docMk/>
            <pc:sldMk cId="2534891703" sldId="3267"/>
            <ac:spMk id="4" creationId="{9BAC5302-3C4F-BE83-31D5-5C0C18BD00B7}"/>
          </ac:spMkLst>
        </pc:spChg>
        <pc:spChg chg="add mod">
          <ac:chgData name="Khrystyna Yatsyna" userId="e6954dd7-6c9e-43c8-bd42-ff8c4ce5393f" providerId="ADAL" clId="{BBB5A732-C083-4ACD-876F-6FB9A2AAF4AA}" dt="2023-08-03T11:36:08.432" v="495"/>
          <ac:spMkLst>
            <pc:docMk/>
            <pc:sldMk cId="2534891703" sldId="3267"/>
            <ac:spMk id="8" creationId="{117ABD4A-A790-E0D6-0CA9-C4950C507B2E}"/>
          </ac:spMkLst>
        </pc:spChg>
        <pc:spChg chg="add mod">
          <ac:chgData name="Khrystyna Yatsyna" userId="e6954dd7-6c9e-43c8-bd42-ff8c4ce5393f" providerId="ADAL" clId="{BBB5A732-C083-4ACD-876F-6FB9A2AAF4AA}" dt="2023-08-18T12:34:49.543" v="789"/>
          <ac:spMkLst>
            <pc:docMk/>
            <pc:sldMk cId="2534891703" sldId="3267"/>
            <ac:spMk id="10" creationId="{3D525F04-B443-AB2F-AC54-BDF6C81CC6F6}"/>
          </ac:spMkLst>
        </pc:spChg>
        <pc:spChg chg="add del mod">
          <ac:chgData name="Khrystyna Yatsyna" userId="e6954dd7-6c9e-43c8-bd42-ff8c4ce5393f" providerId="ADAL" clId="{BBB5A732-C083-4ACD-876F-6FB9A2AAF4AA}" dt="2023-08-03T13:20:31.194" v="581" actId="478"/>
          <ac:spMkLst>
            <pc:docMk/>
            <pc:sldMk cId="2534891703" sldId="3267"/>
            <ac:spMk id="10" creationId="{B0AC5912-92ED-C45B-EE8E-4C65978991BF}"/>
          </ac:spMkLst>
        </pc:spChg>
        <pc:spChg chg="mod">
          <ac:chgData name="Khrystyna Yatsyna" userId="e6954dd7-6c9e-43c8-bd42-ff8c4ce5393f" providerId="ADAL" clId="{BBB5A732-C083-4ACD-876F-6FB9A2AAF4AA}" dt="2023-08-03T11:36:08.432" v="495"/>
          <ac:spMkLst>
            <pc:docMk/>
            <pc:sldMk cId="2534891703" sldId="3267"/>
            <ac:spMk id="40" creationId="{5263AD3A-80C9-EC04-01A4-9909E7F5295F}"/>
          </ac:spMkLst>
        </pc:spChg>
        <pc:spChg chg="add mod">
          <ac:chgData name="Khrystyna Yatsyna" userId="e6954dd7-6c9e-43c8-bd42-ff8c4ce5393f" providerId="ADAL" clId="{BBB5A732-C083-4ACD-876F-6FB9A2AAF4AA}" dt="2023-08-18T12:34:49.543" v="789"/>
          <ac:spMkLst>
            <pc:docMk/>
            <pc:sldMk cId="2534891703" sldId="3267"/>
            <ac:spMk id="40" creationId="{E4DBBAE9-F73E-6DCC-9811-F083CB62D620}"/>
          </ac:spMkLst>
        </pc:spChg>
        <pc:spChg chg="mod">
          <ac:chgData name="Khrystyna Yatsyna" userId="e6954dd7-6c9e-43c8-bd42-ff8c4ce5393f" providerId="ADAL" clId="{BBB5A732-C083-4ACD-876F-6FB9A2AAF4AA}" dt="2023-08-03T11:36:08.432" v="495"/>
          <ac:spMkLst>
            <pc:docMk/>
            <pc:sldMk cId="2534891703" sldId="3267"/>
            <ac:spMk id="42" creationId="{EC3FBDDE-88BC-8378-35D5-0F378EFC1EE0}"/>
          </ac:spMkLst>
        </pc:spChg>
        <pc:spChg chg="mod">
          <ac:chgData name="Khrystyna Yatsyna" userId="e6954dd7-6c9e-43c8-bd42-ff8c4ce5393f" providerId="ADAL" clId="{BBB5A732-C083-4ACD-876F-6FB9A2AAF4AA}" dt="2023-08-03T11:36:08.432" v="495"/>
          <ac:spMkLst>
            <pc:docMk/>
            <pc:sldMk cId="2534891703" sldId="3267"/>
            <ac:spMk id="43" creationId="{560F8643-7288-8876-0E68-FCD56EEB5CB8}"/>
          </ac:spMkLst>
        </pc:spChg>
        <pc:spChg chg="mod">
          <ac:chgData name="Khrystyna Yatsyna" userId="e6954dd7-6c9e-43c8-bd42-ff8c4ce5393f" providerId="ADAL" clId="{BBB5A732-C083-4ACD-876F-6FB9A2AAF4AA}" dt="2023-08-03T11:36:08.432" v="495"/>
          <ac:spMkLst>
            <pc:docMk/>
            <pc:sldMk cId="2534891703" sldId="3267"/>
            <ac:spMk id="44" creationId="{77303D85-D176-57CF-5EFF-0B88D922F7AC}"/>
          </ac:spMkLst>
        </pc:spChg>
        <pc:spChg chg="mod">
          <ac:chgData name="Khrystyna Yatsyna" userId="e6954dd7-6c9e-43c8-bd42-ff8c4ce5393f" providerId="ADAL" clId="{BBB5A732-C083-4ACD-876F-6FB9A2AAF4AA}" dt="2023-08-03T11:36:08.432" v="495"/>
          <ac:spMkLst>
            <pc:docMk/>
            <pc:sldMk cId="2534891703" sldId="3267"/>
            <ac:spMk id="45" creationId="{6F1AA4C9-F9C8-C566-BC81-18F24370EF19}"/>
          </ac:spMkLst>
        </pc:spChg>
        <pc:spChg chg="mod">
          <ac:chgData name="Khrystyna Yatsyna" userId="e6954dd7-6c9e-43c8-bd42-ff8c4ce5393f" providerId="ADAL" clId="{BBB5A732-C083-4ACD-876F-6FB9A2AAF4AA}" dt="2023-08-03T11:36:08.432" v="495"/>
          <ac:spMkLst>
            <pc:docMk/>
            <pc:sldMk cId="2534891703" sldId="3267"/>
            <ac:spMk id="46" creationId="{BE40CFFB-2846-95D6-9DE2-FBAB58034B19}"/>
          </ac:spMkLst>
        </pc:spChg>
        <pc:spChg chg="add del mod">
          <ac:chgData name="Khrystyna Yatsyna" userId="e6954dd7-6c9e-43c8-bd42-ff8c4ce5393f" providerId="ADAL" clId="{BBB5A732-C083-4ACD-876F-6FB9A2AAF4AA}" dt="2023-08-18T12:34:49.262" v="788" actId="478"/>
          <ac:spMkLst>
            <pc:docMk/>
            <pc:sldMk cId="2534891703" sldId="3267"/>
            <ac:spMk id="47" creationId="{82FD0627-B451-DA47-9F4B-7B10044D648E}"/>
          </ac:spMkLst>
        </pc:spChg>
        <pc:spChg chg="add mod">
          <ac:chgData name="Khrystyna Yatsyna" userId="e6954dd7-6c9e-43c8-bd42-ff8c4ce5393f" providerId="ADAL" clId="{BBB5A732-C083-4ACD-876F-6FB9A2AAF4AA}" dt="2023-08-18T12:31:23.161" v="722" actId="108"/>
          <ac:spMkLst>
            <pc:docMk/>
            <pc:sldMk cId="2534891703" sldId="3267"/>
            <ac:spMk id="49" creationId="{5F230DD9-771E-47C0-350A-211B5D1ADB92}"/>
          </ac:spMkLst>
        </pc:spChg>
        <pc:spChg chg="add mod">
          <ac:chgData name="Khrystyna Yatsyna" userId="e6954dd7-6c9e-43c8-bd42-ff8c4ce5393f" providerId="ADAL" clId="{BBB5A732-C083-4ACD-876F-6FB9A2AAF4AA}" dt="2023-08-18T12:31:24.105" v="723" actId="108"/>
          <ac:spMkLst>
            <pc:docMk/>
            <pc:sldMk cId="2534891703" sldId="3267"/>
            <ac:spMk id="51" creationId="{B70D3E09-CC71-B21E-C1E7-9FA1E92F1266}"/>
          </ac:spMkLst>
        </pc:spChg>
        <pc:spChg chg="add mod">
          <ac:chgData name="Khrystyna Yatsyna" userId="e6954dd7-6c9e-43c8-bd42-ff8c4ce5393f" providerId="ADAL" clId="{BBB5A732-C083-4ACD-876F-6FB9A2AAF4AA}" dt="2023-08-18T12:31:25.253" v="724" actId="108"/>
          <ac:spMkLst>
            <pc:docMk/>
            <pc:sldMk cId="2534891703" sldId="3267"/>
            <ac:spMk id="53" creationId="{07A92475-AF0C-B2DD-031C-E489CFA5FD94}"/>
          </ac:spMkLst>
        </pc:spChg>
        <pc:spChg chg="add mod">
          <ac:chgData name="Khrystyna Yatsyna" userId="e6954dd7-6c9e-43c8-bd42-ff8c4ce5393f" providerId="ADAL" clId="{BBB5A732-C083-4ACD-876F-6FB9A2AAF4AA}" dt="2023-08-03T13:20:31.398" v="582"/>
          <ac:spMkLst>
            <pc:docMk/>
            <pc:sldMk cId="2534891703" sldId="3267"/>
            <ac:spMk id="55" creationId="{372BB0AB-765F-A084-3901-6EDF2B2300BA}"/>
          </ac:spMkLst>
        </pc:spChg>
        <pc:spChg chg="mod">
          <ac:chgData name="Khrystyna Yatsyna" userId="e6954dd7-6c9e-43c8-bd42-ff8c4ce5393f" providerId="ADAL" clId="{BBB5A732-C083-4ACD-876F-6FB9A2AAF4AA}" dt="2023-08-03T13:20:31.398" v="582"/>
          <ac:spMkLst>
            <pc:docMk/>
            <pc:sldMk cId="2534891703" sldId="3267"/>
            <ac:spMk id="57" creationId="{670AA1D6-0513-CBA7-398E-93E40B7CB8A7}"/>
          </ac:spMkLst>
        </pc:spChg>
        <pc:spChg chg="mod">
          <ac:chgData name="Khrystyna Yatsyna" userId="e6954dd7-6c9e-43c8-bd42-ff8c4ce5393f" providerId="ADAL" clId="{BBB5A732-C083-4ACD-876F-6FB9A2AAF4AA}" dt="2023-08-03T13:20:31.398" v="582"/>
          <ac:spMkLst>
            <pc:docMk/>
            <pc:sldMk cId="2534891703" sldId="3267"/>
            <ac:spMk id="58" creationId="{AD3C336C-0548-56FB-E133-72D025193C8F}"/>
          </ac:spMkLst>
        </pc:spChg>
        <pc:spChg chg="mod">
          <ac:chgData name="Khrystyna Yatsyna" userId="e6954dd7-6c9e-43c8-bd42-ff8c4ce5393f" providerId="ADAL" clId="{BBB5A732-C083-4ACD-876F-6FB9A2AAF4AA}" dt="2023-08-03T13:20:31.398" v="582"/>
          <ac:spMkLst>
            <pc:docMk/>
            <pc:sldMk cId="2534891703" sldId="3267"/>
            <ac:spMk id="59" creationId="{B1C76D87-3642-D738-9FA7-F277F28BEE19}"/>
          </ac:spMkLst>
        </pc:spChg>
        <pc:spChg chg="mod">
          <ac:chgData name="Khrystyna Yatsyna" userId="e6954dd7-6c9e-43c8-bd42-ff8c4ce5393f" providerId="ADAL" clId="{BBB5A732-C083-4ACD-876F-6FB9A2AAF4AA}" dt="2023-08-03T13:20:31.398" v="582"/>
          <ac:spMkLst>
            <pc:docMk/>
            <pc:sldMk cId="2534891703" sldId="3267"/>
            <ac:spMk id="60" creationId="{CC5ADF7A-991B-67BE-18D9-7EF94EE37DAD}"/>
          </ac:spMkLst>
        </pc:spChg>
        <pc:spChg chg="mod">
          <ac:chgData name="Khrystyna Yatsyna" userId="e6954dd7-6c9e-43c8-bd42-ff8c4ce5393f" providerId="ADAL" clId="{BBB5A732-C083-4ACD-876F-6FB9A2AAF4AA}" dt="2023-08-03T13:20:31.398" v="582"/>
          <ac:spMkLst>
            <pc:docMk/>
            <pc:sldMk cId="2534891703" sldId="3267"/>
            <ac:spMk id="61" creationId="{3A4FF4F9-7766-E0C7-4477-4DCAC2F0B916}"/>
          </ac:spMkLst>
        </pc:spChg>
        <pc:spChg chg="del">
          <ac:chgData name="Khrystyna Yatsyna" userId="e6954dd7-6c9e-43c8-bd42-ff8c4ce5393f" providerId="ADAL" clId="{BBB5A732-C083-4ACD-876F-6FB9A2AAF4AA}" dt="2023-08-03T11:36:07.421" v="494" actId="478"/>
          <ac:spMkLst>
            <pc:docMk/>
            <pc:sldMk cId="2534891703" sldId="3267"/>
            <ac:spMk id="61" creationId="{5F7F2608-A770-1869-1225-C40215B3E326}"/>
          </ac:spMkLst>
        </pc:spChg>
        <pc:spChg chg="mod">
          <ac:chgData name="Khrystyna Yatsyna" userId="e6954dd7-6c9e-43c8-bd42-ff8c4ce5393f" providerId="ADAL" clId="{BBB5A732-C083-4ACD-876F-6FB9A2AAF4AA}" dt="2023-08-03T13:20:31.398" v="582"/>
          <ac:spMkLst>
            <pc:docMk/>
            <pc:sldMk cId="2534891703" sldId="3267"/>
            <ac:spMk id="62" creationId="{5051FB85-5071-52C3-B01C-EB8205C47C03}"/>
          </ac:spMkLst>
        </pc:spChg>
        <pc:spChg chg="del">
          <ac:chgData name="Khrystyna Yatsyna" userId="e6954dd7-6c9e-43c8-bd42-ff8c4ce5393f" providerId="ADAL" clId="{BBB5A732-C083-4ACD-876F-6FB9A2AAF4AA}" dt="2023-08-03T11:36:07.421" v="494" actId="478"/>
          <ac:spMkLst>
            <pc:docMk/>
            <pc:sldMk cId="2534891703" sldId="3267"/>
            <ac:spMk id="63" creationId="{7704E34D-28F8-B0EF-8AF2-FB6C75046B9F}"/>
          </ac:spMkLst>
        </pc:spChg>
        <pc:spChg chg="del">
          <ac:chgData name="Khrystyna Yatsyna" userId="e6954dd7-6c9e-43c8-bd42-ff8c4ce5393f" providerId="ADAL" clId="{BBB5A732-C083-4ACD-876F-6FB9A2AAF4AA}" dt="2023-08-03T11:36:07.421" v="494" actId="478"/>
          <ac:spMkLst>
            <pc:docMk/>
            <pc:sldMk cId="2534891703" sldId="3267"/>
            <ac:spMk id="513" creationId="{DDA8B887-3629-4AD9-752F-C1F67D81C4E9}"/>
          </ac:spMkLst>
        </pc:spChg>
        <pc:spChg chg="del">
          <ac:chgData name="Khrystyna Yatsyna" userId="e6954dd7-6c9e-43c8-bd42-ff8c4ce5393f" providerId="ADAL" clId="{BBB5A732-C083-4ACD-876F-6FB9A2AAF4AA}" dt="2023-08-03T11:36:07.421" v="494" actId="478"/>
          <ac:spMkLst>
            <pc:docMk/>
            <pc:sldMk cId="2534891703" sldId="3267"/>
            <ac:spMk id="524" creationId="{AB023B86-E9D8-FFE7-4092-6BE15C4F1A0E}"/>
          </ac:spMkLst>
        </pc:spChg>
        <pc:spChg chg="del">
          <ac:chgData name="Khrystyna Yatsyna" userId="e6954dd7-6c9e-43c8-bd42-ff8c4ce5393f" providerId="ADAL" clId="{BBB5A732-C083-4ACD-876F-6FB9A2AAF4AA}" dt="2023-08-03T11:36:07.421" v="494" actId="478"/>
          <ac:spMkLst>
            <pc:docMk/>
            <pc:sldMk cId="2534891703" sldId="3267"/>
            <ac:spMk id="526" creationId="{4A9F8074-4E01-3C70-6A8D-4F4057DC7358}"/>
          </ac:spMkLst>
        </pc:spChg>
        <pc:spChg chg="del">
          <ac:chgData name="Khrystyna Yatsyna" userId="e6954dd7-6c9e-43c8-bd42-ff8c4ce5393f" providerId="ADAL" clId="{BBB5A732-C083-4ACD-876F-6FB9A2AAF4AA}" dt="2023-08-03T11:36:07.421" v="494" actId="478"/>
          <ac:spMkLst>
            <pc:docMk/>
            <pc:sldMk cId="2534891703" sldId="3267"/>
            <ac:spMk id="528" creationId="{FF7AFE8D-8693-5C01-9728-67B48F102B2B}"/>
          </ac:spMkLst>
        </pc:spChg>
        <pc:spChg chg="del">
          <ac:chgData name="Khrystyna Yatsyna" userId="e6954dd7-6c9e-43c8-bd42-ff8c4ce5393f" providerId="ADAL" clId="{BBB5A732-C083-4ACD-876F-6FB9A2AAF4AA}" dt="2023-08-03T11:36:07.421" v="494" actId="478"/>
          <ac:spMkLst>
            <pc:docMk/>
            <pc:sldMk cId="2534891703" sldId="3267"/>
            <ac:spMk id="530" creationId="{258702E1-FF36-FE46-848A-7C6EC991A73A}"/>
          </ac:spMkLst>
        </pc:spChg>
        <pc:grpChg chg="add del mod">
          <ac:chgData name="Khrystyna Yatsyna" userId="e6954dd7-6c9e-43c8-bd42-ff8c4ce5393f" providerId="ADAL" clId="{BBB5A732-C083-4ACD-876F-6FB9A2AAF4AA}" dt="2023-08-03T13:20:31.194" v="581" actId="478"/>
          <ac:grpSpMkLst>
            <pc:docMk/>
            <pc:sldMk cId="2534891703" sldId="3267"/>
            <ac:grpSpMk id="26" creationId="{9CDB7203-47B4-8670-A8F2-219F2FC4C09B}"/>
          </ac:grpSpMkLst>
        </pc:grpChg>
        <pc:grpChg chg="add mod">
          <ac:chgData name="Khrystyna Yatsyna" userId="e6954dd7-6c9e-43c8-bd42-ff8c4ce5393f" providerId="ADAL" clId="{BBB5A732-C083-4ACD-876F-6FB9A2AAF4AA}" dt="2023-08-03T13:20:31.398" v="582"/>
          <ac:grpSpMkLst>
            <pc:docMk/>
            <pc:sldMk cId="2534891703" sldId="3267"/>
            <ac:grpSpMk id="56" creationId="{501163DA-C321-8FDE-219D-CC8CABB0C48E}"/>
          </ac:grpSpMkLst>
        </pc:grpChg>
        <pc:grpChg chg="del">
          <ac:chgData name="Khrystyna Yatsyna" userId="e6954dd7-6c9e-43c8-bd42-ff8c4ce5393f" providerId="ADAL" clId="{BBB5A732-C083-4ACD-876F-6FB9A2AAF4AA}" dt="2023-08-03T11:36:07.421" v="494" actId="478"/>
          <ac:grpSpMkLst>
            <pc:docMk/>
            <pc:sldMk cId="2534891703" sldId="3267"/>
            <ac:grpSpMk id="514" creationId="{E786664F-FEA4-93CE-661B-3F28D010D387}"/>
          </ac:grpSpMkLst>
        </pc:grpChg>
        <pc:picChg chg="add del mod">
          <ac:chgData name="Khrystyna Yatsyna" userId="e6954dd7-6c9e-43c8-bd42-ff8c4ce5393f" providerId="ADAL" clId="{BBB5A732-C083-4ACD-876F-6FB9A2AAF4AA}" dt="2023-08-18T12:34:49.262" v="788" actId="478"/>
          <ac:picMkLst>
            <pc:docMk/>
            <pc:sldMk cId="2534891703" sldId="3267"/>
            <ac:picMk id="7" creationId="{BFCDD659-F07D-0F1E-357F-B2EBDB9FD419}"/>
          </ac:picMkLst>
        </pc:picChg>
        <pc:picChg chg="add mod">
          <ac:chgData name="Khrystyna Yatsyna" userId="e6954dd7-6c9e-43c8-bd42-ff8c4ce5393f" providerId="ADAL" clId="{BBB5A732-C083-4ACD-876F-6FB9A2AAF4AA}" dt="2023-08-03T11:36:08.432" v="495"/>
          <ac:picMkLst>
            <pc:docMk/>
            <pc:sldMk cId="2534891703" sldId="3267"/>
            <ac:picMk id="9" creationId="{D1C02E8D-6B1F-B3C9-C3EC-1CD976336446}"/>
          </ac:picMkLst>
        </pc:picChg>
        <pc:picChg chg="add mod">
          <ac:chgData name="Khrystyna Yatsyna" userId="e6954dd7-6c9e-43c8-bd42-ff8c4ce5393f" providerId="ADAL" clId="{BBB5A732-C083-4ACD-876F-6FB9A2AAF4AA}" dt="2023-08-18T12:34:49.543" v="789"/>
          <ac:picMkLst>
            <pc:docMk/>
            <pc:sldMk cId="2534891703" sldId="3267"/>
            <ac:picMk id="26" creationId="{F0770615-2079-8380-3D24-5A5E2B7A7F4A}"/>
          </ac:picMkLst>
        </pc:picChg>
        <pc:picChg chg="add mod">
          <ac:chgData name="Khrystyna Yatsyna" userId="e6954dd7-6c9e-43c8-bd42-ff8c4ce5393f" providerId="ADAL" clId="{BBB5A732-C083-4ACD-876F-6FB9A2AAF4AA}" dt="2023-08-18T12:34:49.543" v="789"/>
          <ac:picMkLst>
            <pc:docMk/>
            <pc:sldMk cId="2534891703" sldId="3267"/>
            <ac:picMk id="42" creationId="{56A82CDA-D7DC-E575-164D-FDE2E2701DFC}"/>
          </ac:picMkLst>
        </pc:picChg>
        <pc:picChg chg="add del mod">
          <ac:chgData name="Khrystyna Yatsyna" userId="e6954dd7-6c9e-43c8-bd42-ff8c4ce5393f" providerId="ADAL" clId="{BBB5A732-C083-4ACD-876F-6FB9A2AAF4AA}" dt="2023-08-18T12:34:49.262" v="788" actId="478"/>
          <ac:picMkLst>
            <pc:docMk/>
            <pc:sldMk cId="2534891703" sldId="3267"/>
            <ac:picMk id="48" creationId="{4A2956FC-0558-89ED-914A-92452B05BDB6}"/>
          </ac:picMkLst>
        </pc:picChg>
        <pc:picChg chg="add mod">
          <ac:chgData name="Khrystyna Yatsyna" userId="e6954dd7-6c9e-43c8-bd42-ff8c4ce5393f" providerId="ADAL" clId="{BBB5A732-C083-4ACD-876F-6FB9A2AAF4AA}" dt="2023-08-03T11:36:08.432" v="495"/>
          <ac:picMkLst>
            <pc:docMk/>
            <pc:sldMk cId="2534891703" sldId="3267"/>
            <ac:picMk id="50" creationId="{A9419DFD-934F-1268-FC29-3C5293A47C4F}"/>
          </ac:picMkLst>
        </pc:picChg>
        <pc:picChg chg="add mod">
          <ac:chgData name="Khrystyna Yatsyna" userId="e6954dd7-6c9e-43c8-bd42-ff8c4ce5393f" providerId="ADAL" clId="{BBB5A732-C083-4ACD-876F-6FB9A2AAF4AA}" dt="2023-08-03T11:36:08.432" v="495"/>
          <ac:picMkLst>
            <pc:docMk/>
            <pc:sldMk cId="2534891703" sldId="3267"/>
            <ac:picMk id="52" creationId="{680749D3-EDCB-842F-2389-7F363416DF9B}"/>
          </ac:picMkLst>
        </pc:picChg>
        <pc:picChg chg="add mod">
          <ac:chgData name="Khrystyna Yatsyna" userId="e6954dd7-6c9e-43c8-bd42-ff8c4ce5393f" providerId="ADAL" clId="{BBB5A732-C083-4ACD-876F-6FB9A2AAF4AA}" dt="2023-08-03T11:36:08.432" v="495"/>
          <ac:picMkLst>
            <pc:docMk/>
            <pc:sldMk cId="2534891703" sldId="3267"/>
            <ac:picMk id="54" creationId="{06400ACD-17CB-9F98-39BD-5A729422F52F}"/>
          </ac:picMkLst>
        </pc:picChg>
        <pc:picChg chg="del">
          <ac:chgData name="Khrystyna Yatsyna" userId="e6954dd7-6c9e-43c8-bd42-ff8c4ce5393f" providerId="ADAL" clId="{BBB5A732-C083-4ACD-876F-6FB9A2AAF4AA}" dt="2023-08-03T11:36:07.421" v="494" actId="478"/>
          <ac:picMkLst>
            <pc:docMk/>
            <pc:sldMk cId="2534891703" sldId="3267"/>
            <ac:picMk id="62" creationId="{47F9A3FE-21D1-177F-9BA8-A0D477CAC6FD}"/>
          </ac:picMkLst>
        </pc:picChg>
        <pc:picChg chg="del">
          <ac:chgData name="Khrystyna Yatsyna" userId="e6954dd7-6c9e-43c8-bd42-ff8c4ce5393f" providerId="ADAL" clId="{BBB5A732-C083-4ACD-876F-6FB9A2AAF4AA}" dt="2023-08-03T11:36:07.421" v="494" actId="478"/>
          <ac:picMkLst>
            <pc:docMk/>
            <pc:sldMk cId="2534891703" sldId="3267"/>
            <ac:picMk id="512" creationId="{4795767B-23CA-2C36-FF52-4CE12D04ADFD}"/>
          </ac:picMkLst>
        </pc:picChg>
        <pc:picChg chg="del">
          <ac:chgData name="Khrystyna Yatsyna" userId="e6954dd7-6c9e-43c8-bd42-ff8c4ce5393f" providerId="ADAL" clId="{BBB5A732-C083-4ACD-876F-6FB9A2AAF4AA}" dt="2023-08-03T11:36:07.421" v="494" actId="478"/>
          <ac:picMkLst>
            <pc:docMk/>
            <pc:sldMk cId="2534891703" sldId="3267"/>
            <ac:picMk id="525" creationId="{0E929494-0F67-CE6A-210E-F465354209B1}"/>
          </ac:picMkLst>
        </pc:picChg>
        <pc:picChg chg="del">
          <ac:chgData name="Khrystyna Yatsyna" userId="e6954dd7-6c9e-43c8-bd42-ff8c4ce5393f" providerId="ADAL" clId="{BBB5A732-C083-4ACD-876F-6FB9A2AAF4AA}" dt="2023-08-03T11:36:07.421" v="494" actId="478"/>
          <ac:picMkLst>
            <pc:docMk/>
            <pc:sldMk cId="2534891703" sldId="3267"/>
            <ac:picMk id="527" creationId="{333E3F3B-BCA8-3627-C05C-92E3C290A643}"/>
          </ac:picMkLst>
        </pc:picChg>
        <pc:picChg chg="del">
          <ac:chgData name="Khrystyna Yatsyna" userId="e6954dd7-6c9e-43c8-bd42-ff8c4ce5393f" providerId="ADAL" clId="{BBB5A732-C083-4ACD-876F-6FB9A2AAF4AA}" dt="2023-08-03T11:36:07.421" v="494" actId="478"/>
          <ac:picMkLst>
            <pc:docMk/>
            <pc:sldMk cId="2534891703" sldId="3267"/>
            <ac:picMk id="529" creationId="{357FEF07-96DF-46B8-D31A-1F2EDE8339A3}"/>
          </ac:picMkLst>
        </pc:picChg>
        <pc:picChg chg="del">
          <ac:chgData name="Khrystyna Yatsyna" userId="e6954dd7-6c9e-43c8-bd42-ff8c4ce5393f" providerId="ADAL" clId="{BBB5A732-C083-4ACD-876F-6FB9A2AAF4AA}" dt="2023-08-03T11:36:07.421" v="494" actId="478"/>
          <ac:picMkLst>
            <pc:docMk/>
            <pc:sldMk cId="2534891703" sldId="3267"/>
            <ac:picMk id="531" creationId="{E3C38B93-361A-9025-3C18-C1ED5981C1D7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4:53.217" v="791"/>
        <pc:sldMkLst>
          <pc:docMk/>
          <pc:sldMk cId="2731447932" sldId="3268"/>
        </pc:sldMkLst>
        <pc:spChg chg="add del mod">
          <ac:chgData name="Khrystyna Yatsyna" userId="e6954dd7-6c9e-43c8-bd42-ff8c4ce5393f" providerId="ADAL" clId="{BBB5A732-C083-4ACD-876F-6FB9A2AAF4AA}" dt="2023-08-18T12:34:52.974" v="790" actId="478"/>
          <ac:spMkLst>
            <pc:docMk/>
            <pc:sldMk cId="2731447932" sldId="3268"/>
            <ac:spMk id="5" creationId="{F907E266-53A5-98D6-0310-33EC6CF4220D}"/>
          </ac:spMkLst>
        </pc:spChg>
        <pc:spChg chg="add mod">
          <ac:chgData name="Khrystyna Yatsyna" userId="e6954dd7-6c9e-43c8-bd42-ff8c4ce5393f" providerId="ADAL" clId="{BBB5A732-C083-4ACD-876F-6FB9A2AAF4AA}" dt="2023-08-18T12:31:29.617" v="726" actId="108"/>
          <ac:spMkLst>
            <pc:docMk/>
            <pc:sldMk cId="2731447932" sldId="3268"/>
            <ac:spMk id="9" creationId="{99C0DB72-39A3-2F35-FE67-6F7609B08E06}"/>
          </ac:spMkLst>
        </pc:spChg>
        <pc:spChg chg="add del mod">
          <ac:chgData name="Khrystyna Yatsyna" userId="e6954dd7-6c9e-43c8-bd42-ff8c4ce5393f" providerId="ADAL" clId="{BBB5A732-C083-4ACD-876F-6FB9A2AAF4AA}" dt="2023-08-03T13:20:34.615" v="583" actId="478"/>
          <ac:spMkLst>
            <pc:docMk/>
            <pc:sldMk cId="2731447932" sldId="3268"/>
            <ac:spMk id="11" creationId="{6A00E63C-0128-7FDF-2A77-94483559BDBF}"/>
          </ac:spMkLst>
        </pc:spChg>
        <pc:spChg chg="add mod">
          <ac:chgData name="Khrystyna Yatsyna" userId="e6954dd7-6c9e-43c8-bd42-ff8c4ce5393f" providerId="ADAL" clId="{BBB5A732-C083-4ACD-876F-6FB9A2AAF4AA}" dt="2023-08-18T12:34:53.217" v="791"/>
          <ac:spMkLst>
            <pc:docMk/>
            <pc:sldMk cId="2731447932" sldId="3268"/>
            <ac:spMk id="11" creationId="{85FE52CF-BBD3-E0B0-B84D-C78CAC4363B2}"/>
          </ac:spMkLst>
        </pc:spChg>
        <pc:spChg chg="add mod">
          <ac:chgData name="Khrystyna Yatsyna" userId="e6954dd7-6c9e-43c8-bd42-ff8c4ce5393f" providerId="ADAL" clId="{BBB5A732-C083-4ACD-876F-6FB9A2AAF4AA}" dt="2023-08-18T12:34:53.217" v="791"/>
          <ac:spMkLst>
            <pc:docMk/>
            <pc:sldMk cId="2731447932" sldId="3268"/>
            <ac:spMk id="13" creationId="{904EBED3-A3F0-E79E-8F20-E71E06380393}"/>
          </ac:spMkLst>
        </pc:spChg>
        <pc:spChg chg="mod">
          <ac:chgData name="Khrystyna Yatsyna" userId="e6954dd7-6c9e-43c8-bd42-ff8c4ce5393f" providerId="ADAL" clId="{BBB5A732-C083-4ACD-876F-6FB9A2AAF4AA}" dt="2023-08-03T11:36:13.288" v="497"/>
          <ac:spMkLst>
            <pc:docMk/>
            <pc:sldMk cId="2731447932" sldId="3268"/>
            <ac:spMk id="13" creationId="{AA892021-3E26-96AA-1323-ECEE1B4A1FA2}"/>
          </ac:spMkLst>
        </pc:spChg>
        <pc:spChg chg="mod">
          <ac:chgData name="Khrystyna Yatsyna" userId="e6954dd7-6c9e-43c8-bd42-ff8c4ce5393f" providerId="ADAL" clId="{BBB5A732-C083-4ACD-876F-6FB9A2AAF4AA}" dt="2023-08-03T11:36:13.288" v="497"/>
          <ac:spMkLst>
            <pc:docMk/>
            <pc:sldMk cId="2731447932" sldId="3268"/>
            <ac:spMk id="14" creationId="{AD469FF2-20D2-E272-448C-6DCE79E029C7}"/>
          </ac:spMkLst>
        </pc:spChg>
        <pc:spChg chg="mod">
          <ac:chgData name="Khrystyna Yatsyna" userId="e6954dd7-6c9e-43c8-bd42-ff8c4ce5393f" providerId="ADAL" clId="{BBB5A732-C083-4ACD-876F-6FB9A2AAF4AA}" dt="2023-08-03T11:36:13.288" v="497"/>
          <ac:spMkLst>
            <pc:docMk/>
            <pc:sldMk cId="2731447932" sldId="3268"/>
            <ac:spMk id="15" creationId="{F78EA7CE-8958-C176-89BD-80D99AC35B5A}"/>
          </ac:spMkLst>
        </pc:spChg>
        <pc:spChg chg="mod">
          <ac:chgData name="Khrystyna Yatsyna" userId="e6954dd7-6c9e-43c8-bd42-ff8c4ce5393f" providerId="ADAL" clId="{BBB5A732-C083-4ACD-876F-6FB9A2AAF4AA}" dt="2023-08-03T11:36:13.288" v="497"/>
          <ac:spMkLst>
            <pc:docMk/>
            <pc:sldMk cId="2731447932" sldId="3268"/>
            <ac:spMk id="16" creationId="{CFB8BCE4-C011-BADB-72AA-7BE19CB8C285}"/>
          </ac:spMkLst>
        </pc:spChg>
        <pc:spChg chg="mod">
          <ac:chgData name="Khrystyna Yatsyna" userId="e6954dd7-6c9e-43c8-bd42-ff8c4ce5393f" providerId="ADAL" clId="{BBB5A732-C083-4ACD-876F-6FB9A2AAF4AA}" dt="2023-08-03T11:36:13.288" v="497"/>
          <ac:spMkLst>
            <pc:docMk/>
            <pc:sldMk cId="2731447932" sldId="3268"/>
            <ac:spMk id="17" creationId="{8651AADB-0BC5-5733-1713-371489BD8829}"/>
          </ac:spMkLst>
        </pc:spChg>
        <pc:spChg chg="mod">
          <ac:chgData name="Khrystyna Yatsyna" userId="e6954dd7-6c9e-43c8-bd42-ff8c4ce5393f" providerId="ADAL" clId="{BBB5A732-C083-4ACD-876F-6FB9A2AAF4AA}" dt="2023-08-03T11:36:13.288" v="497"/>
          <ac:spMkLst>
            <pc:docMk/>
            <pc:sldMk cId="2731447932" sldId="3268"/>
            <ac:spMk id="18" creationId="{B7264A17-C45A-DE5B-FA6B-4322D6D7AB76}"/>
          </ac:spMkLst>
        </pc:spChg>
        <pc:spChg chg="add del mod">
          <ac:chgData name="Khrystyna Yatsyna" userId="e6954dd7-6c9e-43c8-bd42-ff8c4ce5393f" providerId="ADAL" clId="{BBB5A732-C083-4ACD-876F-6FB9A2AAF4AA}" dt="2023-08-18T12:34:52.974" v="790" actId="478"/>
          <ac:spMkLst>
            <pc:docMk/>
            <pc:sldMk cId="2731447932" sldId="3268"/>
            <ac:spMk id="19" creationId="{6A3C3258-9C93-355B-0148-36F155D7EFC9}"/>
          </ac:spMkLst>
        </pc:spChg>
        <pc:spChg chg="add mod">
          <ac:chgData name="Khrystyna Yatsyna" userId="e6954dd7-6c9e-43c8-bd42-ff8c4ce5393f" providerId="ADAL" clId="{BBB5A732-C083-4ACD-876F-6FB9A2AAF4AA}" dt="2023-08-18T12:31:30.877" v="727" actId="108"/>
          <ac:spMkLst>
            <pc:docMk/>
            <pc:sldMk cId="2731447932" sldId="3268"/>
            <ac:spMk id="21" creationId="{143F431A-8F8F-84AA-3B1A-B5D4D0E1D9E6}"/>
          </ac:spMkLst>
        </pc:spChg>
        <pc:spChg chg="add mod">
          <ac:chgData name="Khrystyna Yatsyna" userId="e6954dd7-6c9e-43c8-bd42-ff8c4ce5393f" providerId="ADAL" clId="{BBB5A732-C083-4ACD-876F-6FB9A2AAF4AA}" dt="2023-08-18T12:31:32.103" v="728" actId="108"/>
          <ac:spMkLst>
            <pc:docMk/>
            <pc:sldMk cId="2731447932" sldId="3268"/>
            <ac:spMk id="23" creationId="{3D92C7EE-304A-365A-4B7F-B2156FD8AF0B}"/>
          </ac:spMkLst>
        </pc:spChg>
        <pc:spChg chg="add mod">
          <ac:chgData name="Khrystyna Yatsyna" userId="e6954dd7-6c9e-43c8-bd42-ff8c4ce5393f" providerId="ADAL" clId="{BBB5A732-C083-4ACD-876F-6FB9A2AAF4AA}" dt="2023-08-18T12:31:33.130" v="729" actId="108"/>
          <ac:spMkLst>
            <pc:docMk/>
            <pc:sldMk cId="2731447932" sldId="3268"/>
            <ac:spMk id="27" creationId="{D54E8111-843C-6756-4F70-0B0DCA1FB278}"/>
          </ac:spMkLst>
        </pc:spChg>
        <pc:spChg chg="add mod">
          <ac:chgData name="Khrystyna Yatsyna" userId="e6954dd7-6c9e-43c8-bd42-ff8c4ce5393f" providerId="ADAL" clId="{BBB5A732-C083-4ACD-876F-6FB9A2AAF4AA}" dt="2023-08-03T13:20:34.788" v="584"/>
          <ac:spMkLst>
            <pc:docMk/>
            <pc:sldMk cId="2731447932" sldId="3268"/>
            <ac:spMk id="29" creationId="{B567A748-5186-5465-B706-D67F90E58BD4}"/>
          </ac:spMkLst>
        </pc:spChg>
        <pc:spChg chg="mod">
          <ac:chgData name="Khrystyna Yatsyna" userId="e6954dd7-6c9e-43c8-bd42-ff8c4ce5393f" providerId="ADAL" clId="{BBB5A732-C083-4ACD-876F-6FB9A2AAF4AA}" dt="2023-08-03T13:20:34.788" v="584"/>
          <ac:spMkLst>
            <pc:docMk/>
            <pc:sldMk cId="2731447932" sldId="3268"/>
            <ac:spMk id="31" creationId="{F13F2F25-55E7-0AFA-7185-17295B152B94}"/>
          </ac:spMkLst>
        </pc:spChg>
        <pc:spChg chg="mod">
          <ac:chgData name="Khrystyna Yatsyna" userId="e6954dd7-6c9e-43c8-bd42-ff8c4ce5393f" providerId="ADAL" clId="{BBB5A732-C083-4ACD-876F-6FB9A2AAF4AA}" dt="2023-08-03T13:20:34.788" v="584"/>
          <ac:spMkLst>
            <pc:docMk/>
            <pc:sldMk cId="2731447932" sldId="3268"/>
            <ac:spMk id="32" creationId="{9E449324-FD77-ABD9-68FC-DE9DFCA30B31}"/>
          </ac:spMkLst>
        </pc:spChg>
        <pc:spChg chg="mod">
          <ac:chgData name="Khrystyna Yatsyna" userId="e6954dd7-6c9e-43c8-bd42-ff8c4ce5393f" providerId="ADAL" clId="{BBB5A732-C083-4ACD-876F-6FB9A2AAF4AA}" dt="2023-08-03T13:20:34.788" v="584"/>
          <ac:spMkLst>
            <pc:docMk/>
            <pc:sldMk cId="2731447932" sldId="3268"/>
            <ac:spMk id="33" creationId="{E4DF30B4-39F8-BF2B-6975-A0A23E5BE3BC}"/>
          </ac:spMkLst>
        </pc:spChg>
        <pc:spChg chg="mod">
          <ac:chgData name="Khrystyna Yatsyna" userId="e6954dd7-6c9e-43c8-bd42-ff8c4ce5393f" providerId="ADAL" clId="{BBB5A732-C083-4ACD-876F-6FB9A2AAF4AA}" dt="2023-08-03T13:20:34.788" v="584"/>
          <ac:spMkLst>
            <pc:docMk/>
            <pc:sldMk cId="2731447932" sldId="3268"/>
            <ac:spMk id="34" creationId="{A39746F5-AE32-D909-CA97-63ABE1F62173}"/>
          </ac:spMkLst>
        </pc:spChg>
        <pc:spChg chg="mod">
          <ac:chgData name="Khrystyna Yatsyna" userId="e6954dd7-6c9e-43c8-bd42-ff8c4ce5393f" providerId="ADAL" clId="{BBB5A732-C083-4ACD-876F-6FB9A2AAF4AA}" dt="2023-08-03T13:20:34.788" v="584"/>
          <ac:spMkLst>
            <pc:docMk/>
            <pc:sldMk cId="2731447932" sldId="3268"/>
            <ac:spMk id="35" creationId="{E2A81747-5D06-1400-A266-859D7FC3F1EE}"/>
          </ac:spMkLst>
        </pc:spChg>
        <pc:spChg chg="mod">
          <ac:chgData name="Khrystyna Yatsyna" userId="e6954dd7-6c9e-43c8-bd42-ff8c4ce5393f" providerId="ADAL" clId="{BBB5A732-C083-4ACD-876F-6FB9A2AAF4AA}" dt="2023-08-03T13:20:34.788" v="584"/>
          <ac:spMkLst>
            <pc:docMk/>
            <pc:sldMk cId="2731447932" sldId="3268"/>
            <ac:spMk id="36" creationId="{4C87D314-5CCB-14B8-65C8-BCEF70D51FBC}"/>
          </ac:spMkLst>
        </pc:spChg>
        <pc:spChg chg="del">
          <ac:chgData name="Khrystyna Yatsyna" userId="e6954dd7-6c9e-43c8-bd42-ff8c4ce5393f" providerId="ADAL" clId="{BBB5A732-C083-4ACD-876F-6FB9A2AAF4AA}" dt="2023-08-03T11:36:12.444" v="496" actId="478"/>
          <ac:spMkLst>
            <pc:docMk/>
            <pc:sldMk cId="2731447932" sldId="3268"/>
            <ac:spMk id="61" creationId="{5F7F2608-A770-1869-1225-C40215B3E326}"/>
          </ac:spMkLst>
        </pc:spChg>
        <pc:spChg chg="del">
          <ac:chgData name="Khrystyna Yatsyna" userId="e6954dd7-6c9e-43c8-bd42-ff8c4ce5393f" providerId="ADAL" clId="{BBB5A732-C083-4ACD-876F-6FB9A2AAF4AA}" dt="2023-08-03T11:36:12.444" v="496" actId="478"/>
          <ac:spMkLst>
            <pc:docMk/>
            <pc:sldMk cId="2731447932" sldId="3268"/>
            <ac:spMk id="63" creationId="{7704E34D-28F8-B0EF-8AF2-FB6C75046B9F}"/>
          </ac:spMkLst>
        </pc:spChg>
        <pc:spChg chg="del">
          <ac:chgData name="Khrystyna Yatsyna" userId="e6954dd7-6c9e-43c8-bd42-ff8c4ce5393f" providerId="ADAL" clId="{BBB5A732-C083-4ACD-876F-6FB9A2AAF4AA}" dt="2023-08-03T11:36:12.444" v="496" actId="478"/>
          <ac:spMkLst>
            <pc:docMk/>
            <pc:sldMk cId="2731447932" sldId="3268"/>
            <ac:spMk id="513" creationId="{DDA8B887-3629-4AD9-752F-C1F67D81C4E9}"/>
          </ac:spMkLst>
        </pc:spChg>
        <pc:spChg chg="del">
          <ac:chgData name="Khrystyna Yatsyna" userId="e6954dd7-6c9e-43c8-bd42-ff8c4ce5393f" providerId="ADAL" clId="{BBB5A732-C083-4ACD-876F-6FB9A2AAF4AA}" dt="2023-08-03T11:36:12.444" v="496" actId="478"/>
          <ac:spMkLst>
            <pc:docMk/>
            <pc:sldMk cId="2731447932" sldId="3268"/>
            <ac:spMk id="524" creationId="{AB023B86-E9D8-FFE7-4092-6BE15C4F1A0E}"/>
          </ac:spMkLst>
        </pc:spChg>
        <pc:spChg chg="del">
          <ac:chgData name="Khrystyna Yatsyna" userId="e6954dd7-6c9e-43c8-bd42-ff8c4ce5393f" providerId="ADAL" clId="{BBB5A732-C083-4ACD-876F-6FB9A2AAF4AA}" dt="2023-08-03T11:36:12.444" v="496" actId="478"/>
          <ac:spMkLst>
            <pc:docMk/>
            <pc:sldMk cId="2731447932" sldId="3268"/>
            <ac:spMk id="526" creationId="{4A9F8074-4E01-3C70-6A8D-4F4057DC7358}"/>
          </ac:spMkLst>
        </pc:spChg>
        <pc:spChg chg="del">
          <ac:chgData name="Khrystyna Yatsyna" userId="e6954dd7-6c9e-43c8-bd42-ff8c4ce5393f" providerId="ADAL" clId="{BBB5A732-C083-4ACD-876F-6FB9A2AAF4AA}" dt="2023-08-03T11:36:12.444" v="496" actId="478"/>
          <ac:spMkLst>
            <pc:docMk/>
            <pc:sldMk cId="2731447932" sldId="3268"/>
            <ac:spMk id="528" creationId="{FF7AFE8D-8693-5C01-9728-67B48F102B2B}"/>
          </ac:spMkLst>
        </pc:spChg>
        <pc:spChg chg="del">
          <ac:chgData name="Khrystyna Yatsyna" userId="e6954dd7-6c9e-43c8-bd42-ff8c4ce5393f" providerId="ADAL" clId="{BBB5A732-C083-4ACD-876F-6FB9A2AAF4AA}" dt="2023-08-03T11:36:12.444" v="496" actId="478"/>
          <ac:spMkLst>
            <pc:docMk/>
            <pc:sldMk cId="2731447932" sldId="3268"/>
            <ac:spMk id="530" creationId="{258702E1-FF36-FE46-848A-7C6EC991A73A}"/>
          </ac:spMkLst>
        </pc:spChg>
        <pc:grpChg chg="add del mod">
          <ac:chgData name="Khrystyna Yatsyna" userId="e6954dd7-6c9e-43c8-bd42-ff8c4ce5393f" providerId="ADAL" clId="{BBB5A732-C083-4ACD-876F-6FB9A2AAF4AA}" dt="2023-08-03T13:20:34.615" v="583" actId="478"/>
          <ac:grpSpMkLst>
            <pc:docMk/>
            <pc:sldMk cId="2731447932" sldId="3268"/>
            <ac:grpSpMk id="12" creationId="{70C94B75-7EAF-348C-A58C-403C97680561}"/>
          </ac:grpSpMkLst>
        </pc:grpChg>
        <pc:grpChg chg="add mod">
          <ac:chgData name="Khrystyna Yatsyna" userId="e6954dd7-6c9e-43c8-bd42-ff8c4ce5393f" providerId="ADAL" clId="{BBB5A732-C083-4ACD-876F-6FB9A2AAF4AA}" dt="2023-08-03T13:20:34.788" v="584"/>
          <ac:grpSpMkLst>
            <pc:docMk/>
            <pc:sldMk cId="2731447932" sldId="3268"/>
            <ac:grpSpMk id="30" creationId="{BC3D7A5A-22C7-41C5-5F0F-7A8D05CA9E94}"/>
          </ac:grpSpMkLst>
        </pc:grpChg>
        <pc:grpChg chg="del">
          <ac:chgData name="Khrystyna Yatsyna" userId="e6954dd7-6c9e-43c8-bd42-ff8c4ce5393f" providerId="ADAL" clId="{BBB5A732-C083-4ACD-876F-6FB9A2AAF4AA}" dt="2023-08-03T11:36:12.444" v="496" actId="478"/>
          <ac:grpSpMkLst>
            <pc:docMk/>
            <pc:sldMk cId="2731447932" sldId="3268"/>
            <ac:grpSpMk id="514" creationId="{E786664F-FEA4-93CE-661B-3F28D010D387}"/>
          </ac:grpSpMkLst>
        </pc:grpChg>
        <pc:picChg chg="add del mod">
          <ac:chgData name="Khrystyna Yatsyna" userId="e6954dd7-6c9e-43c8-bd42-ff8c4ce5393f" providerId="ADAL" clId="{BBB5A732-C083-4ACD-876F-6FB9A2AAF4AA}" dt="2023-08-18T12:34:52.974" v="790" actId="478"/>
          <ac:picMkLst>
            <pc:docMk/>
            <pc:sldMk cId="2731447932" sldId="3268"/>
            <ac:picMk id="6" creationId="{BB6A5757-9424-2EA5-65DA-1455E664844C}"/>
          </ac:picMkLst>
        </pc:picChg>
        <pc:picChg chg="add mod">
          <ac:chgData name="Khrystyna Yatsyna" userId="e6954dd7-6c9e-43c8-bd42-ff8c4ce5393f" providerId="ADAL" clId="{BBB5A732-C083-4ACD-876F-6FB9A2AAF4AA}" dt="2023-08-03T11:36:13.288" v="497"/>
          <ac:picMkLst>
            <pc:docMk/>
            <pc:sldMk cId="2731447932" sldId="3268"/>
            <ac:picMk id="10" creationId="{1229B757-06A4-93A1-2375-573F3616FF1A}"/>
          </ac:picMkLst>
        </pc:picChg>
        <pc:picChg chg="add mod">
          <ac:chgData name="Khrystyna Yatsyna" userId="e6954dd7-6c9e-43c8-bd42-ff8c4ce5393f" providerId="ADAL" clId="{BBB5A732-C083-4ACD-876F-6FB9A2AAF4AA}" dt="2023-08-18T12:34:53.217" v="791"/>
          <ac:picMkLst>
            <pc:docMk/>
            <pc:sldMk cId="2731447932" sldId="3268"/>
            <ac:picMk id="12" creationId="{28D408F9-27A3-2B01-78E5-5D3D7946105B}"/>
          </ac:picMkLst>
        </pc:picChg>
        <pc:picChg chg="add mod">
          <ac:chgData name="Khrystyna Yatsyna" userId="e6954dd7-6c9e-43c8-bd42-ff8c4ce5393f" providerId="ADAL" clId="{BBB5A732-C083-4ACD-876F-6FB9A2AAF4AA}" dt="2023-08-18T12:34:53.217" v="791"/>
          <ac:picMkLst>
            <pc:docMk/>
            <pc:sldMk cId="2731447932" sldId="3268"/>
            <ac:picMk id="14" creationId="{D21081BC-B19F-52E0-E1F7-5ED272FFF4C3}"/>
          </ac:picMkLst>
        </pc:picChg>
        <pc:picChg chg="add del mod">
          <ac:chgData name="Khrystyna Yatsyna" userId="e6954dd7-6c9e-43c8-bd42-ff8c4ce5393f" providerId="ADAL" clId="{BBB5A732-C083-4ACD-876F-6FB9A2AAF4AA}" dt="2023-08-18T12:34:52.974" v="790" actId="478"/>
          <ac:picMkLst>
            <pc:docMk/>
            <pc:sldMk cId="2731447932" sldId="3268"/>
            <ac:picMk id="20" creationId="{4A5EC043-5C90-C07F-522A-AC5FEDEBF056}"/>
          </ac:picMkLst>
        </pc:picChg>
        <pc:picChg chg="add mod">
          <ac:chgData name="Khrystyna Yatsyna" userId="e6954dd7-6c9e-43c8-bd42-ff8c4ce5393f" providerId="ADAL" clId="{BBB5A732-C083-4ACD-876F-6FB9A2AAF4AA}" dt="2023-08-03T11:36:13.288" v="497"/>
          <ac:picMkLst>
            <pc:docMk/>
            <pc:sldMk cId="2731447932" sldId="3268"/>
            <ac:picMk id="22" creationId="{369D70DA-260C-686D-0CC7-2316D5722438}"/>
          </ac:picMkLst>
        </pc:picChg>
        <pc:picChg chg="add mod">
          <ac:chgData name="Khrystyna Yatsyna" userId="e6954dd7-6c9e-43c8-bd42-ff8c4ce5393f" providerId="ADAL" clId="{BBB5A732-C083-4ACD-876F-6FB9A2AAF4AA}" dt="2023-08-03T11:36:13.288" v="497"/>
          <ac:picMkLst>
            <pc:docMk/>
            <pc:sldMk cId="2731447932" sldId="3268"/>
            <ac:picMk id="25" creationId="{2DC4B350-6CAC-42F5-B2E3-10CAC71564E6}"/>
          </ac:picMkLst>
        </pc:picChg>
        <pc:picChg chg="add mod">
          <ac:chgData name="Khrystyna Yatsyna" userId="e6954dd7-6c9e-43c8-bd42-ff8c4ce5393f" providerId="ADAL" clId="{BBB5A732-C083-4ACD-876F-6FB9A2AAF4AA}" dt="2023-08-03T11:36:13.288" v="497"/>
          <ac:picMkLst>
            <pc:docMk/>
            <pc:sldMk cId="2731447932" sldId="3268"/>
            <ac:picMk id="28" creationId="{F4091A04-2104-3304-3DE8-793BBAE087B1}"/>
          </ac:picMkLst>
        </pc:picChg>
        <pc:picChg chg="del">
          <ac:chgData name="Khrystyna Yatsyna" userId="e6954dd7-6c9e-43c8-bd42-ff8c4ce5393f" providerId="ADAL" clId="{BBB5A732-C083-4ACD-876F-6FB9A2AAF4AA}" dt="2023-08-03T11:36:12.444" v="496" actId="478"/>
          <ac:picMkLst>
            <pc:docMk/>
            <pc:sldMk cId="2731447932" sldId="3268"/>
            <ac:picMk id="62" creationId="{47F9A3FE-21D1-177F-9BA8-A0D477CAC6FD}"/>
          </ac:picMkLst>
        </pc:picChg>
        <pc:picChg chg="del">
          <ac:chgData name="Khrystyna Yatsyna" userId="e6954dd7-6c9e-43c8-bd42-ff8c4ce5393f" providerId="ADAL" clId="{BBB5A732-C083-4ACD-876F-6FB9A2AAF4AA}" dt="2023-08-03T11:36:12.444" v="496" actId="478"/>
          <ac:picMkLst>
            <pc:docMk/>
            <pc:sldMk cId="2731447932" sldId="3268"/>
            <ac:picMk id="512" creationId="{4795767B-23CA-2C36-FF52-4CE12D04ADFD}"/>
          </ac:picMkLst>
        </pc:picChg>
        <pc:picChg chg="del">
          <ac:chgData name="Khrystyna Yatsyna" userId="e6954dd7-6c9e-43c8-bd42-ff8c4ce5393f" providerId="ADAL" clId="{BBB5A732-C083-4ACD-876F-6FB9A2AAF4AA}" dt="2023-08-03T11:36:12.444" v="496" actId="478"/>
          <ac:picMkLst>
            <pc:docMk/>
            <pc:sldMk cId="2731447932" sldId="3268"/>
            <ac:picMk id="525" creationId="{0E929494-0F67-CE6A-210E-F465354209B1}"/>
          </ac:picMkLst>
        </pc:picChg>
        <pc:picChg chg="del">
          <ac:chgData name="Khrystyna Yatsyna" userId="e6954dd7-6c9e-43c8-bd42-ff8c4ce5393f" providerId="ADAL" clId="{BBB5A732-C083-4ACD-876F-6FB9A2AAF4AA}" dt="2023-08-03T11:36:12.444" v="496" actId="478"/>
          <ac:picMkLst>
            <pc:docMk/>
            <pc:sldMk cId="2731447932" sldId="3268"/>
            <ac:picMk id="527" creationId="{333E3F3B-BCA8-3627-C05C-92E3C290A643}"/>
          </ac:picMkLst>
        </pc:picChg>
        <pc:picChg chg="del">
          <ac:chgData name="Khrystyna Yatsyna" userId="e6954dd7-6c9e-43c8-bd42-ff8c4ce5393f" providerId="ADAL" clId="{BBB5A732-C083-4ACD-876F-6FB9A2AAF4AA}" dt="2023-08-03T11:36:12.444" v="496" actId="478"/>
          <ac:picMkLst>
            <pc:docMk/>
            <pc:sldMk cId="2731447932" sldId="3268"/>
            <ac:picMk id="529" creationId="{357FEF07-96DF-46B8-D31A-1F2EDE8339A3}"/>
          </ac:picMkLst>
        </pc:picChg>
        <pc:picChg chg="del">
          <ac:chgData name="Khrystyna Yatsyna" userId="e6954dd7-6c9e-43c8-bd42-ff8c4ce5393f" providerId="ADAL" clId="{BBB5A732-C083-4ACD-876F-6FB9A2AAF4AA}" dt="2023-08-03T11:36:12.444" v="496" actId="478"/>
          <ac:picMkLst>
            <pc:docMk/>
            <pc:sldMk cId="2731447932" sldId="3268"/>
            <ac:picMk id="531" creationId="{E3C38B93-361A-9025-3C18-C1ED5981C1D7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1:58.837" v="746" actId="108"/>
        <pc:sldMkLst>
          <pc:docMk/>
          <pc:sldMk cId="3828859966" sldId="3270"/>
        </pc:sldMkLst>
        <pc:spChg chg="add mod">
          <ac:chgData name="Khrystyna Yatsyna" userId="e6954dd7-6c9e-43c8-bd42-ff8c4ce5393f" providerId="ADAL" clId="{BBB5A732-C083-4ACD-876F-6FB9A2AAF4AA}" dt="2023-08-03T11:37:10.731" v="514"/>
          <ac:spMkLst>
            <pc:docMk/>
            <pc:sldMk cId="3828859966" sldId="3270"/>
            <ac:spMk id="17" creationId="{D8C40A2C-6DCE-E038-CF9B-6973FC2BB8A2}"/>
          </ac:spMkLst>
        </pc:spChg>
        <pc:spChg chg="add mod">
          <ac:chgData name="Khrystyna Yatsyna" userId="e6954dd7-6c9e-43c8-bd42-ff8c4ce5393f" providerId="ADAL" clId="{BBB5A732-C083-4ACD-876F-6FB9A2AAF4AA}" dt="2023-08-03T11:37:10.731" v="514"/>
          <ac:spMkLst>
            <pc:docMk/>
            <pc:sldMk cId="3828859966" sldId="3270"/>
            <ac:spMk id="19" creationId="{7E1C81A1-5409-01F4-ED95-A88F2189DC80}"/>
          </ac:spMkLst>
        </pc:spChg>
        <pc:spChg chg="add del mod">
          <ac:chgData name="Khrystyna Yatsyna" userId="e6954dd7-6c9e-43c8-bd42-ff8c4ce5393f" providerId="ADAL" clId="{BBB5A732-C083-4ACD-876F-6FB9A2AAF4AA}" dt="2023-08-03T13:20:46.555" v="591" actId="478"/>
          <ac:spMkLst>
            <pc:docMk/>
            <pc:sldMk cId="3828859966" sldId="3270"/>
            <ac:spMk id="21" creationId="{310EAE7D-4FED-162F-6233-E8A5EDD5EAE9}"/>
          </ac:spMkLst>
        </pc:spChg>
        <pc:spChg chg="mod">
          <ac:chgData name="Khrystyna Yatsyna" userId="e6954dd7-6c9e-43c8-bd42-ff8c4ce5393f" providerId="ADAL" clId="{BBB5A732-C083-4ACD-876F-6FB9A2AAF4AA}" dt="2023-08-03T11:37:10.731" v="514"/>
          <ac:spMkLst>
            <pc:docMk/>
            <pc:sldMk cId="3828859966" sldId="3270"/>
            <ac:spMk id="23" creationId="{DE61B0EE-51E2-1566-E3E5-AB46E0BC4F65}"/>
          </ac:spMkLst>
        </pc:spChg>
        <pc:spChg chg="mod">
          <ac:chgData name="Khrystyna Yatsyna" userId="e6954dd7-6c9e-43c8-bd42-ff8c4ce5393f" providerId="ADAL" clId="{BBB5A732-C083-4ACD-876F-6FB9A2AAF4AA}" dt="2023-08-03T11:37:10.731" v="514"/>
          <ac:spMkLst>
            <pc:docMk/>
            <pc:sldMk cId="3828859966" sldId="3270"/>
            <ac:spMk id="25" creationId="{761BD76C-6FE3-3256-3686-9F0A307691D5}"/>
          </ac:spMkLst>
        </pc:spChg>
        <pc:spChg chg="mod">
          <ac:chgData name="Khrystyna Yatsyna" userId="e6954dd7-6c9e-43c8-bd42-ff8c4ce5393f" providerId="ADAL" clId="{BBB5A732-C083-4ACD-876F-6FB9A2AAF4AA}" dt="2023-08-03T11:37:10.731" v="514"/>
          <ac:spMkLst>
            <pc:docMk/>
            <pc:sldMk cId="3828859966" sldId="3270"/>
            <ac:spMk id="26" creationId="{07FEC5CD-AD6C-CF0B-AFD4-2C9974914C5B}"/>
          </ac:spMkLst>
        </pc:spChg>
        <pc:spChg chg="mod">
          <ac:chgData name="Khrystyna Yatsyna" userId="e6954dd7-6c9e-43c8-bd42-ff8c4ce5393f" providerId="ADAL" clId="{BBB5A732-C083-4ACD-876F-6FB9A2AAF4AA}" dt="2023-08-03T11:37:10.731" v="514"/>
          <ac:spMkLst>
            <pc:docMk/>
            <pc:sldMk cId="3828859966" sldId="3270"/>
            <ac:spMk id="28" creationId="{06950905-B8B0-B0CF-C6B9-23601FBCD680}"/>
          </ac:spMkLst>
        </pc:spChg>
        <pc:spChg chg="mod">
          <ac:chgData name="Khrystyna Yatsyna" userId="e6954dd7-6c9e-43c8-bd42-ff8c4ce5393f" providerId="ADAL" clId="{BBB5A732-C083-4ACD-876F-6FB9A2AAF4AA}" dt="2023-08-03T11:37:10.731" v="514"/>
          <ac:spMkLst>
            <pc:docMk/>
            <pc:sldMk cId="3828859966" sldId="3270"/>
            <ac:spMk id="29" creationId="{B43DB051-5D14-3891-23CF-C3EC1DC4962D}"/>
          </ac:spMkLst>
        </pc:spChg>
        <pc:spChg chg="mod">
          <ac:chgData name="Khrystyna Yatsyna" userId="e6954dd7-6c9e-43c8-bd42-ff8c4ce5393f" providerId="ADAL" clId="{BBB5A732-C083-4ACD-876F-6FB9A2AAF4AA}" dt="2023-08-03T11:37:10.731" v="514"/>
          <ac:spMkLst>
            <pc:docMk/>
            <pc:sldMk cId="3828859966" sldId="3270"/>
            <ac:spMk id="30" creationId="{30F0020B-091F-324E-059B-52928EB70411}"/>
          </ac:spMkLst>
        </pc:spChg>
        <pc:spChg chg="add mod">
          <ac:chgData name="Khrystyna Yatsyna" userId="e6954dd7-6c9e-43c8-bd42-ff8c4ce5393f" providerId="ADAL" clId="{BBB5A732-C083-4ACD-876F-6FB9A2AAF4AA}" dt="2023-08-18T12:31:55.817" v="743" actId="108"/>
          <ac:spMkLst>
            <pc:docMk/>
            <pc:sldMk cId="3828859966" sldId="3270"/>
            <ac:spMk id="31" creationId="{5CF68EE2-79E1-C467-FCEC-13AEEB36D285}"/>
          </ac:spMkLst>
        </pc:spChg>
        <pc:spChg chg="add mod">
          <ac:chgData name="Khrystyna Yatsyna" userId="e6954dd7-6c9e-43c8-bd42-ff8c4ce5393f" providerId="ADAL" clId="{BBB5A732-C083-4ACD-876F-6FB9A2AAF4AA}" dt="2023-08-18T12:31:56.947" v="744" actId="108"/>
          <ac:spMkLst>
            <pc:docMk/>
            <pc:sldMk cId="3828859966" sldId="3270"/>
            <ac:spMk id="33" creationId="{4939FC80-A1E3-74C3-A34A-3D1543E278BA}"/>
          </ac:spMkLst>
        </pc:spChg>
        <pc:spChg chg="add mod">
          <ac:chgData name="Khrystyna Yatsyna" userId="e6954dd7-6c9e-43c8-bd42-ff8c4ce5393f" providerId="ADAL" clId="{BBB5A732-C083-4ACD-876F-6FB9A2AAF4AA}" dt="2023-08-18T12:31:57.811" v="745" actId="108"/>
          <ac:spMkLst>
            <pc:docMk/>
            <pc:sldMk cId="3828859966" sldId="3270"/>
            <ac:spMk id="35" creationId="{67DCB24B-67ED-9F4A-D972-025948FBAAD9}"/>
          </ac:spMkLst>
        </pc:spChg>
        <pc:spChg chg="add mod">
          <ac:chgData name="Khrystyna Yatsyna" userId="e6954dd7-6c9e-43c8-bd42-ff8c4ce5393f" providerId="ADAL" clId="{BBB5A732-C083-4ACD-876F-6FB9A2AAF4AA}" dt="2023-08-18T12:31:58.837" v="746" actId="108"/>
          <ac:spMkLst>
            <pc:docMk/>
            <pc:sldMk cId="3828859966" sldId="3270"/>
            <ac:spMk id="38" creationId="{49F5DF03-3CB2-F2DA-FD02-446AAC3F687B}"/>
          </ac:spMkLst>
        </pc:spChg>
        <pc:spChg chg="add mod">
          <ac:chgData name="Khrystyna Yatsyna" userId="e6954dd7-6c9e-43c8-bd42-ff8c4ce5393f" providerId="ADAL" clId="{BBB5A732-C083-4ACD-876F-6FB9A2AAF4AA}" dt="2023-08-03T13:20:46.802" v="592"/>
          <ac:spMkLst>
            <pc:docMk/>
            <pc:sldMk cId="3828859966" sldId="3270"/>
            <ac:spMk id="40" creationId="{EE5A668B-D7F8-7013-0D45-0656A8CCF8ED}"/>
          </ac:spMkLst>
        </pc:spChg>
        <pc:spChg chg="mod">
          <ac:chgData name="Khrystyna Yatsyna" userId="e6954dd7-6c9e-43c8-bd42-ff8c4ce5393f" providerId="ADAL" clId="{BBB5A732-C083-4ACD-876F-6FB9A2AAF4AA}" dt="2023-08-03T13:20:46.802" v="592"/>
          <ac:spMkLst>
            <pc:docMk/>
            <pc:sldMk cId="3828859966" sldId="3270"/>
            <ac:spMk id="42" creationId="{F5943144-E000-8CB8-1041-B263D6D77FD4}"/>
          </ac:spMkLst>
        </pc:spChg>
        <pc:spChg chg="mod">
          <ac:chgData name="Khrystyna Yatsyna" userId="e6954dd7-6c9e-43c8-bd42-ff8c4ce5393f" providerId="ADAL" clId="{BBB5A732-C083-4ACD-876F-6FB9A2AAF4AA}" dt="2023-08-03T13:20:46.802" v="592"/>
          <ac:spMkLst>
            <pc:docMk/>
            <pc:sldMk cId="3828859966" sldId="3270"/>
            <ac:spMk id="43" creationId="{0890E5A3-4B06-08DE-169F-EBD6397E8E8C}"/>
          </ac:spMkLst>
        </pc:spChg>
        <pc:spChg chg="mod">
          <ac:chgData name="Khrystyna Yatsyna" userId="e6954dd7-6c9e-43c8-bd42-ff8c4ce5393f" providerId="ADAL" clId="{BBB5A732-C083-4ACD-876F-6FB9A2AAF4AA}" dt="2023-08-03T13:20:46.802" v="592"/>
          <ac:spMkLst>
            <pc:docMk/>
            <pc:sldMk cId="3828859966" sldId="3270"/>
            <ac:spMk id="44" creationId="{BA1FD897-933F-D025-2D01-F541148F7A3C}"/>
          </ac:spMkLst>
        </pc:spChg>
        <pc:spChg chg="mod">
          <ac:chgData name="Khrystyna Yatsyna" userId="e6954dd7-6c9e-43c8-bd42-ff8c4ce5393f" providerId="ADAL" clId="{BBB5A732-C083-4ACD-876F-6FB9A2AAF4AA}" dt="2023-08-03T13:20:46.802" v="592"/>
          <ac:spMkLst>
            <pc:docMk/>
            <pc:sldMk cId="3828859966" sldId="3270"/>
            <ac:spMk id="45" creationId="{537DE7CB-00EC-48AF-193A-9C13BEDB94FE}"/>
          </ac:spMkLst>
        </pc:spChg>
        <pc:spChg chg="mod">
          <ac:chgData name="Khrystyna Yatsyna" userId="e6954dd7-6c9e-43c8-bd42-ff8c4ce5393f" providerId="ADAL" clId="{BBB5A732-C083-4ACD-876F-6FB9A2AAF4AA}" dt="2023-08-03T13:20:46.802" v="592"/>
          <ac:spMkLst>
            <pc:docMk/>
            <pc:sldMk cId="3828859966" sldId="3270"/>
            <ac:spMk id="46" creationId="{556C13B7-E4B9-7F08-DCB5-64C2E5AF4375}"/>
          </ac:spMkLst>
        </pc:spChg>
        <pc:spChg chg="mod">
          <ac:chgData name="Khrystyna Yatsyna" userId="e6954dd7-6c9e-43c8-bd42-ff8c4ce5393f" providerId="ADAL" clId="{BBB5A732-C083-4ACD-876F-6FB9A2AAF4AA}" dt="2023-08-03T13:20:46.802" v="592"/>
          <ac:spMkLst>
            <pc:docMk/>
            <pc:sldMk cId="3828859966" sldId="3270"/>
            <ac:spMk id="47" creationId="{04225E16-159B-2C31-39E8-4CE49E5C4158}"/>
          </ac:spMkLst>
        </pc:spChg>
        <pc:spChg chg="del">
          <ac:chgData name="Khrystyna Yatsyna" userId="e6954dd7-6c9e-43c8-bd42-ff8c4ce5393f" providerId="ADAL" clId="{BBB5A732-C083-4ACD-876F-6FB9A2AAF4AA}" dt="2023-08-03T11:37:10.415" v="513" actId="478"/>
          <ac:spMkLst>
            <pc:docMk/>
            <pc:sldMk cId="3828859966" sldId="3270"/>
            <ac:spMk id="64" creationId="{FA71FEDF-FBA7-122F-123B-DD1596A42E87}"/>
          </ac:spMkLst>
        </pc:spChg>
        <pc:spChg chg="del">
          <ac:chgData name="Khrystyna Yatsyna" userId="e6954dd7-6c9e-43c8-bd42-ff8c4ce5393f" providerId="ADAL" clId="{BBB5A732-C083-4ACD-876F-6FB9A2AAF4AA}" dt="2023-08-03T11:37:10.415" v="513" actId="478"/>
          <ac:spMkLst>
            <pc:docMk/>
            <pc:sldMk cId="3828859966" sldId="3270"/>
            <ac:spMk id="80" creationId="{80721ADF-6ED6-9E16-E8A6-501DF2A848CA}"/>
          </ac:spMkLst>
        </pc:spChg>
        <pc:spChg chg="del">
          <ac:chgData name="Khrystyna Yatsyna" userId="e6954dd7-6c9e-43c8-bd42-ff8c4ce5393f" providerId="ADAL" clId="{BBB5A732-C083-4ACD-876F-6FB9A2AAF4AA}" dt="2023-08-03T11:37:10.415" v="513" actId="478"/>
          <ac:spMkLst>
            <pc:docMk/>
            <pc:sldMk cId="3828859966" sldId="3270"/>
            <ac:spMk id="82" creationId="{9EC694B5-A9E5-C283-642D-B31EE03F0EA5}"/>
          </ac:spMkLst>
        </pc:spChg>
        <pc:spChg chg="del">
          <ac:chgData name="Khrystyna Yatsyna" userId="e6954dd7-6c9e-43c8-bd42-ff8c4ce5393f" providerId="ADAL" clId="{BBB5A732-C083-4ACD-876F-6FB9A2AAF4AA}" dt="2023-08-03T11:37:10.415" v="513" actId="478"/>
          <ac:spMkLst>
            <pc:docMk/>
            <pc:sldMk cId="3828859966" sldId="3270"/>
            <ac:spMk id="90" creationId="{9BA62982-FC36-AA17-F1BB-6FA9BF9F600B}"/>
          </ac:spMkLst>
        </pc:spChg>
        <pc:spChg chg="del">
          <ac:chgData name="Khrystyna Yatsyna" userId="e6954dd7-6c9e-43c8-bd42-ff8c4ce5393f" providerId="ADAL" clId="{BBB5A732-C083-4ACD-876F-6FB9A2AAF4AA}" dt="2023-08-03T11:37:10.415" v="513" actId="478"/>
          <ac:spMkLst>
            <pc:docMk/>
            <pc:sldMk cId="3828859966" sldId="3270"/>
            <ac:spMk id="92" creationId="{BA092EFF-8BCF-DEC6-5526-9AAC3F9E88F2}"/>
          </ac:spMkLst>
        </pc:spChg>
        <pc:spChg chg="del">
          <ac:chgData name="Khrystyna Yatsyna" userId="e6954dd7-6c9e-43c8-bd42-ff8c4ce5393f" providerId="ADAL" clId="{BBB5A732-C083-4ACD-876F-6FB9A2AAF4AA}" dt="2023-08-03T11:37:10.415" v="513" actId="478"/>
          <ac:spMkLst>
            <pc:docMk/>
            <pc:sldMk cId="3828859966" sldId="3270"/>
            <ac:spMk id="94" creationId="{A92BBFEB-81F0-A341-F37E-9DE8CB4BA47B}"/>
          </ac:spMkLst>
        </pc:spChg>
        <pc:spChg chg="del">
          <ac:chgData name="Khrystyna Yatsyna" userId="e6954dd7-6c9e-43c8-bd42-ff8c4ce5393f" providerId="ADAL" clId="{BBB5A732-C083-4ACD-876F-6FB9A2AAF4AA}" dt="2023-08-03T11:37:10.415" v="513" actId="478"/>
          <ac:spMkLst>
            <pc:docMk/>
            <pc:sldMk cId="3828859966" sldId="3270"/>
            <ac:spMk id="96" creationId="{3283F962-CE9F-DE02-3BA7-A7DA34B72B63}"/>
          </ac:spMkLst>
        </pc:spChg>
        <pc:grpChg chg="add del mod">
          <ac:chgData name="Khrystyna Yatsyna" userId="e6954dd7-6c9e-43c8-bd42-ff8c4ce5393f" providerId="ADAL" clId="{BBB5A732-C083-4ACD-876F-6FB9A2AAF4AA}" dt="2023-08-03T13:20:46.555" v="591" actId="478"/>
          <ac:grpSpMkLst>
            <pc:docMk/>
            <pc:sldMk cId="3828859966" sldId="3270"/>
            <ac:grpSpMk id="22" creationId="{3BEA58C7-71E3-F597-1A64-26ED33E1B6D9}"/>
          </ac:grpSpMkLst>
        </pc:grpChg>
        <pc:grpChg chg="add mod">
          <ac:chgData name="Khrystyna Yatsyna" userId="e6954dd7-6c9e-43c8-bd42-ff8c4ce5393f" providerId="ADAL" clId="{BBB5A732-C083-4ACD-876F-6FB9A2AAF4AA}" dt="2023-08-03T13:20:46.802" v="592"/>
          <ac:grpSpMkLst>
            <pc:docMk/>
            <pc:sldMk cId="3828859966" sldId="3270"/>
            <ac:grpSpMk id="41" creationId="{6D670699-0159-9746-E67E-388376B5A2B0}"/>
          </ac:grpSpMkLst>
        </pc:grpChg>
        <pc:grpChg chg="del">
          <ac:chgData name="Khrystyna Yatsyna" userId="e6954dd7-6c9e-43c8-bd42-ff8c4ce5393f" providerId="ADAL" clId="{BBB5A732-C083-4ACD-876F-6FB9A2AAF4AA}" dt="2023-08-03T11:37:10.415" v="513" actId="478"/>
          <ac:grpSpMkLst>
            <pc:docMk/>
            <pc:sldMk cId="3828859966" sldId="3270"/>
            <ac:grpSpMk id="83" creationId="{2F1465F0-913F-AEEE-1671-6D9EE9D13BB3}"/>
          </ac:grpSpMkLst>
        </pc:grpChg>
        <pc:picChg chg="add mod">
          <ac:chgData name="Khrystyna Yatsyna" userId="e6954dd7-6c9e-43c8-bd42-ff8c4ce5393f" providerId="ADAL" clId="{BBB5A732-C083-4ACD-876F-6FB9A2AAF4AA}" dt="2023-08-03T11:37:10.731" v="514"/>
          <ac:picMkLst>
            <pc:docMk/>
            <pc:sldMk cId="3828859966" sldId="3270"/>
            <ac:picMk id="18" creationId="{EDF27C1C-F5E9-29F8-F34E-31660AFF82B4}"/>
          </ac:picMkLst>
        </pc:picChg>
        <pc:picChg chg="add mod">
          <ac:chgData name="Khrystyna Yatsyna" userId="e6954dd7-6c9e-43c8-bd42-ff8c4ce5393f" providerId="ADAL" clId="{BBB5A732-C083-4ACD-876F-6FB9A2AAF4AA}" dt="2023-08-03T11:37:10.731" v="514"/>
          <ac:picMkLst>
            <pc:docMk/>
            <pc:sldMk cId="3828859966" sldId="3270"/>
            <ac:picMk id="20" creationId="{D116EAA6-DB98-A075-FFE3-FE03AAF72206}"/>
          </ac:picMkLst>
        </pc:picChg>
        <pc:picChg chg="add mod">
          <ac:chgData name="Khrystyna Yatsyna" userId="e6954dd7-6c9e-43c8-bd42-ff8c4ce5393f" providerId="ADAL" clId="{BBB5A732-C083-4ACD-876F-6FB9A2AAF4AA}" dt="2023-08-03T11:37:10.731" v="514"/>
          <ac:picMkLst>
            <pc:docMk/>
            <pc:sldMk cId="3828859966" sldId="3270"/>
            <ac:picMk id="32" creationId="{CD07F239-03C0-3E56-71B0-20857FEC10F1}"/>
          </ac:picMkLst>
        </pc:picChg>
        <pc:picChg chg="add mod">
          <ac:chgData name="Khrystyna Yatsyna" userId="e6954dd7-6c9e-43c8-bd42-ff8c4ce5393f" providerId="ADAL" clId="{BBB5A732-C083-4ACD-876F-6FB9A2AAF4AA}" dt="2023-08-03T11:37:10.731" v="514"/>
          <ac:picMkLst>
            <pc:docMk/>
            <pc:sldMk cId="3828859966" sldId="3270"/>
            <ac:picMk id="34" creationId="{8C592711-1547-B00F-46BE-AF026F3A4B69}"/>
          </ac:picMkLst>
        </pc:picChg>
        <pc:picChg chg="add mod">
          <ac:chgData name="Khrystyna Yatsyna" userId="e6954dd7-6c9e-43c8-bd42-ff8c4ce5393f" providerId="ADAL" clId="{BBB5A732-C083-4ACD-876F-6FB9A2AAF4AA}" dt="2023-08-03T11:37:10.731" v="514"/>
          <ac:picMkLst>
            <pc:docMk/>
            <pc:sldMk cId="3828859966" sldId="3270"/>
            <ac:picMk id="37" creationId="{C1C71935-647A-6FD7-F292-B8E9904C6926}"/>
          </ac:picMkLst>
        </pc:picChg>
        <pc:picChg chg="add mod">
          <ac:chgData name="Khrystyna Yatsyna" userId="e6954dd7-6c9e-43c8-bd42-ff8c4ce5393f" providerId="ADAL" clId="{BBB5A732-C083-4ACD-876F-6FB9A2AAF4AA}" dt="2023-08-03T11:37:10.731" v="514"/>
          <ac:picMkLst>
            <pc:docMk/>
            <pc:sldMk cId="3828859966" sldId="3270"/>
            <ac:picMk id="39" creationId="{41ECDBC0-7FCF-3C3C-707C-566526A40596}"/>
          </ac:picMkLst>
        </pc:picChg>
        <pc:picChg chg="del">
          <ac:chgData name="Khrystyna Yatsyna" userId="e6954dd7-6c9e-43c8-bd42-ff8c4ce5393f" providerId="ADAL" clId="{BBB5A732-C083-4ACD-876F-6FB9A2AAF4AA}" dt="2023-08-03T11:37:10.415" v="513" actId="478"/>
          <ac:picMkLst>
            <pc:docMk/>
            <pc:sldMk cId="3828859966" sldId="3270"/>
            <ac:picMk id="79" creationId="{8A0C6B6B-3A04-187C-2CA5-753F48E98155}"/>
          </ac:picMkLst>
        </pc:picChg>
        <pc:picChg chg="del">
          <ac:chgData name="Khrystyna Yatsyna" userId="e6954dd7-6c9e-43c8-bd42-ff8c4ce5393f" providerId="ADAL" clId="{BBB5A732-C083-4ACD-876F-6FB9A2AAF4AA}" dt="2023-08-03T11:37:10.415" v="513" actId="478"/>
          <ac:picMkLst>
            <pc:docMk/>
            <pc:sldMk cId="3828859966" sldId="3270"/>
            <ac:picMk id="81" creationId="{E15D07FD-02DE-A290-73F8-90D741ED4047}"/>
          </ac:picMkLst>
        </pc:picChg>
        <pc:picChg chg="del">
          <ac:chgData name="Khrystyna Yatsyna" userId="e6954dd7-6c9e-43c8-bd42-ff8c4ce5393f" providerId="ADAL" clId="{BBB5A732-C083-4ACD-876F-6FB9A2AAF4AA}" dt="2023-08-03T11:37:10.415" v="513" actId="478"/>
          <ac:picMkLst>
            <pc:docMk/>
            <pc:sldMk cId="3828859966" sldId="3270"/>
            <ac:picMk id="91" creationId="{1DFFACB6-2D9E-BCB4-BB34-D44EF5373C77}"/>
          </ac:picMkLst>
        </pc:picChg>
        <pc:picChg chg="del">
          <ac:chgData name="Khrystyna Yatsyna" userId="e6954dd7-6c9e-43c8-bd42-ff8c4ce5393f" providerId="ADAL" clId="{BBB5A732-C083-4ACD-876F-6FB9A2AAF4AA}" dt="2023-08-03T11:37:10.415" v="513" actId="478"/>
          <ac:picMkLst>
            <pc:docMk/>
            <pc:sldMk cId="3828859966" sldId="3270"/>
            <ac:picMk id="93" creationId="{9D068250-EEC4-5528-4426-3075C320D8BD}"/>
          </ac:picMkLst>
        </pc:picChg>
        <pc:picChg chg="del">
          <ac:chgData name="Khrystyna Yatsyna" userId="e6954dd7-6c9e-43c8-bd42-ff8c4ce5393f" providerId="ADAL" clId="{BBB5A732-C083-4ACD-876F-6FB9A2AAF4AA}" dt="2023-08-03T11:37:10.415" v="513" actId="478"/>
          <ac:picMkLst>
            <pc:docMk/>
            <pc:sldMk cId="3828859966" sldId="3270"/>
            <ac:picMk id="95" creationId="{9632812C-4675-DA56-35B9-55CA1D466F0E}"/>
          </ac:picMkLst>
        </pc:picChg>
        <pc:picChg chg="del">
          <ac:chgData name="Khrystyna Yatsyna" userId="e6954dd7-6c9e-43c8-bd42-ff8c4ce5393f" providerId="ADAL" clId="{BBB5A732-C083-4ACD-876F-6FB9A2AAF4AA}" dt="2023-08-03T11:37:10.415" v="513" actId="478"/>
          <ac:picMkLst>
            <pc:docMk/>
            <pc:sldMk cId="3828859966" sldId="3270"/>
            <ac:picMk id="97" creationId="{C9E53ECC-AC17-0737-6012-015D9DF8312F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1:46.635" v="738" actId="108"/>
        <pc:sldMkLst>
          <pc:docMk/>
          <pc:sldMk cId="4158237456" sldId="3271"/>
        </pc:sldMkLst>
        <pc:spChg chg="add mod">
          <ac:chgData name="Khrystyna Yatsyna" userId="e6954dd7-6c9e-43c8-bd42-ff8c4ce5393f" providerId="ADAL" clId="{BBB5A732-C083-4ACD-876F-6FB9A2AAF4AA}" dt="2023-08-02T11:24:02.587" v="304" actId="1035"/>
          <ac:spMkLst>
            <pc:docMk/>
            <pc:sldMk cId="4158237456" sldId="3271"/>
            <ac:spMk id="5" creationId="{8E07CD5A-5F8E-4151-2170-168F055167F3}"/>
          </ac:spMkLst>
        </pc:spChg>
        <pc:spChg chg="add mod">
          <ac:chgData name="Khrystyna Yatsyna" userId="e6954dd7-6c9e-43c8-bd42-ff8c4ce5393f" providerId="ADAL" clId="{BBB5A732-C083-4ACD-876F-6FB9A2AAF4AA}" dt="2023-08-03T11:36:25.838" v="501"/>
          <ac:spMkLst>
            <pc:docMk/>
            <pc:sldMk cId="4158237456" sldId="3271"/>
            <ac:spMk id="6" creationId="{CEC3CCA8-48EA-3896-6B4C-19C45FB0BF34}"/>
          </ac:spMkLst>
        </pc:spChg>
        <pc:spChg chg="add mod">
          <ac:chgData name="Khrystyna Yatsyna" userId="e6954dd7-6c9e-43c8-bd42-ff8c4ce5393f" providerId="ADAL" clId="{BBB5A732-C083-4ACD-876F-6FB9A2AAF4AA}" dt="2023-08-18T12:31:42.510" v="734" actId="108"/>
          <ac:spMkLst>
            <pc:docMk/>
            <pc:sldMk cId="4158237456" sldId="3271"/>
            <ac:spMk id="8" creationId="{6427DD6D-661C-BB03-46E2-C9DCDCA2F8A3}"/>
          </ac:spMkLst>
        </pc:spChg>
        <pc:spChg chg="add del mod">
          <ac:chgData name="Khrystyna Yatsyna" userId="e6954dd7-6c9e-43c8-bd42-ff8c4ce5393f" providerId="ADAL" clId="{BBB5A732-C083-4ACD-876F-6FB9A2AAF4AA}" dt="2023-08-03T13:20:40.195" v="587" actId="478"/>
          <ac:spMkLst>
            <pc:docMk/>
            <pc:sldMk cId="4158237456" sldId="3271"/>
            <ac:spMk id="12" creationId="{09D84475-CCDB-AA29-A4B6-B52F2EAF709A}"/>
          </ac:spMkLst>
        </pc:spChg>
        <pc:spChg chg="mod">
          <ac:chgData name="Khrystyna Yatsyna" userId="e6954dd7-6c9e-43c8-bd42-ff8c4ce5393f" providerId="ADAL" clId="{BBB5A732-C083-4ACD-876F-6FB9A2AAF4AA}" dt="2023-08-03T11:36:25.838" v="501"/>
          <ac:spMkLst>
            <pc:docMk/>
            <pc:sldMk cId="4158237456" sldId="3271"/>
            <ac:spMk id="14" creationId="{59BDDA69-7450-7CE7-5B2B-8A3DCAA12E6D}"/>
          </ac:spMkLst>
        </pc:spChg>
        <pc:spChg chg="mod">
          <ac:chgData name="Khrystyna Yatsyna" userId="e6954dd7-6c9e-43c8-bd42-ff8c4ce5393f" providerId="ADAL" clId="{BBB5A732-C083-4ACD-876F-6FB9A2AAF4AA}" dt="2023-08-03T11:36:25.838" v="501"/>
          <ac:spMkLst>
            <pc:docMk/>
            <pc:sldMk cId="4158237456" sldId="3271"/>
            <ac:spMk id="15" creationId="{B9A8789E-883A-7BCA-3431-CFA3BFC9BF03}"/>
          </ac:spMkLst>
        </pc:spChg>
        <pc:spChg chg="mod">
          <ac:chgData name="Khrystyna Yatsyna" userId="e6954dd7-6c9e-43c8-bd42-ff8c4ce5393f" providerId="ADAL" clId="{BBB5A732-C083-4ACD-876F-6FB9A2AAF4AA}" dt="2023-08-03T11:36:25.838" v="501"/>
          <ac:spMkLst>
            <pc:docMk/>
            <pc:sldMk cId="4158237456" sldId="3271"/>
            <ac:spMk id="16" creationId="{BE4FAF6B-52EA-2A62-861A-7D30ABC947FD}"/>
          </ac:spMkLst>
        </pc:spChg>
        <pc:spChg chg="mod">
          <ac:chgData name="Khrystyna Yatsyna" userId="e6954dd7-6c9e-43c8-bd42-ff8c4ce5393f" providerId="ADAL" clId="{BBB5A732-C083-4ACD-876F-6FB9A2AAF4AA}" dt="2023-08-03T11:36:25.838" v="501"/>
          <ac:spMkLst>
            <pc:docMk/>
            <pc:sldMk cId="4158237456" sldId="3271"/>
            <ac:spMk id="17" creationId="{8FBAF154-61C2-6589-E79A-90D043EED6C4}"/>
          </ac:spMkLst>
        </pc:spChg>
        <pc:spChg chg="mod">
          <ac:chgData name="Khrystyna Yatsyna" userId="e6954dd7-6c9e-43c8-bd42-ff8c4ce5393f" providerId="ADAL" clId="{BBB5A732-C083-4ACD-876F-6FB9A2AAF4AA}" dt="2023-08-03T11:36:25.838" v="501"/>
          <ac:spMkLst>
            <pc:docMk/>
            <pc:sldMk cId="4158237456" sldId="3271"/>
            <ac:spMk id="18" creationId="{FA33AE60-00D5-A97E-43E6-5AA0DA863412}"/>
          </ac:spMkLst>
        </pc:spChg>
        <pc:spChg chg="mod">
          <ac:chgData name="Khrystyna Yatsyna" userId="e6954dd7-6c9e-43c8-bd42-ff8c4ce5393f" providerId="ADAL" clId="{BBB5A732-C083-4ACD-876F-6FB9A2AAF4AA}" dt="2023-08-03T11:36:25.838" v="501"/>
          <ac:spMkLst>
            <pc:docMk/>
            <pc:sldMk cId="4158237456" sldId="3271"/>
            <ac:spMk id="19" creationId="{E28D0A6E-62B1-52C6-A5D0-2922A0940B97}"/>
          </ac:spMkLst>
        </pc:spChg>
        <pc:spChg chg="add mod">
          <ac:chgData name="Khrystyna Yatsyna" userId="e6954dd7-6c9e-43c8-bd42-ff8c4ce5393f" providerId="ADAL" clId="{BBB5A732-C083-4ACD-876F-6FB9A2AAF4AA}" dt="2023-08-18T12:31:43.373" v="735" actId="108"/>
          <ac:spMkLst>
            <pc:docMk/>
            <pc:sldMk cId="4158237456" sldId="3271"/>
            <ac:spMk id="20" creationId="{AF89897A-9B42-D424-C6BE-8AA00240D57E}"/>
          </ac:spMkLst>
        </pc:spChg>
        <pc:spChg chg="add mod">
          <ac:chgData name="Khrystyna Yatsyna" userId="e6954dd7-6c9e-43c8-bd42-ff8c4ce5393f" providerId="ADAL" clId="{BBB5A732-C083-4ACD-876F-6FB9A2AAF4AA}" dt="2023-08-18T12:31:44.434" v="736" actId="108"/>
          <ac:spMkLst>
            <pc:docMk/>
            <pc:sldMk cId="4158237456" sldId="3271"/>
            <ac:spMk id="22" creationId="{1B3592A6-AEB7-767B-F10B-683920D95185}"/>
          </ac:spMkLst>
        </pc:spChg>
        <pc:spChg chg="add mod">
          <ac:chgData name="Khrystyna Yatsyna" userId="e6954dd7-6c9e-43c8-bd42-ff8c4ce5393f" providerId="ADAL" clId="{BBB5A732-C083-4ACD-876F-6FB9A2AAF4AA}" dt="2023-08-18T12:31:45.614" v="737" actId="108"/>
          <ac:spMkLst>
            <pc:docMk/>
            <pc:sldMk cId="4158237456" sldId="3271"/>
            <ac:spMk id="26" creationId="{235E2480-635E-7657-816D-F2808C825BE3}"/>
          </ac:spMkLst>
        </pc:spChg>
        <pc:spChg chg="add mod">
          <ac:chgData name="Khrystyna Yatsyna" userId="e6954dd7-6c9e-43c8-bd42-ff8c4ce5393f" providerId="ADAL" clId="{BBB5A732-C083-4ACD-876F-6FB9A2AAF4AA}" dt="2023-08-18T12:31:46.635" v="738" actId="108"/>
          <ac:spMkLst>
            <pc:docMk/>
            <pc:sldMk cId="4158237456" sldId="3271"/>
            <ac:spMk id="28" creationId="{BAFB9C7F-B9E9-FF6A-30AD-92DB9EE9025A}"/>
          </ac:spMkLst>
        </pc:spChg>
        <pc:spChg chg="add mod">
          <ac:chgData name="Khrystyna Yatsyna" userId="e6954dd7-6c9e-43c8-bd42-ff8c4ce5393f" providerId="ADAL" clId="{BBB5A732-C083-4ACD-876F-6FB9A2AAF4AA}" dt="2023-08-03T13:20:40.402" v="588"/>
          <ac:spMkLst>
            <pc:docMk/>
            <pc:sldMk cId="4158237456" sldId="3271"/>
            <ac:spMk id="30" creationId="{11C085CB-900A-35BD-EDB1-637AB5C497EC}"/>
          </ac:spMkLst>
        </pc:spChg>
        <pc:spChg chg="mod">
          <ac:chgData name="Khrystyna Yatsyna" userId="e6954dd7-6c9e-43c8-bd42-ff8c4ce5393f" providerId="ADAL" clId="{BBB5A732-C083-4ACD-876F-6FB9A2AAF4AA}" dt="2023-08-03T13:20:40.402" v="588"/>
          <ac:spMkLst>
            <pc:docMk/>
            <pc:sldMk cId="4158237456" sldId="3271"/>
            <ac:spMk id="32" creationId="{6C1D7353-F866-D46B-CBFB-044D8F2CB2B0}"/>
          </ac:spMkLst>
        </pc:spChg>
        <pc:spChg chg="mod">
          <ac:chgData name="Khrystyna Yatsyna" userId="e6954dd7-6c9e-43c8-bd42-ff8c4ce5393f" providerId="ADAL" clId="{BBB5A732-C083-4ACD-876F-6FB9A2AAF4AA}" dt="2023-08-03T13:20:40.402" v="588"/>
          <ac:spMkLst>
            <pc:docMk/>
            <pc:sldMk cId="4158237456" sldId="3271"/>
            <ac:spMk id="33" creationId="{BDD074C6-0490-8653-C083-3D472E6B83E5}"/>
          </ac:spMkLst>
        </pc:spChg>
        <pc:spChg chg="mod">
          <ac:chgData name="Khrystyna Yatsyna" userId="e6954dd7-6c9e-43c8-bd42-ff8c4ce5393f" providerId="ADAL" clId="{BBB5A732-C083-4ACD-876F-6FB9A2AAF4AA}" dt="2023-08-03T13:20:40.402" v="588"/>
          <ac:spMkLst>
            <pc:docMk/>
            <pc:sldMk cId="4158237456" sldId="3271"/>
            <ac:spMk id="34" creationId="{125A4CB7-85DF-F6C9-31DA-0957E8C64B20}"/>
          </ac:spMkLst>
        </pc:spChg>
        <pc:spChg chg="mod">
          <ac:chgData name="Khrystyna Yatsyna" userId="e6954dd7-6c9e-43c8-bd42-ff8c4ce5393f" providerId="ADAL" clId="{BBB5A732-C083-4ACD-876F-6FB9A2AAF4AA}" dt="2023-08-03T13:20:40.402" v="588"/>
          <ac:spMkLst>
            <pc:docMk/>
            <pc:sldMk cId="4158237456" sldId="3271"/>
            <ac:spMk id="35" creationId="{83667E1A-7749-00A8-4227-9EE99204DF5B}"/>
          </ac:spMkLst>
        </pc:spChg>
        <pc:spChg chg="mod">
          <ac:chgData name="Khrystyna Yatsyna" userId="e6954dd7-6c9e-43c8-bd42-ff8c4ce5393f" providerId="ADAL" clId="{BBB5A732-C083-4ACD-876F-6FB9A2AAF4AA}" dt="2023-08-03T13:20:40.402" v="588"/>
          <ac:spMkLst>
            <pc:docMk/>
            <pc:sldMk cId="4158237456" sldId="3271"/>
            <ac:spMk id="36" creationId="{CB66CF39-B1B1-42EC-128F-7BAF5B610F11}"/>
          </ac:spMkLst>
        </pc:spChg>
        <pc:spChg chg="mod">
          <ac:chgData name="Khrystyna Yatsyna" userId="e6954dd7-6c9e-43c8-bd42-ff8c4ce5393f" providerId="ADAL" clId="{BBB5A732-C083-4ACD-876F-6FB9A2AAF4AA}" dt="2023-08-03T13:20:40.402" v="588"/>
          <ac:spMkLst>
            <pc:docMk/>
            <pc:sldMk cId="4158237456" sldId="3271"/>
            <ac:spMk id="37" creationId="{9B4F47ED-15A2-D013-8250-6B720B049BA9}"/>
          </ac:spMkLst>
        </pc:spChg>
        <pc:spChg chg="del">
          <ac:chgData name="Khrystyna Yatsyna" userId="e6954dd7-6c9e-43c8-bd42-ff8c4ce5393f" providerId="ADAL" clId="{BBB5A732-C083-4ACD-876F-6FB9A2AAF4AA}" dt="2023-08-03T11:36:24.893" v="500" actId="478"/>
          <ac:spMkLst>
            <pc:docMk/>
            <pc:sldMk cId="4158237456" sldId="3271"/>
            <ac:spMk id="76" creationId="{FF474BCA-9F3E-B36B-50E9-120EB219B908}"/>
          </ac:spMkLst>
        </pc:spChg>
        <pc:spChg chg="del">
          <ac:chgData name="Khrystyna Yatsyna" userId="e6954dd7-6c9e-43c8-bd42-ff8c4ce5393f" providerId="ADAL" clId="{BBB5A732-C083-4ACD-876F-6FB9A2AAF4AA}" dt="2023-08-03T11:36:24.893" v="500" actId="478"/>
          <ac:spMkLst>
            <pc:docMk/>
            <pc:sldMk cId="4158237456" sldId="3271"/>
            <ac:spMk id="79" creationId="{06CC8D47-2327-9F85-FD75-A83D8327F1E5}"/>
          </ac:spMkLst>
        </pc:spChg>
        <pc:spChg chg="del">
          <ac:chgData name="Khrystyna Yatsyna" userId="e6954dd7-6c9e-43c8-bd42-ff8c4ce5393f" providerId="ADAL" clId="{BBB5A732-C083-4ACD-876F-6FB9A2AAF4AA}" dt="2023-08-03T11:36:24.893" v="500" actId="478"/>
          <ac:spMkLst>
            <pc:docMk/>
            <pc:sldMk cId="4158237456" sldId="3271"/>
            <ac:spMk id="81" creationId="{7C24B534-4DCD-0335-24DE-77F4348C6B0A}"/>
          </ac:spMkLst>
        </pc:spChg>
        <pc:spChg chg="del">
          <ac:chgData name="Khrystyna Yatsyna" userId="e6954dd7-6c9e-43c8-bd42-ff8c4ce5393f" providerId="ADAL" clId="{BBB5A732-C083-4ACD-876F-6FB9A2AAF4AA}" dt="2023-08-03T11:36:24.893" v="500" actId="478"/>
          <ac:spMkLst>
            <pc:docMk/>
            <pc:sldMk cId="4158237456" sldId="3271"/>
            <ac:spMk id="89" creationId="{9E1D18A4-3443-FBB8-5C1A-BA3F8AD02293}"/>
          </ac:spMkLst>
        </pc:spChg>
        <pc:spChg chg="del">
          <ac:chgData name="Khrystyna Yatsyna" userId="e6954dd7-6c9e-43c8-bd42-ff8c4ce5393f" providerId="ADAL" clId="{BBB5A732-C083-4ACD-876F-6FB9A2AAF4AA}" dt="2023-08-03T11:36:24.893" v="500" actId="478"/>
          <ac:spMkLst>
            <pc:docMk/>
            <pc:sldMk cId="4158237456" sldId="3271"/>
            <ac:spMk id="91" creationId="{1EA1B8BC-3468-B287-C8BD-C8B1A16C5422}"/>
          </ac:spMkLst>
        </pc:spChg>
        <pc:spChg chg="del">
          <ac:chgData name="Khrystyna Yatsyna" userId="e6954dd7-6c9e-43c8-bd42-ff8c4ce5393f" providerId="ADAL" clId="{BBB5A732-C083-4ACD-876F-6FB9A2AAF4AA}" dt="2023-08-03T11:36:24.893" v="500" actId="478"/>
          <ac:spMkLst>
            <pc:docMk/>
            <pc:sldMk cId="4158237456" sldId="3271"/>
            <ac:spMk id="93" creationId="{ECA389BE-AB30-91C7-F179-C2CFB82A7A14}"/>
          </ac:spMkLst>
        </pc:spChg>
        <pc:spChg chg="del">
          <ac:chgData name="Khrystyna Yatsyna" userId="e6954dd7-6c9e-43c8-bd42-ff8c4ce5393f" providerId="ADAL" clId="{BBB5A732-C083-4ACD-876F-6FB9A2AAF4AA}" dt="2023-08-03T11:36:24.893" v="500" actId="478"/>
          <ac:spMkLst>
            <pc:docMk/>
            <pc:sldMk cId="4158237456" sldId="3271"/>
            <ac:spMk id="95" creationId="{D338FCF1-918B-0790-1CFC-2004F64B0C77}"/>
          </ac:spMkLst>
        </pc:spChg>
        <pc:grpChg chg="add del mod">
          <ac:chgData name="Khrystyna Yatsyna" userId="e6954dd7-6c9e-43c8-bd42-ff8c4ce5393f" providerId="ADAL" clId="{BBB5A732-C083-4ACD-876F-6FB9A2AAF4AA}" dt="2023-08-03T13:20:40.195" v="587" actId="478"/>
          <ac:grpSpMkLst>
            <pc:docMk/>
            <pc:sldMk cId="4158237456" sldId="3271"/>
            <ac:grpSpMk id="13" creationId="{1859A76F-98C0-9F8F-4730-4E2B3796C96C}"/>
          </ac:grpSpMkLst>
        </pc:grpChg>
        <pc:grpChg chg="add mod">
          <ac:chgData name="Khrystyna Yatsyna" userId="e6954dd7-6c9e-43c8-bd42-ff8c4ce5393f" providerId="ADAL" clId="{BBB5A732-C083-4ACD-876F-6FB9A2AAF4AA}" dt="2023-08-03T13:20:40.402" v="588"/>
          <ac:grpSpMkLst>
            <pc:docMk/>
            <pc:sldMk cId="4158237456" sldId="3271"/>
            <ac:grpSpMk id="31" creationId="{861476D0-A8BF-F1C3-24AB-1D9799E88673}"/>
          </ac:grpSpMkLst>
        </pc:grpChg>
        <pc:grpChg chg="del">
          <ac:chgData name="Khrystyna Yatsyna" userId="e6954dd7-6c9e-43c8-bd42-ff8c4ce5393f" providerId="ADAL" clId="{BBB5A732-C083-4ACD-876F-6FB9A2AAF4AA}" dt="2023-08-03T11:36:24.893" v="500" actId="478"/>
          <ac:grpSpMkLst>
            <pc:docMk/>
            <pc:sldMk cId="4158237456" sldId="3271"/>
            <ac:grpSpMk id="82" creationId="{72F6FA88-23EF-DF37-7E50-633866FDF088}"/>
          </ac:grpSpMkLst>
        </pc:grpChg>
        <pc:picChg chg="add mod">
          <ac:chgData name="Khrystyna Yatsyna" userId="e6954dd7-6c9e-43c8-bd42-ff8c4ce5393f" providerId="ADAL" clId="{BBB5A732-C083-4ACD-876F-6FB9A2AAF4AA}" dt="2023-08-03T11:36:25.838" v="501"/>
          <ac:picMkLst>
            <pc:docMk/>
            <pc:sldMk cId="4158237456" sldId="3271"/>
            <ac:picMk id="7" creationId="{CFF1270F-7FAB-FEEC-5FEB-ED6C770DD21A}"/>
          </ac:picMkLst>
        </pc:picChg>
        <pc:picChg chg="add mod">
          <ac:chgData name="Khrystyna Yatsyna" userId="e6954dd7-6c9e-43c8-bd42-ff8c4ce5393f" providerId="ADAL" clId="{BBB5A732-C083-4ACD-876F-6FB9A2AAF4AA}" dt="2023-08-03T11:36:25.838" v="501"/>
          <ac:picMkLst>
            <pc:docMk/>
            <pc:sldMk cId="4158237456" sldId="3271"/>
            <ac:picMk id="11" creationId="{8D895472-9D5D-8B48-0216-B455B76B6024}"/>
          </ac:picMkLst>
        </pc:picChg>
        <pc:picChg chg="add mod">
          <ac:chgData name="Khrystyna Yatsyna" userId="e6954dd7-6c9e-43c8-bd42-ff8c4ce5393f" providerId="ADAL" clId="{BBB5A732-C083-4ACD-876F-6FB9A2AAF4AA}" dt="2023-08-03T11:36:25.838" v="501"/>
          <ac:picMkLst>
            <pc:docMk/>
            <pc:sldMk cId="4158237456" sldId="3271"/>
            <ac:picMk id="21" creationId="{45EE5222-DEFC-7D49-AA97-FCFE270E7E8D}"/>
          </ac:picMkLst>
        </pc:picChg>
        <pc:picChg chg="add mod">
          <ac:chgData name="Khrystyna Yatsyna" userId="e6954dd7-6c9e-43c8-bd42-ff8c4ce5393f" providerId="ADAL" clId="{BBB5A732-C083-4ACD-876F-6FB9A2AAF4AA}" dt="2023-08-03T11:36:25.838" v="501"/>
          <ac:picMkLst>
            <pc:docMk/>
            <pc:sldMk cId="4158237456" sldId="3271"/>
            <ac:picMk id="23" creationId="{0FA4B81F-1A67-C397-BE72-46AC8D6B1B32}"/>
          </ac:picMkLst>
        </pc:picChg>
        <pc:picChg chg="add mod">
          <ac:chgData name="Khrystyna Yatsyna" userId="e6954dd7-6c9e-43c8-bd42-ff8c4ce5393f" providerId="ADAL" clId="{BBB5A732-C083-4ACD-876F-6FB9A2AAF4AA}" dt="2023-08-03T11:36:25.838" v="501"/>
          <ac:picMkLst>
            <pc:docMk/>
            <pc:sldMk cId="4158237456" sldId="3271"/>
            <ac:picMk id="27" creationId="{70B8679F-4D4E-3B7A-7414-F14A39C5707B}"/>
          </ac:picMkLst>
        </pc:picChg>
        <pc:picChg chg="add mod">
          <ac:chgData name="Khrystyna Yatsyna" userId="e6954dd7-6c9e-43c8-bd42-ff8c4ce5393f" providerId="ADAL" clId="{BBB5A732-C083-4ACD-876F-6FB9A2AAF4AA}" dt="2023-08-03T11:36:25.838" v="501"/>
          <ac:picMkLst>
            <pc:docMk/>
            <pc:sldMk cId="4158237456" sldId="3271"/>
            <ac:picMk id="29" creationId="{EBCCFB95-877D-F832-7E9B-DDFA4D0A40B1}"/>
          </ac:picMkLst>
        </pc:picChg>
        <pc:picChg chg="del">
          <ac:chgData name="Khrystyna Yatsyna" userId="e6954dd7-6c9e-43c8-bd42-ff8c4ce5393f" providerId="ADAL" clId="{BBB5A732-C083-4ACD-876F-6FB9A2AAF4AA}" dt="2023-08-03T11:36:24.893" v="500" actId="478"/>
          <ac:picMkLst>
            <pc:docMk/>
            <pc:sldMk cId="4158237456" sldId="3271"/>
            <ac:picMk id="78" creationId="{FCF7E00A-D50C-5F72-5319-78CD77515FD1}"/>
          </ac:picMkLst>
        </pc:picChg>
        <pc:picChg chg="del">
          <ac:chgData name="Khrystyna Yatsyna" userId="e6954dd7-6c9e-43c8-bd42-ff8c4ce5393f" providerId="ADAL" clId="{BBB5A732-C083-4ACD-876F-6FB9A2AAF4AA}" dt="2023-08-03T11:36:24.893" v="500" actId="478"/>
          <ac:picMkLst>
            <pc:docMk/>
            <pc:sldMk cId="4158237456" sldId="3271"/>
            <ac:picMk id="80" creationId="{BD3B6901-E9C6-CC05-D6BD-F9D32D9D4504}"/>
          </ac:picMkLst>
        </pc:picChg>
        <pc:picChg chg="del">
          <ac:chgData name="Khrystyna Yatsyna" userId="e6954dd7-6c9e-43c8-bd42-ff8c4ce5393f" providerId="ADAL" clId="{BBB5A732-C083-4ACD-876F-6FB9A2AAF4AA}" dt="2023-08-03T11:36:24.893" v="500" actId="478"/>
          <ac:picMkLst>
            <pc:docMk/>
            <pc:sldMk cId="4158237456" sldId="3271"/>
            <ac:picMk id="90" creationId="{4193F353-5DD0-94F7-A296-3CF020C872A0}"/>
          </ac:picMkLst>
        </pc:picChg>
        <pc:picChg chg="del">
          <ac:chgData name="Khrystyna Yatsyna" userId="e6954dd7-6c9e-43c8-bd42-ff8c4ce5393f" providerId="ADAL" clId="{BBB5A732-C083-4ACD-876F-6FB9A2AAF4AA}" dt="2023-08-03T11:36:24.893" v="500" actId="478"/>
          <ac:picMkLst>
            <pc:docMk/>
            <pc:sldMk cId="4158237456" sldId="3271"/>
            <ac:picMk id="92" creationId="{64014ED0-00CE-1ED9-136B-C8E42DA31C6F}"/>
          </ac:picMkLst>
        </pc:picChg>
        <pc:picChg chg="del">
          <ac:chgData name="Khrystyna Yatsyna" userId="e6954dd7-6c9e-43c8-bd42-ff8c4ce5393f" providerId="ADAL" clId="{BBB5A732-C083-4ACD-876F-6FB9A2AAF4AA}" dt="2023-08-03T11:36:24.893" v="500" actId="478"/>
          <ac:picMkLst>
            <pc:docMk/>
            <pc:sldMk cId="4158237456" sldId="3271"/>
            <ac:picMk id="94" creationId="{EE1013F9-C9DA-B37B-4B26-2C5FF9B1A753}"/>
          </ac:picMkLst>
        </pc:picChg>
        <pc:picChg chg="del">
          <ac:chgData name="Khrystyna Yatsyna" userId="e6954dd7-6c9e-43c8-bd42-ff8c4ce5393f" providerId="ADAL" clId="{BBB5A732-C083-4ACD-876F-6FB9A2AAF4AA}" dt="2023-08-03T11:36:24.893" v="500" actId="478"/>
          <ac:picMkLst>
            <pc:docMk/>
            <pc:sldMk cId="4158237456" sldId="3271"/>
            <ac:picMk id="96" creationId="{03EF6741-1391-4663-8C40-0FFD0CE08A29}"/>
          </ac:picMkLst>
        </pc:picChg>
      </pc:sldChg>
      <pc:sldChg chg="addSp delSp modSp mod">
        <pc:chgData name="Khrystyna Yatsyna" userId="e6954dd7-6c9e-43c8-bd42-ff8c4ce5393f" providerId="ADAL" clId="{BBB5A732-C083-4ACD-876F-6FB9A2AAF4AA}" dt="2023-08-18T12:32:48.294" v="783" actId="108"/>
        <pc:sldMkLst>
          <pc:docMk/>
          <pc:sldMk cId="1003041408" sldId="3273"/>
        </pc:sldMkLst>
        <pc:spChg chg="del">
          <ac:chgData name="Khrystyna Yatsyna" userId="e6954dd7-6c9e-43c8-bd42-ff8c4ce5393f" providerId="ADAL" clId="{BBB5A732-C083-4ACD-876F-6FB9A2AAF4AA}" dt="2023-08-03T11:38:55.131" v="554" actId="478"/>
          <ac:spMkLst>
            <pc:docMk/>
            <pc:sldMk cId="1003041408" sldId="3273"/>
            <ac:spMk id="6" creationId="{16562B76-CD4E-0EB1-9566-61E2378A5408}"/>
          </ac:spMkLst>
        </pc:spChg>
        <pc:spChg chg="add mod">
          <ac:chgData name="Khrystyna Yatsyna" userId="e6954dd7-6c9e-43c8-bd42-ff8c4ce5393f" providerId="ADAL" clId="{BBB5A732-C083-4ACD-876F-6FB9A2AAF4AA}" dt="2023-08-03T13:21:20.491" v="606"/>
          <ac:spMkLst>
            <pc:docMk/>
            <pc:sldMk cId="1003041408" sldId="3273"/>
            <ac:spMk id="6" creationId="{5FF6AC58-32DC-5F5D-77E6-AD6D19036139}"/>
          </ac:spMkLst>
        </pc:spChg>
        <pc:spChg chg="del">
          <ac:chgData name="Khrystyna Yatsyna" userId="e6954dd7-6c9e-43c8-bd42-ff8c4ce5393f" providerId="ADAL" clId="{BBB5A732-C083-4ACD-876F-6FB9A2AAF4AA}" dt="2023-08-03T11:38:55.131" v="554" actId="478"/>
          <ac:spMkLst>
            <pc:docMk/>
            <pc:sldMk cId="1003041408" sldId="3273"/>
            <ac:spMk id="11" creationId="{62FBA3A0-5A08-3D43-1EE0-763A516A42DC}"/>
          </ac:spMkLst>
        </pc:spChg>
        <pc:spChg chg="mod">
          <ac:chgData name="Khrystyna Yatsyna" userId="e6954dd7-6c9e-43c8-bd42-ff8c4ce5393f" providerId="ADAL" clId="{BBB5A732-C083-4ACD-876F-6FB9A2AAF4AA}" dt="2023-08-03T13:21:20.491" v="606"/>
          <ac:spMkLst>
            <pc:docMk/>
            <pc:sldMk cId="1003041408" sldId="3273"/>
            <ac:spMk id="11" creationId="{6C023362-CC83-E813-53B4-370730D7CC5A}"/>
          </ac:spMkLst>
        </pc:spChg>
        <pc:spChg chg="mod">
          <ac:chgData name="Khrystyna Yatsyna" userId="e6954dd7-6c9e-43c8-bd42-ff8c4ce5393f" providerId="ADAL" clId="{BBB5A732-C083-4ACD-876F-6FB9A2AAF4AA}" dt="2023-08-03T13:21:20.491" v="606"/>
          <ac:spMkLst>
            <pc:docMk/>
            <pc:sldMk cId="1003041408" sldId="3273"/>
            <ac:spMk id="12" creationId="{5472BF0D-A73D-2D50-AA3C-E6B80AF6434F}"/>
          </ac:spMkLst>
        </pc:spChg>
        <pc:spChg chg="mod">
          <ac:chgData name="Khrystyna Yatsyna" userId="e6954dd7-6c9e-43c8-bd42-ff8c4ce5393f" providerId="ADAL" clId="{BBB5A732-C083-4ACD-876F-6FB9A2AAF4AA}" dt="2023-07-27T11:24:37.691" v="275" actId="1035"/>
          <ac:spMkLst>
            <pc:docMk/>
            <pc:sldMk cId="1003041408" sldId="3273"/>
            <ac:spMk id="13" creationId="{CAD9E1F0-1F35-73E9-E49E-647148E63165}"/>
          </ac:spMkLst>
        </pc:spChg>
        <pc:spChg chg="mod">
          <ac:chgData name="Khrystyna Yatsyna" userId="e6954dd7-6c9e-43c8-bd42-ff8c4ce5393f" providerId="ADAL" clId="{BBB5A732-C083-4ACD-876F-6FB9A2AAF4AA}" dt="2023-08-03T13:21:20.491" v="606"/>
          <ac:spMkLst>
            <pc:docMk/>
            <pc:sldMk cId="1003041408" sldId="3273"/>
            <ac:spMk id="17" creationId="{33D79BA4-A769-CB7B-E2B4-242F29D9A6A6}"/>
          </ac:spMkLst>
        </pc:spChg>
        <pc:spChg chg="mod">
          <ac:chgData name="Khrystyna Yatsyna" userId="e6954dd7-6c9e-43c8-bd42-ff8c4ce5393f" providerId="ADAL" clId="{BBB5A732-C083-4ACD-876F-6FB9A2AAF4AA}" dt="2023-07-27T11:24:37.691" v="275" actId="1035"/>
          <ac:spMkLst>
            <pc:docMk/>
            <pc:sldMk cId="1003041408" sldId="3273"/>
            <ac:spMk id="19" creationId="{6C5F6F37-AE7C-9F96-AAF6-1677DF00A49A}"/>
          </ac:spMkLst>
        </pc:spChg>
        <pc:spChg chg="mod">
          <ac:chgData name="Khrystyna Yatsyna" userId="e6954dd7-6c9e-43c8-bd42-ff8c4ce5393f" providerId="ADAL" clId="{BBB5A732-C083-4ACD-876F-6FB9A2AAF4AA}" dt="2023-07-27T11:24:37.691" v="275" actId="1035"/>
          <ac:spMkLst>
            <pc:docMk/>
            <pc:sldMk cId="1003041408" sldId="3273"/>
            <ac:spMk id="20" creationId="{0D14FDE1-5CA8-1F05-655A-51BBF6E7D48F}"/>
          </ac:spMkLst>
        </pc:spChg>
        <pc:spChg chg="mod">
          <ac:chgData name="Khrystyna Yatsyna" userId="e6954dd7-6c9e-43c8-bd42-ff8c4ce5393f" providerId="ADAL" clId="{BBB5A732-C083-4ACD-876F-6FB9A2AAF4AA}" dt="2023-07-27T11:24:37.691" v="275" actId="1035"/>
          <ac:spMkLst>
            <pc:docMk/>
            <pc:sldMk cId="1003041408" sldId="3273"/>
            <ac:spMk id="21" creationId="{4F8BD696-032B-E50F-1275-71ABB25BC1F1}"/>
          </ac:spMkLst>
        </pc:spChg>
        <pc:spChg chg="mod">
          <ac:chgData name="Khrystyna Yatsyna" userId="e6954dd7-6c9e-43c8-bd42-ff8c4ce5393f" providerId="ADAL" clId="{BBB5A732-C083-4ACD-876F-6FB9A2AAF4AA}" dt="2023-08-03T13:21:20.491" v="606"/>
          <ac:spMkLst>
            <pc:docMk/>
            <pc:sldMk cId="1003041408" sldId="3273"/>
            <ac:spMk id="22" creationId="{56FF1633-9E9C-2571-6D89-34EE6D9AB13A}"/>
          </ac:spMkLst>
        </pc:spChg>
        <pc:spChg chg="mod">
          <ac:chgData name="Khrystyna Yatsyna" userId="e6954dd7-6c9e-43c8-bd42-ff8c4ce5393f" providerId="ADAL" clId="{BBB5A732-C083-4ACD-876F-6FB9A2AAF4AA}" dt="2023-08-03T13:21:20.491" v="606"/>
          <ac:spMkLst>
            <pc:docMk/>
            <pc:sldMk cId="1003041408" sldId="3273"/>
            <ac:spMk id="23" creationId="{F08465AB-0CCE-BBCB-ABD5-09651CE9171D}"/>
          </ac:spMkLst>
        </pc:spChg>
        <pc:spChg chg="mod">
          <ac:chgData name="Khrystyna Yatsyna" userId="e6954dd7-6c9e-43c8-bd42-ff8c4ce5393f" providerId="ADAL" clId="{BBB5A732-C083-4ACD-876F-6FB9A2AAF4AA}" dt="2023-08-03T13:21:20.491" v="606"/>
          <ac:spMkLst>
            <pc:docMk/>
            <pc:sldMk cId="1003041408" sldId="3273"/>
            <ac:spMk id="25" creationId="{E2735477-F18B-2ACC-7709-EE4029EB53D3}"/>
          </ac:spMkLst>
        </pc:spChg>
        <pc:spChg chg="del">
          <ac:chgData name="Khrystyna Yatsyna" userId="e6954dd7-6c9e-43c8-bd42-ff8c4ce5393f" providerId="ADAL" clId="{BBB5A732-C083-4ACD-876F-6FB9A2AAF4AA}" dt="2023-08-03T11:38:55.131" v="554" actId="478"/>
          <ac:spMkLst>
            <pc:docMk/>
            <pc:sldMk cId="1003041408" sldId="3273"/>
            <ac:spMk id="29" creationId="{D2BD5D04-19D2-C1EB-496B-BCB035824FCB}"/>
          </ac:spMkLst>
        </pc:spChg>
        <pc:spChg chg="add mod">
          <ac:chgData name="Khrystyna Yatsyna" userId="e6954dd7-6c9e-43c8-bd42-ff8c4ce5393f" providerId="ADAL" clId="{BBB5A732-C083-4ACD-876F-6FB9A2AAF4AA}" dt="2023-08-18T12:32:48.294" v="783" actId="108"/>
          <ac:spMkLst>
            <pc:docMk/>
            <pc:sldMk cId="1003041408" sldId="3273"/>
            <ac:spMk id="30" creationId="{34669E20-0987-F930-126A-478691F9D363}"/>
          </ac:spMkLst>
        </pc:spChg>
        <pc:spChg chg="del mod">
          <ac:chgData name="Khrystyna Yatsyna" userId="e6954dd7-6c9e-43c8-bd42-ff8c4ce5393f" providerId="ADAL" clId="{BBB5A732-C083-4ACD-876F-6FB9A2AAF4AA}" dt="2023-07-27T11:22:48.055" v="178" actId="478"/>
          <ac:spMkLst>
            <pc:docMk/>
            <pc:sldMk cId="1003041408" sldId="3273"/>
            <ac:spMk id="30" creationId="{9C129820-5ADD-D53C-13E4-DC334E3A5A89}"/>
          </ac:spMkLst>
        </pc:spChg>
        <pc:spChg chg="del">
          <ac:chgData name="Khrystyna Yatsyna" userId="e6954dd7-6c9e-43c8-bd42-ff8c4ce5393f" providerId="ADAL" clId="{BBB5A732-C083-4ACD-876F-6FB9A2AAF4AA}" dt="2023-08-03T11:38:55.131" v="554" actId="478"/>
          <ac:spMkLst>
            <pc:docMk/>
            <pc:sldMk cId="1003041408" sldId="3273"/>
            <ac:spMk id="32" creationId="{D7D2EBDB-7C49-0F6B-D77B-1D4DEDBA10CF}"/>
          </ac:spMkLst>
        </pc:spChg>
        <pc:spChg chg="del">
          <ac:chgData name="Khrystyna Yatsyna" userId="e6954dd7-6c9e-43c8-bd42-ff8c4ce5393f" providerId="ADAL" clId="{BBB5A732-C083-4ACD-876F-6FB9A2AAF4AA}" dt="2023-08-03T11:38:55.131" v="554" actId="478"/>
          <ac:spMkLst>
            <pc:docMk/>
            <pc:sldMk cId="1003041408" sldId="3273"/>
            <ac:spMk id="34" creationId="{C726C68B-3BD6-DE56-5B3E-00D06487A06B}"/>
          </ac:spMkLst>
        </pc:spChg>
        <pc:spChg chg="del">
          <ac:chgData name="Khrystyna Yatsyna" userId="e6954dd7-6c9e-43c8-bd42-ff8c4ce5393f" providerId="ADAL" clId="{BBB5A732-C083-4ACD-876F-6FB9A2AAF4AA}" dt="2023-08-03T11:38:55.131" v="554" actId="478"/>
          <ac:spMkLst>
            <pc:docMk/>
            <pc:sldMk cId="1003041408" sldId="3273"/>
            <ac:spMk id="36" creationId="{42BD00E7-5908-3178-6C2E-468DD401A27E}"/>
          </ac:spMkLst>
        </pc:spChg>
        <pc:spChg chg="del">
          <ac:chgData name="Khrystyna Yatsyna" userId="e6954dd7-6c9e-43c8-bd42-ff8c4ce5393f" providerId="ADAL" clId="{BBB5A732-C083-4ACD-876F-6FB9A2AAF4AA}" dt="2023-08-03T11:38:55.131" v="554" actId="478"/>
          <ac:spMkLst>
            <pc:docMk/>
            <pc:sldMk cId="1003041408" sldId="3273"/>
            <ac:spMk id="38" creationId="{F8108434-88D1-C767-CB6C-EFD32E2F231F}"/>
          </ac:spMkLst>
        </pc:spChg>
        <pc:spChg chg="add mod">
          <ac:chgData name="Khrystyna Yatsyna" userId="e6954dd7-6c9e-43c8-bd42-ff8c4ce5393f" providerId="ADAL" clId="{BBB5A732-C083-4ACD-876F-6FB9A2AAF4AA}" dt="2023-07-27T11:22:48.878" v="179"/>
          <ac:spMkLst>
            <pc:docMk/>
            <pc:sldMk cId="1003041408" sldId="3273"/>
            <ac:spMk id="40" creationId="{0B907646-7049-9DF0-E470-1FB485E2B82B}"/>
          </ac:spMkLst>
        </pc:spChg>
        <pc:spChg chg="add mod">
          <ac:chgData name="Khrystyna Yatsyna" userId="e6954dd7-6c9e-43c8-bd42-ff8c4ce5393f" providerId="ADAL" clId="{BBB5A732-C083-4ACD-876F-6FB9A2AAF4AA}" dt="2023-07-27T11:22:48.878" v="179"/>
          <ac:spMkLst>
            <pc:docMk/>
            <pc:sldMk cId="1003041408" sldId="3273"/>
            <ac:spMk id="41" creationId="{7B07C6A3-93F1-5C36-8A72-F4262DE3E392}"/>
          </ac:spMkLst>
        </pc:spChg>
        <pc:spChg chg="add mod">
          <ac:chgData name="Khrystyna Yatsyna" userId="e6954dd7-6c9e-43c8-bd42-ff8c4ce5393f" providerId="ADAL" clId="{BBB5A732-C083-4ACD-876F-6FB9A2AAF4AA}" dt="2023-07-27T11:24:58.538" v="278"/>
          <ac:spMkLst>
            <pc:docMk/>
            <pc:sldMk cId="1003041408" sldId="3273"/>
            <ac:spMk id="42" creationId="{1077E387-EC6B-874C-681F-54B931A380B9}"/>
          </ac:spMkLst>
        </pc:spChg>
        <pc:spChg chg="add del mod">
          <ac:chgData name="Khrystyna Yatsyna" userId="e6954dd7-6c9e-43c8-bd42-ff8c4ce5393f" providerId="ADAL" clId="{BBB5A732-C083-4ACD-876F-6FB9A2AAF4AA}" dt="2023-08-03T13:21:20.285" v="605" actId="478"/>
          <ac:spMkLst>
            <pc:docMk/>
            <pc:sldMk cId="1003041408" sldId="3273"/>
            <ac:spMk id="44" creationId="{A45CA633-A3D7-3269-D6D2-B70893441828}"/>
          </ac:spMkLst>
        </pc:spChg>
        <pc:spChg chg="del">
          <ac:chgData name="Khrystyna Yatsyna" userId="e6954dd7-6c9e-43c8-bd42-ff8c4ce5393f" providerId="ADAL" clId="{BBB5A732-C083-4ACD-876F-6FB9A2AAF4AA}" dt="2023-07-27T11:22:45.096" v="176" actId="478"/>
          <ac:spMkLst>
            <pc:docMk/>
            <pc:sldMk cId="1003041408" sldId="3273"/>
            <ac:spMk id="47" creationId="{B2FFC8BD-8B83-5CD8-F8FD-B8FEEC9E63EE}"/>
          </ac:spMkLst>
        </pc:spChg>
        <pc:spChg chg="mod">
          <ac:chgData name="Khrystyna Yatsyna" userId="e6954dd7-6c9e-43c8-bd42-ff8c4ce5393f" providerId="ADAL" clId="{BBB5A732-C083-4ACD-876F-6FB9A2AAF4AA}" dt="2023-08-03T11:38:55.352" v="555"/>
          <ac:spMkLst>
            <pc:docMk/>
            <pc:sldMk cId="1003041408" sldId="3273"/>
            <ac:spMk id="47" creationId="{B492207E-8BF7-D325-AEBC-FB455D7DECAB}"/>
          </ac:spMkLst>
        </pc:spChg>
        <pc:spChg chg="mod">
          <ac:chgData name="Khrystyna Yatsyna" userId="e6954dd7-6c9e-43c8-bd42-ff8c4ce5393f" providerId="ADAL" clId="{BBB5A732-C083-4ACD-876F-6FB9A2AAF4AA}" dt="2023-08-03T11:38:55.352" v="555"/>
          <ac:spMkLst>
            <pc:docMk/>
            <pc:sldMk cId="1003041408" sldId="3273"/>
            <ac:spMk id="48" creationId="{C4474029-CDB7-11A8-C9BF-9FD813FE6CAA}"/>
          </ac:spMkLst>
        </pc:spChg>
        <pc:spChg chg="mod">
          <ac:chgData name="Khrystyna Yatsyna" userId="e6954dd7-6c9e-43c8-bd42-ff8c4ce5393f" providerId="ADAL" clId="{BBB5A732-C083-4ACD-876F-6FB9A2AAF4AA}" dt="2023-08-03T11:38:55.352" v="555"/>
          <ac:spMkLst>
            <pc:docMk/>
            <pc:sldMk cId="1003041408" sldId="3273"/>
            <ac:spMk id="49" creationId="{7B98A0B5-9BAE-5373-98D7-6649409AE3EF}"/>
          </ac:spMkLst>
        </pc:spChg>
        <pc:spChg chg="mod">
          <ac:chgData name="Khrystyna Yatsyna" userId="e6954dd7-6c9e-43c8-bd42-ff8c4ce5393f" providerId="ADAL" clId="{BBB5A732-C083-4ACD-876F-6FB9A2AAF4AA}" dt="2023-08-03T11:38:55.352" v="555"/>
          <ac:spMkLst>
            <pc:docMk/>
            <pc:sldMk cId="1003041408" sldId="3273"/>
            <ac:spMk id="50" creationId="{B14EA1FD-85FA-71D9-EF7B-9107CF4570E4}"/>
          </ac:spMkLst>
        </pc:spChg>
        <pc:spChg chg="mod">
          <ac:chgData name="Khrystyna Yatsyna" userId="e6954dd7-6c9e-43c8-bd42-ff8c4ce5393f" providerId="ADAL" clId="{BBB5A732-C083-4ACD-876F-6FB9A2AAF4AA}" dt="2023-08-03T11:38:55.352" v="555"/>
          <ac:spMkLst>
            <pc:docMk/>
            <pc:sldMk cId="1003041408" sldId="3273"/>
            <ac:spMk id="51" creationId="{F5AABB2E-75E6-BAFE-A0C1-DAF718125AB1}"/>
          </ac:spMkLst>
        </pc:spChg>
        <pc:spChg chg="mod">
          <ac:chgData name="Khrystyna Yatsyna" userId="e6954dd7-6c9e-43c8-bd42-ff8c4ce5393f" providerId="ADAL" clId="{BBB5A732-C083-4ACD-876F-6FB9A2AAF4AA}" dt="2023-08-03T11:38:55.352" v="555"/>
          <ac:spMkLst>
            <pc:docMk/>
            <pc:sldMk cId="1003041408" sldId="3273"/>
            <ac:spMk id="54" creationId="{CD6E67EA-FC11-FE7C-D86B-BF45A1823D35}"/>
          </ac:spMkLst>
        </pc:spChg>
        <pc:spChg chg="add mod">
          <ac:chgData name="Khrystyna Yatsyna" userId="e6954dd7-6c9e-43c8-bd42-ff8c4ce5393f" providerId="ADAL" clId="{BBB5A732-C083-4ACD-876F-6FB9A2AAF4AA}" dt="2023-08-18T12:32:46.998" v="782" actId="108"/>
          <ac:spMkLst>
            <pc:docMk/>
            <pc:sldMk cId="1003041408" sldId="3273"/>
            <ac:spMk id="55" creationId="{14327C1C-F531-95F0-3615-584C0537ABA2}"/>
          </ac:spMkLst>
        </pc:spChg>
        <pc:spChg chg="add mod">
          <ac:chgData name="Khrystyna Yatsyna" userId="e6954dd7-6c9e-43c8-bd42-ff8c4ce5393f" providerId="ADAL" clId="{BBB5A732-C083-4ACD-876F-6FB9A2AAF4AA}" dt="2023-08-18T12:32:42.485" v="778" actId="108"/>
          <ac:spMkLst>
            <pc:docMk/>
            <pc:sldMk cId="1003041408" sldId="3273"/>
            <ac:spMk id="57" creationId="{C9A045F4-A878-C1FD-9224-1AAB3C78D84F}"/>
          </ac:spMkLst>
        </pc:spChg>
        <pc:spChg chg="add mod">
          <ac:chgData name="Khrystyna Yatsyna" userId="e6954dd7-6c9e-43c8-bd42-ff8c4ce5393f" providerId="ADAL" clId="{BBB5A732-C083-4ACD-876F-6FB9A2AAF4AA}" dt="2023-08-18T12:32:43.208" v="779" actId="108"/>
          <ac:spMkLst>
            <pc:docMk/>
            <pc:sldMk cId="1003041408" sldId="3273"/>
            <ac:spMk id="61" creationId="{FF1967FC-FD8F-E7A7-BECD-6ACE9B1BCAB3}"/>
          </ac:spMkLst>
        </pc:spChg>
        <pc:spChg chg="mod">
          <ac:chgData name="Khrystyna Yatsyna" userId="e6954dd7-6c9e-43c8-bd42-ff8c4ce5393f" providerId="ADAL" clId="{BBB5A732-C083-4ACD-876F-6FB9A2AAF4AA}" dt="2023-07-27T11:24:37.691" v="275" actId="1035"/>
          <ac:spMkLst>
            <pc:docMk/>
            <pc:sldMk cId="1003041408" sldId="3273"/>
            <ac:spMk id="62" creationId="{B6C26415-AD42-DE53-D888-4832144596AC}"/>
          </ac:spMkLst>
        </pc:spChg>
        <pc:spChg chg="mod">
          <ac:chgData name="Khrystyna Yatsyna" userId="e6954dd7-6c9e-43c8-bd42-ff8c4ce5393f" providerId="ADAL" clId="{BBB5A732-C083-4ACD-876F-6FB9A2AAF4AA}" dt="2023-07-27T11:24:37.691" v="275" actId="1035"/>
          <ac:spMkLst>
            <pc:docMk/>
            <pc:sldMk cId="1003041408" sldId="3273"/>
            <ac:spMk id="63" creationId="{5186FBC6-6407-5FF6-A204-D9B01EF0010B}"/>
          </ac:spMkLst>
        </pc:spChg>
        <pc:spChg chg="add mod">
          <ac:chgData name="Khrystyna Yatsyna" userId="e6954dd7-6c9e-43c8-bd42-ff8c4ce5393f" providerId="ADAL" clId="{BBB5A732-C083-4ACD-876F-6FB9A2AAF4AA}" dt="2023-08-18T12:32:44.139" v="780" actId="108"/>
          <ac:spMkLst>
            <pc:docMk/>
            <pc:sldMk cId="1003041408" sldId="3273"/>
            <ac:spMk id="65" creationId="{A864AD2F-4094-17D8-EBE7-6C9C5BCAE7F9}"/>
          </ac:spMkLst>
        </pc:spChg>
        <pc:spChg chg="add mod">
          <ac:chgData name="Khrystyna Yatsyna" userId="e6954dd7-6c9e-43c8-bd42-ff8c4ce5393f" providerId="ADAL" clId="{BBB5A732-C083-4ACD-876F-6FB9A2AAF4AA}" dt="2023-08-18T12:32:45.038" v="781" actId="108"/>
          <ac:spMkLst>
            <pc:docMk/>
            <pc:sldMk cId="1003041408" sldId="3273"/>
            <ac:spMk id="67" creationId="{13BF363A-E41F-634F-258E-E8916A0C0C8B}"/>
          </ac:spMkLst>
        </pc:spChg>
        <pc:spChg chg="mod">
          <ac:chgData name="Khrystyna Yatsyna" userId="e6954dd7-6c9e-43c8-bd42-ff8c4ce5393f" providerId="ADAL" clId="{BBB5A732-C083-4ACD-876F-6FB9A2AAF4AA}" dt="2023-07-27T11:24:37.691" v="275" actId="1035"/>
          <ac:spMkLst>
            <pc:docMk/>
            <pc:sldMk cId="1003041408" sldId="3273"/>
            <ac:spMk id="96" creationId="{2C983CB4-02D6-1CDE-8FFA-52FFFE4C9A9E}"/>
          </ac:spMkLst>
        </pc:spChg>
        <pc:grpChg chg="add mod">
          <ac:chgData name="Khrystyna Yatsyna" userId="e6954dd7-6c9e-43c8-bd42-ff8c4ce5393f" providerId="ADAL" clId="{BBB5A732-C083-4ACD-876F-6FB9A2AAF4AA}" dt="2023-08-03T13:21:20.491" v="606"/>
          <ac:grpSpMkLst>
            <pc:docMk/>
            <pc:sldMk cId="1003041408" sldId="3273"/>
            <ac:grpSpMk id="7" creationId="{0B911025-3394-DF02-2FE0-3A3A4FAC1D0D}"/>
          </ac:grpSpMkLst>
        </pc:grpChg>
        <pc:grpChg chg="del">
          <ac:chgData name="Khrystyna Yatsyna" userId="e6954dd7-6c9e-43c8-bd42-ff8c4ce5393f" providerId="ADAL" clId="{BBB5A732-C083-4ACD-876F-6FB9A2AAF4AA}" dt="2023-08-03T11:38:55.131" v="554" actId="478"/>
          <ac:grpSpMkLst>
            <pc:docMk/>
            <pc:sldMk cId="1003041408" sldId="3273"/>
            <ac:grpSpMk id="12" creationId="{86DED29B-B7FE-5691-B2CF-2399A352FF2D}"/>
          </ac:grpSpMkLst>
        </pc:grpChg>
        <pc:grpChg chg="add del mod">
          <ac:chgData name="Khrystyna Yatsyna" userId="e6954dd7-6c9e-43c8-bd42-ff8c4ce5393f" providerId="ADAL" clId="{BBB5A732-C083-4ACD-876F-6FB9A2AAF4AA}" dt="2023-08-03T13:21:20.285" v="605" actId="478"/>
          <ac:grpSpMkLst>
            <pc:docMk/>
            <pc:sldMk cId="1003041408" sldId="3273"/>
            <ac:grpSpMk id="45" creationId="{D9FED58F-B9F8-E37B-7014-9BEA9B466325}"/>
          </ac:grpSpMkLst>
        </pc:grpChg>
        <pc:grpChg chg="mod">
          <ac:chgData name="Khrystyna Yatsyna" userId="e6954dd7-6c9e-43c8-bd42-ff8c4ce5393f" providerId="ADAL" clId="{BBB5A732-C083-4ACD-876F-6FB9A2AAF4AA}" dt="2023-07-27T11:24:37.691" v="275" actId="1035"/>
          <ac:grpSpMkLst>
            <pc:docMk/>
            <pc:sldMk cId="1003041408" sldId="3273"/>
            <ac:grpSpMk id="53" creationId="{0E9047D4-64A6-D243-3960-78631EF4E635}"/>
          </ac:grpSpMkLst>
        </pc:grpChg>
        <pc:grpChg chg="mod">
          <ac:chgData name="Khrystyna Yatsyna" userId="e6954dd7-6c9e-43c8-bd42-ff8c4ce5393f" providerId="ADAL" clId="{BBB5A732-C083-4ACD-876F-6FB9A2AAF4AA}" dt="2023-07-27T11:24:37.691" v="275" actId="1035"/>
          <ac:grpSpMkLst>
            <pc:docMk/>
            <pc:sldMk cId="1003041408" sldId="3273"/>
            <ac:grpSpMk id="79" creationId="{06DF3EFE-E41D-D759-2F1B-56DDBBE49136}"/>
          </ac:grpSpMkLst>
        </pc:grpChg>
        <pc:grpChg chg="mod">
          <ac:chgData name="Khrystyna Yatsyna" userId="e6954dd7-6c9e-43c8-bd42-ff8c4ce5393f" providerId="ADAL" clId="{BBB5A732-C083-4ACD-876F-6FB9A2AAF4AA}" dt="2023-07-27T11:24:37.691" v="275" actId="1035"/>
          <ac:grpSpMkLst>
            <pc:docMk/>
            <pc:sldMk cId="1003041408" sldId="3273"/>
            <ac:grpSpMk id="82" creationId="{E3969408-E9E7-9A85-AABB-393FF05436E3}"/>
          </ac:grpSpMkLst>
        </pc:grpChg>
        <pc:grpChg chg="mod">
          <ac:chgData name="Khrystyna Yatsyna" userId="e6954dd7-6c9e-43c8-bd42-ff8c4ce5393f" providerId="ADAL" clId="{BBB5A732-C083-4ACD-876F-6FB9A2AAF4AA}" dt="2023-07-27T11:24:37.691" v="275" actId="1035"/>
          <ac:grpSpMkLst>
            <pc:docMk/>
            <pc:sldMk cId="1003041408" sldId="3273"/>
            <ac:grpSpMk id="85" creationId="{0C743DE6-977E-DEFE-34CF-CA209CD9ABA5}"/>
          </ac:grpSpMkLst>
        </pc:grpChg>
        <pc:grpChg chg="mod">
          <ac:chgData name="Khrystyna Yatsyna" userId="e6954dd7-6c9e-43c8-bd42-ff8c4ce5393f" providerId="ADAL" clId="{BBB5A732-C083-4ACD-876F-6FB9A2AAF4AA}" dt="2023-07-27T11:24:37.691" v="275" actId="1035"/>
          <ac:grpSpMkLst>
            <pc:docMk/>
            <pc:sldMk cId="1003041408" sldId="3273"/>
            <ac:grpSpMk id="100" creationId="{EAAC1BD4-1A9F-26F1-8806-014DB01D314B}"/>
          </ac:grpSpMkLst>
        </pc:grpChg>
        <pc:picChg chg="del">
          <ac:chgData name="Khrystyna Yatsyna" userId="e6954dd7-6c9e-43c8-bd42-ff8c4ce5393f" providerId="ADAL" clId="{BBB5A732-C083-4ACD-876F-6FB9A2AAF4AA}" dt="2023-08-03T11:38:55.131" v="554" actId="478"/>
          <ac:picMkLst>
            <pc:docMk/>
            <pc:sldMk cId="1003041408" sldId="3273"/>
            <ac:picMk id="7" creationId="{0866B5BF-1142-01CA-2F36-39B267CCAE58}"/>
          </ac:picMkLst>
        </pc:picChg>
        <pc:picChg chg="del">
          <ac:chgData name="Khrystyna Yatsyna" userId="e6954dd7-6c9e-43c8-bd42-ff8c4ce5393f" providerId="ADAL" clId="{BBB5A732-C083-4ACD-876F-6FB9A2AAF4AA}" dt="2023-08-03T11:38:55.131" v="554" actId="478"/>
          <ac:picMkLst>
            <pc:docMk/>
            <pc:sldMk cId="1003041408" sldId="3273"/>
            <ac:picMk id="31" creationId="{8A05EE5E-199C-B94D-3965-231B2F9DCDB6}"/>
          </ac:picMkLst>
        </pc:picChg>
        <pc:picChg chg="del">
          <ac:chgData name="Khrystyna Yatsyna" userId="e6954dd7-6c9e-43c8-bd42-ff8c4ce5393f" providerId="ADAL" clId="{BBB5A732-C083-4ACD-876F-6FB9A2AAF4AA}" dt="2023-08-03T11:38:55.131" v="554" actId="478"/>
          <ac:picMkLst>
            <pc:docMk/>
            <pc:sldMk cId="1003041408" sldId="3273"/>
            <ac:picMk id="33" creationId="{458D8702-A7F1-9F0A-7634-8A18C82CE254}"/>
          </ac:picMkLst>
        </pc:picChg>
        <pc:picChg chg="del">
          <ac:chgData name="Khrystyna Yatsyna" userId="e6954dd7-6c9e-43c8-bd42-ff8c4ce5393f" providerId="ADAL" clId="{BBB5A732-C083-4ACD-876F-6FB9A2AAF4AA}" dt="2023-08-03T11:38:55.131" v="554" actId="478"/>
          <ac:picMkLst>
            <pc:docMk/>
            <pc:sldMk cId="1003041408" sldId="3273"/>
            <ac:picMk id="35" creationId="{91AB1601-41C9-BFA9-9311-FA112F61EED8}"/>
          </ac:picMkLst>
        </pc:picChg>
        <pc:picChg chg="del">
          <ac:chgData name="Khrystyna Yatsyna" userId="e6954dd7-6c9e-43c8-bd42-ff8c4ce5393f" providerId="ADAL" clId="{BBB5A732-C083-4ACD-876F-6FB9A2AAF4AA}" dt="2023-08-03T11:38:55.131" v="554" actId="478"/>
          <ac:picMkLst>
            <pc:docMk/>
            <pc:sldMk cId="1003041408" sldId="3273"/>
            <ac:picMk id="37" creationId="{2743D1E3-02C0-C68F-707D-2CE4E6BF2E6D}"/>
          </ac:picMkLst>
        </pc:picChg>
        <pc:picChg chg="del">
          <ac:chgData name="Khrystyna Yatsyna" userId="e6954dd7-6c9e-43c8-bd42-ff8c4ce5393f" providerId="ADAL" clId="{BBB5A732-C083-4ACD-876F-6FB9A2AAF4AA}" dt="2023-08-03T11:38:55.131" v="554" actId="478"/>
          <ac:picMkLst>
            <pc:docMk/>
            <pc:sldMk cId="1003041408" sldId="3273"/>
            <ac:picMk id="39" creationId="{9DAEE47D-688A-8B64-D53E-7379E3475FC0}"/>
          </ac:picMkLst>
        </pc:picChg>
        <pc:picChg chg="add mod">
          <ac:chgData name="Khrystyna Yatsyna" userId="e6954dd7-6c9e-43c8-bd42-ff8c4ce5393f" providerId="ADAL" clId="{BBB5A732-C083-4ACD-876F-6FB9A2AAF4AA}" dt="2023-08-03T11:38:55.352" v="555"/>
          <ac:picMkLst>
            <pc:docMk/>
            <pc:sldMk cId="1003041408" sldId="3273"/>
            <ac:picMk id="43" creationId="{968A642F-5161-5BB8-466D-11F3C9BBBDBB}"/>
          </ac:picMkLst>
        </pc:picChg>
        <pc:picChg chg="mod">
          <ac:chgData name="Khrystyna Yatsyna" userId="e6954dd7-6c9e-43c8-bd42-ff8c4ce5393f" providerId="ADAL" clId="{BBB5A732-C083-4ACD-876F-6FB9A2AAF4AA}" dt="2023-07-27T11:24:37.691" v="275" actId="1035"/>
          <ac:picMkLst>
            <pc:docMk/>
            <pc:sldMk cId="1003041408" sldId="3273"/>
            <ac:picMk id="46" creationId="{6FD8365B-07AF-1704-8223-52DB3CE70C48}"/>
          </ac:picMkLst>
        </pc:picChg>
        <pc:picChg chg="mod">
          <ac:chgData name="Khrystyna Yatsyna" userId="e6954dd7-6c9e-43c8-bd42-ff8c4ce5393f" providerId="ADAL" clId="{BBB5A732-C083-4ACD-876F-6FB9A2AAF4AA}" dt="2023-07-27T11:24:37.691" v="275" actId="1035"/>
          <ac:picMkLst>
            <pc:docMk/>
            <pc:sldMk cId="1003041408" sldId="3273"/>
            <ac:picMk id="52" creationId="{6F35DC43-EADF-D856-95E2-AC36735CC9D8}"/>
          </ac:picMkLst>
        </pc:picChg>
        <pc:picChg chg="add mod">
          <ac:chgData name="Khrystyna Yatsyna" userId="e6954dd7-6c9e-43c8-bd42-ff8c4ce5393f" providerId="ADAL" clId="{BBB5A732-C083-4ACD-876F-6FB9A2AAF4AA}" dt="2023-08-03T11:38:55.352" v="555"/>
          <ac:picMkLst>
            <pc:docMk/>
            <pc:sldMk cId="1003041408" sldId="3273"/>
            <ac:picMk id="56" creationId="{BB9FCF94-7A81-DDA3-ED33-49A8A9E4200F}"/>
          </ac:picMkLst>
        </pc:picChg>
        <pc:picChg chg="add mod">
          <ac:chgData name="Khrystyna Yatsyna" userId="e6954dd7-6c9e-43c8-bd42-ff8c4ce5393f" providerId="ADAL" clId="{BBB5A732-C083-4ACD-876F-6FB9A2AAF4AA}" dt="2023-08-03T11:38:55.352" v="555"/>
          <ac:picMkLst>
            <pc:docMk/>
            <pc:sldMk cId="1003041408" sldId="3273"/>
            <ac:picMk id="60" creationId="{0BA40FDC-7239-44B6-7C00-22599DB128D5}"/>
          </ac:picMkLst>
        </pc:picChg>
        <pc:picChg chg="add mod">
          <ac:chgData name="Khrystyna Yatsyna" userId="e6954dd7-6c9e-43c8-bd42-ff8c4ce5393f" providerId="ADAL" clId="{BBB5A732-C083-4ACD-876F-6FB9A2AAF4AA}" dt="2023-08-03T11:38:55.352" v="555"/>
          <ac:picMkLst>
            <pc:docMk/>
            <pc:sldMk cId="1003041408" sldId="3273"/>
            <ac:picMk id="64" creationId="{C29A7A34-48F8-20FC-17FA-A945E3A97914}"/>
          </ac:picMkLst>
        </pc:picChg>
        <pc:picChg chg="add mod">
          <ac:chgData name="Khrystyna Yatsyna" userId="e6954dd7-6c9e-43c8-bd42-ff8c4ce5393f" providerId="ADAL" clId="{BBB5A732-C083-4ACD-876F-6FB9A2AAF4AA}" dt="2023-08-03T11:38:55.352" v="555"/>
          <ac:picMkLst>
            <pc:docMk/>
            <pc:sldMk cId="1003041408" sldId="3273"/>
            <ac:picMk id="66" creationId="{A1142B50-1D5E-1D4B-7B2B-74148049E095}"/>
          </ac:picMkLst>
        </pc:picChg>
        <pc:picChg chg="mod">
          <ac:chgData name="Khrystyna Yatsyna" userId="e6954dd7-6c9e-43c8-bd42-ff8c4ce5393f" providerId="ADAL" clId="{BBB5A732-C083-4ACD-876F-6FB9A2AAF4AA}" dt="2023-07-27T11:24:37.691" v="275" actId="1035"/>
          <ac:picMkLst>
            <pc:docMk/>
            <pc:sldMk cId="1003041408" sldId="3273"/>
            <ac:picMk id="68" creationId="{593CAF55-D00F-40B1-1ACC-AF9EBF429ABD}"/>
          </ac:picMkLst>
        </pc:picChg>
        <pc:picChg chg="add mod">
          <ac:chgData name="Khrystyna Yatsyna" userId="e6954dd7-6c9e-43c8-bd42-ff8c4ce5393f" providerId="ADAL" clId="{BBB5A732-C083-4ACD-876F-6FB9A2AAF4AA}" dt="2023-08-03T11:38:55.352" v="555"/>
          <ac:picMkLst>
            <pc:docMk/>
            <pc:sldMk cId="1003041408" sldId="3273"/>
            <ac:picMk id="69" creationId="{5E87D5F1-490E-A5B8-562D-ADDCE96D1CE8}"/>
          </ac:picMkLst>
        </pc:picChg>
      </pc:sldChg>
      <pc:sldChg chg="modSp mod">
        <pc:chgData name="Khrystyna Yatsyna" userId="e6954dd7-6c9e-43c8-bd42-ff8c4ce5393f" providerId="ADAL" clId="{BBB5A732-C083-4ACD-876F-6FB9A2AAF4AA}" dt="2023-08-02T11:21:37.694" v="285" actId="20577"/>
        <pc:sldMkLst>
          <pc:docMk/>
          <pc:sldMk cId="2484410368" sldId="3274"/>
        </pc:sldMkLst>
        <pc:spChg chg="mod">
          <ac:chgData name="Khrystyna Yatsyna" userId="e6954dd7-6c9e-43c8-bd42-ff8c4ce5393f" providerId="ADAL" clId="{BBB5A732-C083-4ACD-876F-6FB9A2AAF4AA}" dt="2023-07-27T11:17:42.844" v="35" actId="1038"/>
          <ac:spMkLst>
            <pc:docMk/>
            <pc:sldMk cId="2484410368" sldId="3274"/>
            <ac:spMk id="1036" creationId="{D0C00DFB-BB06-C55C-9883-516D63213F43}"/>
          </ac:spMkLst>
        </pc:spChg>
        <pc:spChg chg="mod">
          <ac:chgData name="Khrystyna Yatsyna" userId="e6954dd7-6c9e-43c8-bd42-ff8c4ce5393f" providerId="ADAL" clId="{BBB5A732-C083-4ACD-876F-6FB9A2AAF4AA}" dt="2023-07-27T11:17:47.477" v="40" actId="1038"/>
          <ac:spMkLst>
            <pc:docMk/>
            <pc:sldMk cId="2484410368" sldId="3274"/>
            <ac:spMk id="1037" creationId="{4CBF2BDA-0545-D1A3-D577-6116F42319CA}"/>
          </ac:spMkLst>
        </pc:spChg>
        <pc:spChg chg="mod">
          <ac:chgData name="Khrystyna Yatsyna" userId="e6954dd7-6c9e-43c8-bd42-ff8c4ce5393f" providerId="ADAL" clId="{BBB5A732-C083-4ACD-876F-6FB9A2AAF4AA}" dt="2023-08-02T11:21:37.694" v="285" actId="20577"/>
          <ac:spMkLst>
            <pc:docMk/>
            <pc:sldMk cId="2484410368" sldId="3274"/>
            <ac:spMk id="1043" creationId="{BDB477F8-937A-6847-89D7-6332D1B87F31}"/>
          </ac:spMkLst>
        </pc:spChg>
        <pc:picChg chg="mod">
          <ac:chgData name="Khrystyna Yatsyna" userId="e6954dd7-6c9e-43c8-bd42-ff8c4ce5393f" providerId="ADAL" clId="{BBB5A732-C083-4ACD-876F-6FB9A2AAF4AA}" dt="2023-07-26T11:15:37.591" v="3" actId="1076"/>
          <ac:picMkLst>
            <pc:docMk/>
            <pc:sldMk cId="2484410368" sldId="3274"/>
            <ac:picMk id="45" creationId="{BD56CA45-E3D7-1169-57A4-C55B1C4FD6F3}"/>
          </ac:picMkLst>
        </pc:picChg>
        <pc:picChg chg="mod">
          <ac:chgData name="Khrystyna Yatsyna" userId="e6954dd7-6c9e-43c8-bd42-ff8c4ce5393f" providerId="ADAL" clId="{BBB5A732-C083-4ACD-876F-6FB9A2AAF4AA}" dt="2023-07-26T11:15:38.901" v="4" actId="1076"/>
          <ac:picMkLst>
            <pc:docMk/>
            <pc:sldMk cId="2484410368" sldId="3274"/>
            <ac:picMk id="51" creationId="{46356928-7360-9F30-E49E-DC02D25B4CA8}"/>
          </ac:picMkLst>
        </pc:picChg>
      </pc:sldChg>
      <pc:sldChg chg="modSp mod">
        <pc:chgData name="Khrystyna Yatsyna" userId="e6954dd7-6c9e-43c8-bd42-ff8c4ce5393f" providerId="ADAL" clId="{BBB5A732-C083-4ACD-876F-6FB9A2AAF4AA}" dt="2023-08-18T12:30:04.480" v="675" actId="108"/>
        <pc:sldMkLst>
          <pc:docMk/>
          <pc:sldMk cId="987310750" sldId="3276"/>
        </pc:sldMkLst>
        <pc:spChg chg="mod">
          <ac:chgData name="Khrystyna Yatsyna" userId="e6954dd7-6c9e-43c8-bd42-ff8c4ce5393f" providerId="ADAL" clId="{BBB5A732-C083-4ACD-876F-6FB9A2AAF4AA}" dt="2023-08-02T11:21:12.126" v="281"/>
          <ac:spMkLst>
            <pc:docMk/>
            <pc:sldMk cId="987310750" sldId="3276"/>
            <ac:spMk id="93" creationId="{A2248B88-7359-0C3B-C298-7AFC0D8CF7CC}"/>
          </ac:spMkLst>
        </pc:spChg>
        <pc:spChg chg="mod">
          <ac:chgData name="Khrystyna Yatsyna" userId="e6954dd7-6c9e-43c8-bd42-ff8c4ce5393f" providerId="ADAL" clId="{BBB5A732-C083-4ACD-876F-6FB9A2AAF4AA}" dt="2023-08-18T12:29:59.602" v="671" actId="108"/>
          <ac:spMkLst>
            <pc:docMk/>
            <pc:sldMk cId="987310750" sldId="3276"/>
            <ac:spMk id="494" creationId="{CA442BC4-5CC6-0A4B-7588-AD28B08A287C}"/>
          </ac:spMkLst>
        </pc:spChg>
        <pc:spChg chg="mod">
          <ac:chgData name="Khrystyna Yatsyna" userId="e6954dd7-6c9e-43c8-bd42-ff8c4ce5393f" providerId="ADAL" clId="{BBB5A732-C083-4ACD-876F-6FB9A2AAF4AA}" dt="2023-08-18T12:29:58.597" v="670" actId="108"/>
          <ac:spMkLst>
            <pc:docMk/>
            <pc:sldMk cId="987310750" sldId="3276"/>
            <ac:spMk id="496" creationId="{2F28157F-4ED7-65DF-AD63-2FA34382E32E}"/>
          </ac:spMkLst>
        </pc:spChg>
        <pc:spChg chg="mod">
          <ac:chgData name="Khrystyna Yatsyna" userId="e6954dd7-6c9e-43c8-bd42-ff8c4ce5393f" providerId="ADAL" clId="{BBB5A732-C083-4ACD-876F-6FB9A2AAF4AA}" dt="2023-08-18T12:30:00.736" v="672" actId="108"/>
          <ac:spMkLst>
            <pc:docMk/>
            <pc:sldMk cId="987310750" sldId="3276"/>
            <ac:spMk id="498" creationId="{8DDCE608-B39D-74DB-C771-ED7E0EB2E600}"/>
          </ac:spMkLst>
        </pc:spChg>
        <pc:spChg chg="mod">
          <ac:chgData name="Khrystyna Yatsyna" userId="e6954dd7-6c9e-43c8-bd42-ff8c4ce5393f" providerId="ADAL" clId="{BBB5A732-C083-4ACD-876F-6FB9A2AAF4AA}" dt="2023-08-18T12:30:01.691" v="673" actId="108"/>
          <ac:spMkLst>
            <pc:docMk/>
            <pc:sldMk cId="987310750" sldId="3276"/>
            <ac:spMk id="500" creationId="{FE96DC2D-983A-3894-5BF8-D6ECE2C65D28}"/>
          </ac:spMkLst>
        </pc:spChg>
        <pc:spChg chg="mod">
          <ac:chgData name="Khrystyna Yatsyna" userId="e6954dd7-6c9e-43c8-bd42-ff8c4ce5393f" providerId="ADAL" clId="{BBB5A732-C083-4ACD-876F-6FB9A2AAF4AA}" dt="2023-08-18T12:30:02.832" v="674" actId="108"/>
          <ac:spMkLst>
            <pc:docMk/>
            <pc:sldMk cId="987310750" sldId="3276"/>
            <ac:spMk id="502" creationId="{4B1C039E-F9B6-7B19-3CB6-B60BDDE061B6}"/>
          </ac:spMkLst>
        </pc:spChg>
        <pc:spChg chg="mod">
          <ac:chgData name="Khrystyna Yatsyna" userId="e6954dd7-6c9e-43c8-bd42-ff8c4ce5393f" providerId="ADAL" clId="{BBB5A732-C083-4ACD-876F-6FB9A2AAF4AA}" dt="2023-08-18T12:30:04.480" v="675" actId="108"/>
          <ac:spMkLst>
            <pc:docMk/>
            <pc:sldMk cId="987310750" sldId="3276"/>
            <ac:spMk id="504" creationId="{A5AE4A7A-AC5F-1913-B3B8-15D73EBE1DD0}"/>
          </ac:spMkLst>
        </pc:spChg>
        <pc:picChg chg="mod">
          <ac:chgData name="Khrystyna Yatsyna" userId="e6954dd7-6c9e-43c8-bd42-ff8c4ce5393f" providerId="ADAL" clId="{BBB5A732-C083-4ACD-876F-6FB9A2AAF4AA}" dt="2023-08-03T11:31:19.723" v="382" actId="3626"/>
          <ac:picMkLst>
            <pc:docMk/>
            <pc:sldMk cId="987310750" sldId="3276"/>
            <ac:picMk id="495" creationId="{66715D9C-2974-EE25-D92A-A8A69A3CDFB3}"/>
          </ac:picMkLst>
        </pc:picChg>
        <pc:picChg chg="mod">
          <ac:chgData name="Khrystyna Yatsyna" userId="e6954dd7-6c9e-43c8-bd42-ff8c4ce5393f" providerId="ADAL" clId="{BBB5A732-C083-4ACD-876F-6FB9A2AAF4AA}" dt="2023-08-03T11:31:26.108" v="385" actId="3626"/>
          <ac:picMkLst>
            <pc:docMk/>
            <pc:sldMk cId="987310750" sldId="3276"/>
            <ac:picMk id="497" creationId="{433271D9-1AFA-5068-5E83-41FB319F72CB}"/>
          </ac:picMkLst>
        </pc:picChg>
        <pc:picChg chg="mod">
          <ac:chgData name="Khrystyna Yatsyna" userId="e6954dd7-6c9e-43c8-bd42-ff8c4ce5393f" providerId="ADAL" clId="{BBB5A732-C083-4ACD-876F-6FB9A2AAF4AA}" dt="2023-08-03T11:31:30.050" v="387" actId="3626"/>
          <ac:picMkLst>
            <pc:docMk/>
            <pc:sldMk cId="987310750" sldId="3276"/>
            <ac:picMk id="499" creationId="{FEC19992-FAB0-3896-937C-4E0106DDD782}"/>
          </ac:picMkLst>
        </pc:picChg>
        <pc:picChg chg="mod">
          <ac:chgData name="Khrystyna Yatsyna" userId="e6954dd7-6c9e-43c8-bd42-ff8c4ce5393f" providerId="ADAL" clId="{BBB5A732-C083-4ACD-876F-6FB9A2AAF4AA}" dt="2023-08-03T11:31:33.845" v="389" actId="3626"/>
          <ac:picMkLst>
            <pc:docMk/>
            <pc:sldMk cId="987310750" sldId="3276"/>
            <ac:picMk id="501" creationId="{B562DA2B-AFD5-1188-E1A4-75AFDE2007E8}"/>
          </ac:picMkLst>
        </pc:picChg>
        <pc:picChg chg="mod">
          <ac:chgData name="Khrystyna Yatsyna" userId="e6954dd7-6c9e-43c8-bd42-ff8c4ce5393f" providerId="ADAL" clId="{BBB5A732-C083-4ACD-876F-6FB9A2AAF4AA}" dt="2023-08-03T11:31:37.589" v="391" actId="3626"/>
          <ac:picMkLst>
            <pc:docMk/>
            <pc:sldMk cId="987310750" sldId="3276"/>
            <ac:picMk id="503" creationId="{72C141DC-198A-9B38-7518-6EE4424B0769}"/>
          </ac:picMkLst>
        </pc:picChg>
        <pc:picChg chg="mod">
          <ac:chgData name="Khrystyna Yatsyna" userId="e6954dd7-6c9e-43c8-bd42-ff8c4ce5393f" providerId="ADAL" clId="{BBB5A732-C083-4ACD-876F-6FB9A2AAF4AA}" dt="2023-08-03T11:31:41.262" v="393" actId="3626"/>
          <ac:picMkLst>
            <pc:docMk/>
            <pc:sldMk cId="987310750" sldId="3276"/>
            <ac:picMk id="505" creationId="{7E0FAD00-65A5-41E9-4595-B0CDAE4DE102}"/>
          </ac:picMkLst>
        </pc:picChg>
      </pc:sldChg>
    </pc:docChg>
  </pc:docChgLst>
  <pc:docChgLst>
    <pc:chgData name="Khrystyna Yatsyna" userId="e6954dd7-6c9e-43c8-bd42-ff8c4ce5393f" providerId="ADAL" clId="{AACE2264-503B-4AE0-8E8A-EC5310033FA7}"/>
    <pc:docChg chg="modSld">
      <pc:chgData name="Khrystyna Yatsyna" userId="e6954dd7-6c9e-43c8-bd42-ff8c4ce5393f" providerId="ADAL" clId="{AACE2264-503B-4AE0-8E8A-EC5310033FA7}" dt="2023-08-30T12:11:23.372" v="3" actId="1076"/>
      <pc:docMkLst>
        <pc:docMk/>
      </pc:docMkLst>
      <pc:sldChg chg="modSp mod">
        <pc:chgData name="Khrystyna Yatsyna" userId="e6954dd7-6c9e-43c8-bd42-ff8c4ce5393f" providerId="ADAL" clId="{AACE2264-503B-4AE0-8E8A-EC5310033FA7}" dt="2023-08-30T12:10:54.722" v="0" actId="1076"/>
        <pc:sldMkLst>
          <pc:docMk/>
          <pc:sldMk cId="295985250" sldId="3222"/>
        </pc:sldMkLst>
        <pc:spChg chg="mod">
          <ac:chgData name="Khrystyna Yatsyna" userId="e6954dd7-6c9e-43c8-bd42-ff8c4ce5393f" providerId="ADAL" clId="{AACE2264-503B-4AE0-8E8A-EC5310033FA7}" dt="2023-08-30T12:10:54.722" v="0" actId="1076"/>
          <ac:spMkLst>
            <pc:docMk/>
            <pc:sldMk cId="295985250" sldId="3222"/>
            <ac:spMk id="25" creationId="{789DE015-40E1-CCD9-0E54-CF744BE04B38}"/>
          </ac:spMkLst>
        </pc:spChg>
        <pc:spChg chg="mod">
          <ac:chgData name="Khrystyna Yatsyna" userId="e6954dd7-6c9e-43c8-bd42-ff8c4ce5393f" providerId="ADAL" clId="{AACE2264-503B-4AE0-8E8A-EC5310033FA7}" dt="2023-08-30T12:10:54.722" v="0" actId="1076"/>
          <ac:spMkLst>
            <pc:docMk/>
            <pc:sldMk cId="295985250" sldId="3222"/>
            <ac:spMk id="60" creationId="{E39F4DF7-03EA-04E3-42D6-22C9F31FA921}"/>
          </ac:spMkLst>
        </pc:spChg>
        <pc:spChg chg="mod">
          <ac:chgData name="Khrystyna Yatsyna" userId="e6954dd7-6c9e-43c8-bd42-ff8c4ce5393f" providerId="ADAL" clId="{AACE2264-503B-4AE0-8E8A-EC5310033FA7}" dt="2023-08-30T12:10:54.722" v="0" actId="1076"/>
          <ac:spMkLst>
            <pc:docMk/>
            <pc:sldMk cId="295985250" sldId="3222"/>
            <ac:spMk id="61" creationId="{B51D873B-936E-F13A-02FE-9E9BC05DC4C5}"/>
          </ac:spMkLst>
        </pc:spChg>
        <pc:spChg chg="mod">
          <ac:chgData name="Khrystyna Yatsyna" userId="e6954dd7-6c9e-43c8-bd42-ff8c4ce5393f" providerId="ADAL" clId="{AACE2264-503B-4AE0-8E8A-EC5310033FA7}" dt="2023-08-30T12:10:54.722" v="0" actId="1076"/>
          <ac:spMkLst>
            <pc:docMk/>
            <pc:sldMk cId="295985250" sldId="3222"/>
            <ac:spMk id="63" creationId="{2C5A8345-B12E-21FB-6215-76E424A1B4F2}"/>
          </ac:spMkLst>
        </pc:spChg>
        <pc:spChg chg="mod">
          <ac:chgData name="Khrystyna Yatsyna" userId="e6954dd7-6c9e-43c8-bd42-ff8c4ce5393f" providerId="ADAL" clId="{AACE2264-503B-4AE0-8E8A-EC5310033FA7}" dt="2023-08-30T12:10:54.722" v="0" actId="1076"/>
          <ac:spMkLst>
            <pc:docMk/>
            <pc:sldMk cId="295985250" sldId="3222"/>
            <ac:spMk id="64" creationId="{63F1FE86-8304-B34A-0D17-4D011D0EEE65}"/>
          </ac:spMkLst>
        </pc:spChg>
        <pc:picChg chg="mod">
          <ac:chgData name="Khrystyna Yatsyna" userId="e6954dd7-6c9e-43c8-bd42-ff8c4ce5393f" providerId="ADAL" clId="{AACE2264-503B-4AE0-8E8A-EC5310033FA7}" dt="2023-08-30T12:10:54.722" v="0" actId="1076"/>
          <ac:picMkLst>
            <pc:docMk/>
            <pc:sldMk cId="295985250" sldId="3222"/>
            <ac:picMk id="42" creationId="{FB96DBF8-D191-840E-A0CD-45D14D4B3B00}"/>
          </ac:picMkLst>
        </pc:picChg>
      </pc:sldChg>
      <pc:sldChg chg="modSp mod">
        <pc:chgData name="Khrystyna Yatsyna" userId="e6954dd7-6c9e-43c8-bd42-ff8c4ce5393f" providerId="ADAL" clId="{AACE2264-503B-4AE0-8E8A-EC5310033FA7}" dt="2023-08-30T12:11:23.372" v="3" actId="1076"/>
        <pc:sldMkLst>
          <pc:docMk/>
          <pc:sldMk cId="3974890684" sldId="3224"/>
        </pc:sldMkLst>
        <pc:spChg chg="mod">
          <ac:chgData name="Khrystyna Yatsyna" userId="e6954dd7-6c9e-43c8-bd42-ff8c4ce5393f" providerId="ADAL" clId="{AACE2264-503B-4AE0-8E8A-EC5310033FA7}" dt="2023-08-30T12:11:16.862" v="2" actId="1076"/>
          <ac:spMkLst>
            <pc:docMk/>
            <pc:sldMk cId="3974890684" sldId="3224"/>
            <ac:spMk id="28" creationId="{F880B7D5-7CE7-0149-482D-2CBDB595F461}"/>
          </ac:spMkLst>
        </pc:spChg>
        <pc:spChg chg="mod">
          <ac:chgData name="Khrystyna Yatsyna" userId="e6954dd7-6c9e-43c8-bd42-ff8c4ce5393f" providerId="ADAL" clId="{AACE2264-503B-4AE0-8E8A-EC5310033FA7}" dt="2023-08-30T12:11:23.372" v="3" actId="1076"/>
          <ac:spMkLst>
            <pc:docMk/>
            <pc:sldMk cId="3974890684" sldId="3224"/>
            <ac:spMk id="60" creationId="{E39F4DF7-03EA-04E3-42D6-22C9F31FA921}"/>
          </ac:spMkLst>
        </pc:spChg>
        <pc:spChg chg="mod">
          <ac:chgData name="Khrystyna Yatsyna" userId="e6954dd7-6c9e-43c8-bd42-ff8c4ce5393f" providerId="ADAL" clId="{AACE2264-503B-4AE0-8E8A-EC5310033FA7}" dt="2023-08-30T12:11:23.372" v="3" actId="1076"/>
          <ac:spMkLst>
            <pc:docMk/>
            <pc:sldMk cId="3974890684" sldId="3224"/>
            <ac:spMk id="61" creationId="{B51D873B-936E-F13A-02FE-9E9BC05DC4C5}"/>
          </ac:spMkLst>
        </pc:spChg>
        <pc:spChg chg="mod">
          <ac:chgData name="Khrystyna Yatsyna" userId="e6954dd7-6c9e-43c8-bd42-ff8c4ce5393f" providerId="ADAL" clId="{AACE2264-503B-4AE0-8E8A-EC5310033FA7}" dt="2023-08-30T12:11:23.372" v="3" actId="1076"/>
          <ac:spMkLst>
            <pc:docMk/>
            <pc:sldMk cId="3974890684" sldId="3224"/>
            <ac:spMk id="63" creationId="{2C5A8345-B12E-21FB-6215-76E424A1B4F2}"/>
          </ac:spMkLst>
        </pc:spChg>
        <pc:spChg chg="mod">
          <ac:chgData name="Khrystyna Yatsyna" userId="e6954dd7-6c9e-43c8-bd42-ff8c4ce5393f" providerId="ADAL" clId="{AACE2264-503B-4AE0-8E8A-EC5310033FA7}" dt="2023-08-30T12:11:23.372" v="3" actId="1076"/>
          <ac:spMkLst>
            <pc:docMk/>
            <pc:sldMk cId="3974890684" sldId="3224"/>
            <ac:spMk id="64" creationId="{63F1FE86-8304-B34A-0D17-4D011D0EEE65}"/>
          </ac:spMkLst>
        </pc:spChg>
        <pc:spChg chg="mod">
          <ac:chgData name="Khrystyna Yatsyna" userId="e6954dd7-6c9e-43c8-bd42-ff8c4ce5393f" providerId="ADAL" clId="{AACE2264-503B-4AE0-8E8A-EC5310033FA7}" dt="2023-08-30T12:11:23.372" v="3" actId="1076"/>
          <ac:spMkLst>
            <pc:docMk/>
            <pc:sldMk cId="3974890684" sldId="3224"/>
            <ac:spMk id="65" creationId="{3884D8D3-B165-E26F-8196-FEA6CA275280}"/>
          </ac:spMkLst>
        </pc:spChg>
        <pc:picChg chg="mod">
          <ac:chgData name="Khrystyna Yatsyna" userId="e6954dd7-6c9e-43c8-bd42-ff8c4ce5393f" providerId="ADAL" clId="{AACE2264-503B-4AE0-8E8A-EC5310033FA7}" dt="2023-08-30T12:11:16.862" v="2" actId="1076"/>
          <ac:picMkLst>
            <pc:docMk/>
            <pc:sldMk cId="3974890684" sldId="3224"/>
            <ac:picMk id="27" creationId="{BA30C698-8ADD-E2D0-0D70-AD9AAB85621C}"/>
          </ac:picMkLst>
        </pc:picChg>
        <pc:picChg chg="mod">
          <ac:chgData name="Khrystyna Yatsyna" userId="e6954dd7-6c9e-43c8-bd42-ff8c4ce5393f" providerId="ADAL" clId="{AACE2264-503B-4AE0-8E8A-EC5310033FA7}" dt="2023-08-30T12:11:23.372" v="3" actId="1076"/>
          <ac:picMkLst>
            <pc:docMk/>
            <pc:sldMk cId="3974890684" sldId="3224"/>
            <ac:picMk id="37" creationId="{867E8BE8-38ED-9EA1-3241-2C62E340270A}"/>
          </ac:picMkLst>
        </pc:picChg>
        <pc:picChg chg="mod">
          <ac:chgData name="Khrystyna Yatsyna" userId="e6954dd7-6c9e-43c8-bd42-ff8c4ce5393f" providerId="ADAL" clId="{AACE2264-503B-4AE0-8E8A-EC5310033FA7}" dt="2023-08-30T12:11:23.372" v="3" actId="1076"/>
          <ac:picMkLst>
            <pc:docMk/>
            <pc:sldMk cId="3974890684" sldId="3224"/>
            <ac:picMk id="69" creationId="{54CDBD28-1ECA-C84E-9805-33B0EAF893AF}"/>
          </ac:picMkLst>
        </pc:picChg>
      </pc:sldChg>
    </pc:docChg>
  </pc:docChgLst>
  <pc:docChgLst>
    <pc:chgData name="Romeo Grzębowski" userId="S::romeo.grzebowski@extended.tools::5f02720d-9d46-4e09-8665-7f7f38c1230c" providerId="AD" clId="Web-{0F06B97C-8DFE-572A-538F-8D0C4EBD9991}"/>
    <pc:docChg chg="modSld">
      <pc:chgData name="Romeo Grzębowski" userId="S::romeo.grzebowski@extended.tools::5f02720d-9d46-4e09-8665-7f7f38c1230c" providerId="AD" clId="Web-{0F06B97C-8DFE-572A-538F-8D0C4EBD9991}" dt="2023-07-26T11:30:42.907" v="8" actId="20577"/>
      <pc:docMkLst>
        <pc:docMk/>
      </pc:docMkLst>
      <pc:sldChg chg="modSp">
        <pc:chgData name="Romeo Grzębowski" userId="S::romeo.grzebowski@extended.tools::5f02720d-9d46-4e09-8665-7f7f38c1230c" providerId="AD" clId="Web-{0F06B97C-8DFE-572A-538F-8D0C4EBD9991}" dt="2023-07-26T11:30:42.907" v="8" actId="20577"/>
        <pc:sldMkLst>
          <pc:docMk/>
          <pc:sldMk cId="3633188925" sldId="3236"/>
        </pc:sldMkLst>
        <pc:spChg chg="mod">
          <ac:chgData name="Romeo Grzębowski" userId="S::romeo.grzebowski@extended.tools::5f02720d-9d46-4e09-8665-7f7f38c1230c" providerId="AD" clId="Web-{0F06B97C-8DFE-572A-538F-8D0C4EBD9991}" dt="2023-07-26T11:30:42.907" v="8" actId="20577"/>
          <ac:spMkLst>
            <pc:docMk/>
            <pc:sldMk cId="3633188925" sldId="3236"/>
            <ac:spMk id="118" creationId="{DF8C5C39-C90A-29AF-0655-B8AEF2E80C71}"/>
          </ac:spMkLst>
        </pc:spChg>
      </pc:sldChg>
    </pc:docChg>
  </pc:docChgLst>
  <pc:docChgLst>
    <pc:chgData name="Khrystyna Yatsyna" userId="S::khrystyna.yatsyna@extended.tools::e6954dd7-6c9e-43c8-bd42-ff8c4ce5393f" providerId="AD" clId="Web-{80346F4F-3E02-2AFB-5C4A-482587E922BE}"/>
    <pc:docChg chg="modSld">
      <pc:chgData name="Khrystyna Yatsyna" userId="S::khrystyna.yatsyna@extended.tools::e6954dd7-6c9e-43c8-bd42-ff8c4ce5393f" providerId="AD" clId="Web-{80346F4F-3E02-2AFB-5C4A-482587E922BE}" dt="2023-08-30T11:29:02.938" v="54"/>
      <pc:docMkLst>
        <pc:docMk/>
      </pc:docMkLst>
      <pc:sldChg chg="delSp">
        <pc:chgData name="Khrystyna Yatsyna" userId="S::khrystyna.yatsyna@extended.tools::e6954dd7-6c9e-43c8-bd42-ff8c4ce5393f" providerId="AD" clId="Web-{80346F4F-3E02-2AFB-5C4A-482587E922BE}" dt="2023-08-30T11:27:08.029" v="4"/>
        <pc:sldMkLst>
          <pc:docMk/>
          <pc:sldMk cId="295985250" sldId="3222"/>
        </pc:sldMkLst>
        <pc:spChg chg="del">
          <ac:chgData name="Khrystyna Yatsyna" userId="S::khrystyna.yatsyna@extended.tools::e6954dd7-6c9e-43c8-bd42-ff8c4ce5393f" providerId="AD" clId="Web-{80346F4F-3E02-2AFB-5C4A-482587E922BE}" dt="2023-08-30T11:27:08.029" v="4"/>
          <ac:spMkLst>
            <pc:docMk/>
            <pc:sldMk cId="295985250" sldId="3222"/>
            <ac:spMk id="28" creationId="{445D0D87-AA05-4D76-BB0C-322C710BC1B5}"/>
          </ac:spMkLst>
        </pc:spChg>
        <pc:spChg chg="del">
          <ac:chgData name="Khrystyna Yatsyna" userId="S::khrystyna.yatsyna@extended.tools::e6954dd7-6c9e-43c8-bd42-ff8c4ce5393f" providerId="AD" clId="Web-{80346F4F-3E02-2AFB-5C4A-482587E922BE}" dt="2023-08-30T11:27:06.372" v="2"/>
          <ac:spMkLst>
            <pc:docMk/>
            <pc:sldMk cId="295985250" sldId="3222"/>
            <ac:spMk id="49" creationId="{EA091C36-7D24-18A9-5E65-AF70EC47D58F}"/>
          </ac:spMkLst>
        </pc:spChg>
        <pc:spChg chg="del">
          <ac:chgData name="Khrystyna Yatsyna" userId="S::khrystyna.yatsyna@extended.tools::e6954dd7-6c9e-43c8-bd42-ff8c4ce5393f" providerId="AD" clId="Web-{80346F4F-3E02-2AFB-5C4A-482587E922BE}" dt="2023-08-30T11:27:04.622" v="1"/>
          <ac:spMkLst>
            <pc:docMk/>
            <pc:sldMk cId="295985250" sldId="3222"/>
            <ac:spMk id="92" creationId="{9CFC02FD-D132-015D-68C0-764BD2301853}"/>
          </ac:spMkLst>
        </pc:spChg>
        <pc:spChg chg="del">
          <ac:chgData name="Khrystyna Yatsyna" userId="S::khrystyna.yatsyna@extended.tools::e6954dd7-6c9e-43c8-bd42-ff8c4ce5393f" providerId="AD" clId="Web-{80346F4F-3E02-2AFB-5C4A-482587E922BE}" dt="2023-08-30T11:27:07.138" v="3"/>
          <ac:spMkLst>
            <pc:docMk/>
            <pc:sldMk cId="295985250" sldId="3222"/>
            <ac:spMk id="93" creationId="{89FDED94-ACFC-BB03-A857-D83840C67024}"/>
          </ac:spMkLst>
        </pc:spChg>
        <pc:grpChg chg="del">
          <ac:chgData name="Khrystyna Yatsyna" userId="S::khrystyna.yatsyna@extended.tools::e6954dd7-6c9e-43c8-bd42-ff8c4ce5393f" providerId="AD" clId="Web-{80346F4F-3E02-2AFB-5C4A-482587E922BE}" dt="2023-08-30T11:27:00.716" v="0"/>
          <ac:grpSpMkLst>
            <pc:docMk/>
            <pc:sldMk cId="295985250" sldId="3222"/>
            <ac:grpSpMk id="86" creationId="{989C815D-2A7B-A787-0E85-AA3BF05288EB}"/>
          </ac:grpSpMkLst>
        </pc:grpChg>
      </pc:sldChg>
      <pc:sldChg chg="delSp">
        <pc:chgData name="Khrystyna Yatsyna" userId="S::khrystyna.yatsyna@extended.tools::e6954dd7-6c9e-43c8-bd42-ff8c4ce5393f" providerId="AD" clId="Web-{80346F4F-3E02-2AFB-5C4A-482587E922BE}" dt="2023-08-30T11:27:18.670" v="9"/>
        <pc:sldMkLst>
          <pc:docMk/>
          <pc:sldMk cId="3974890684" sldId="3224"/>
        </pc:sldMkLst>
        <pc:spChg chg="del">
          <ac:chgData name="Khrystyna Yatsyna" userId="S::khrystyna.yatsyna@extended.tools::e6954dd7-6c9e-43c8-bd42-ff8c4ce5393f" providerId="AD" clId="Web-{80346F4F-3E02-2AFB-5C4A-482587E922BE}" dt="2023-08-30T11:27:18.670" v="9"/>
          <ac:spMkLst>
            <pc:docMk/>
            <pc:sldMk cId="3974890684" sldId="3224"/>
            <ac:spMk id="52" creationId="{D2776676-1BAA-390E-4C99-3783F9F428C8}"/>
          </ac:spMkLst>
        </pc:spChg>
        <pc:spChg chg="del">
          <ac:chgData name="Khrystyna Yatsyna" userId="S::khrystyna.yatsyna@extended.tools::e6954dd7-6c9e-43c8-bd42-ff8c4ce5393f" providerId="AD" clId="Web-{80346F4F-3E02-2AFB-5C4A-482587E922BE}" dt="2023-08-30T11:27:11.029" v="5"/>
          <ac:spMkLst>
            <pc:docMk/>
            <pc:sldMk cId="3974890684" sldId="3224"/>
            <ac:spMk id="53" creationId="{0E4D7E7B-B2FE-85E8-0D44-9148289D91A1}"/>
          </ac:spMkLst>
        </pc:spChg>
        <pc:spChg chg="del">
          <ac:chgData name="Khrystyna Yatsyna" userId="S::khrystyna.yatsyna@extended.tools::e6954dd7-6c9e-43c8-bd42-ff8c4ce5393f" providerId="AD" clId="Web-{80346F4F-3E02-2AFB-5C4A-482587E922BE}" dt="2023-08-30T11:27:13.560" v="8"/>
          <ac:spMkLst>
            <pc:docMk/>
            <pc:sldMk cId="3974890684" sldId="3224"/>
            <ac:spMk id="54" creationId="{B323C111-718F-7E7E-1FA9-566F5A6EF49D}"/>
          </ac:spMkLst>
        </pc:spChg>
        <pc:spChg chg="del">
          <ac:chgData name="Khrystyna Yatsyna" userId="S::khrystyna.yatsyna@extended.tools::e6954dd7-6c9e-43c8-bd42-ff8c4ce5393f" providerId="AD" clId="Web-{80346F4F-3E02-2AFB-5C4A-482587E922BE}" dt="2023-08-30T11:27:12.107" v="6"/>
          <ac:spMkLst>
            <pc:docMk/>
            <pc:sldMk cId="3974890684" sldId="3224"/>
            <ac:spMk id="78" creationId="{3D928B9B-70A8-9C8B-9C1B-57C1D6912E9B}"/>
          </ac:spMkLst>
        </pc:spChg>
        <pc:grpChg chg="del">
          <ac:chgData name="Khrystyna Yatsyna" userId="S::khrystyna.yatsyna@extended.tools::e6954dd7-6c9e-43c8-bd42-ff8c4ce5393f" providerId="AD" clId="Web-{80346F4F-3E02-2AFB-5C4A-482587E922BE}" dt="2023-08-30T11:27:12.607" v="7"/>
          <ac:grpSpMkLst>
            <pc:docMk/>
            <pc:sldMk cId="3974890684" sldId="3224"/>
            <ac:grpSpMk id="51" creationId="{DB587320-0CE9-B178-74FE-AB3D5BF7705F}"/>
          </ac:grpSpMkLst>
        </pc:grpChg>
      </pc:sldChg>
      <pc:sldChg chg="delSp">
        <pc:chgData name="Khrystyna Yatsyna" userId="S::khrystyna.yatsyna@extended.tools::e6954dd7-6c9e-43c8-bd42-ff8c4ce5393f" providerId="AD" clId="Web-{80346F4F-3E02-2AFB-5C4A-482587E922BE}" dt="2023-08-30T11:29:02.938" v="54"/>
        <pc:sldMkLst>
          <pc:docMk/>
          <pc:sldMk cId="1044870750" sldId="3233"/>
        </pc:sldMkLst>
        <pc:spChg chg="del">
          <ac:chgData name="Khrystyna Yatsyna" userId="S::khrystyna.yatsyna@extended.tools::e6954dd7-6c9e-43c8-bd42-ff8c4ce5393f" providerId="AD" clId="Web-{80346F4F-3E02-2AFB-5C4A-482587E922BE}" dt="2023-08-30T11:29:02.938" v="54"/>
          <ac:spMkLst>
            <pc:docMk/>
            <pc:sldMk cId="1044870750" sldId="3233"/>
            <ac:spMk id="4" creationId="{9A90C3AB-BDB0-BC65-2ADE-4308CA27B649}"/>
          </ac:spMkLst>
        </pc:spChg>
      </pc:sldChg>
      <pc:sldChg chg="delSp modSp">
        <pc:chgData name="Khrystyna Yatsyna" userId="S::khrystyna.yatsyna@extended.tools::e6954dd7-6c9e-43c8-bd42-ff8c4ce5393f" providerId="AD" clId="Web-{80346F4F-3E02-2AFB-5C4A-482587E922BE}" dt="2023-08-30T11:28:07.155" v="53" actId="20577"/>
        <pc:sldMkLst>
          <pc:docMk/>
          <pc:sldMk cId="3166406643" sldId="3262"/>
        </pc:sldMkLst>
        <pc:spChg chg="mod">
          <ac:chgData name="Khrystyna Yatsyna" userId="S::khrystyna.yatsyna@extended.tools::e6954dd7-6c9e-43c8-bd42-ff8c4ce5393f" providerId="AD" clId="Web-{80346F4F-3E02-2AFB-5C4A-482587E922BE}" dt="2023-08-30T11:28:07.155" v="53" actId="20577"/>
          <ac:spMkLst>
            <pc:docMk/>
            <pc:sldMk cId="3166406643" sldId="3262"/>
            <ac:spMk id="35" creationId="{B9E63CB1-0A96-0263-F522-C77D978CD5DD}"/>
          </ac:spMkLst>
        </pc:spChg>
        <pc:spChg chg="del mod">
          <ac:chgData name="Khrystyna Yatsyna" userId="S::khrystyna.yatsyna@extended.tools::e6954dd7-6c9e-43c8-bd42-ff8c4ce5393f" providerId="AD" clId="Web-{80346F4F-3E02-2AFB-5C4A-482587E922BE}" dt="2023-08-30T11:27:39.811" v="24"/>
          <ac:spMkLst>
            <pc:docMk/>
            <pc:sldMk cId="3166406643" sldId="3262"/>
            <ac:spMk id="36" creationId="{09CF9087-9433-15A3-F49F-909027868F4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93CB56-1918-4580-BA19-C21AABA911AA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676CF5-9ADD-4890-B06D-F7E35932B1C3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72410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BF3540-F457-4999-87CA-55CC7073EED1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EA454E-E7C8-457F-9574-C82C35014618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671768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EA454E-E7C8-457F-9574-C82C35014618}" type="slidenum">
              <a:rPr lang="pl-PL" smtClean="0"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584063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4 </a:t>
            </a:r>
            <a:r>
              <a:rPr lang="pl-PL" sz="1800" b="0" i="0" u="none" strike="noStrike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sults</a:t>
            </a:r>
            <a:r>
              <a:rPr lang="pl-PL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- AFF Allianz BNP </a:t>
            </a:r>
            <a:r>
              <a:rPr lang="pl-PL" sz="1800" b="0" i="0" u="none" strike="noStrike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aribas</a:t>
            </a:r>
            <a:r>
              <a:rPr lang="pl-PL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Budimex Impel Lotos Asfalt / </a:t>
            </a:r>
            <a:r>
              <a:rPr lang="pl-PL" sz="1800" b="0" i="0" u="none" strike="noStrike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afineriaNestle</a:t>
            </a:r>
            <a:r>
              <a:rPr lang="pl-PL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Pekabex </a:t>
            </a:r>
            <a:r>
              <a:rPr lang="pl-PL" sz="1800" b="0" i="0" u="none" strike="noStrike">
                <a:solidFill>
                  <a:srgbClr val="00B050"/>
                </a:solidFill>
                <a:effectLst/>
                <a:latin typeface="Calibri" panose="020F0502020204030204" pitchFamily="34" charset="0"/>
              </a:rPr>
              <a:t>Politechnika Gdańska </a:t>
            </a:r>
            <a:r>
              <a:rPr lang="pl-PL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amsung Electronics </a:t>
            </a:r>
            <a:r>
              <a:rPr lang="pl-PL" sz="1800" b="0" i="0" u="none" strike="noStrike">
                <a:solidFill>
                  <a:srgbClr val="00B050"/>
                </a:solidFill>
                <a:effectLst/>
                <a:latin typeface="Calibri" panose="020F0502020204030204" pitchFamily="34" charset="0"/>
              </a:rPr>
              <a:t>SGH </a:t>
            </a:r>
            <a:r>
              <a:rPr lang="pl-PL" sz="1800" b="0" i="0" u="none" strike="noStrike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kanska</a:t>
            </a:r>
            <a:r>
              <a:rPr lang="pl-PL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ZF Żabka Warta</a:t>
            </a:r>
            <a:endParaRPr lang="pl-PL"/>
          </a:p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EA454E-E7C8-457F-9574-C82C35014618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73285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EA454E-E7C8-457F-9574-C82C35014618}" type="slidenum">
              <a:rPr lang="pl-PL" smtClean="0"/>
              <a:t>9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733295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3.png"/><Relationship Id="rId4" Type="http://schemas.openxmlformats.org/officeDocument/2006/relationships/image" Target="../media/image6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Obraz 27">
            <a:extLst>
              <a:ext uri="{FF2B5EF4-FFF2-40B4-BE49-F238E27FC236}">
                <a16:creationId xmlns:a16="http://schemas.microsoft.com/office/drawing/2014/main" id="{02E6C61C-6558-4EB1-9238-0D76F899F8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317" y="236459"/>
            <a:ext cx="7200461" cy="6602758"/>
          </a:xfrm>
          <a:prstGeom prst="rect">
            <a:avLst/>
          </a:prstGeom>
        </p:spPr>
      </p:pic>
      <p:sp>
        <p:nvSpPr>
          <p:cNvPr id="29" name="Prostokąt 28">
            <a:extLst>
              <a:ext uri="{FF2B5EF4-FFF2-40B4-BE49-F238E27FC236}">
                <a16:creationId xmlns:a16="http://schemas.microsoft.com/office/drawing/2014/main" id="{7556872D-9860-4918-9046-04D2F22B930C}"/>
              </a:ext>
            </a:extLst>
          </p:cNvPr>
          <p:cNvSpPr/>
          <p:nvPr userDrawn="1"/>
        </p:nvSpPr>
        <p:spPr>
          <a:xfrm>
            <a:off x="3467100" y="0"/>
            <a:ext cx="8763000" cy="6858000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  <p:pic>
        <p:nvPicPr>
          <p:cNvPr id="32" name="Obraz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0211" y="3879867"/>
            <a:ext cx="3495157" cy="199939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3" name="Obraz 3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7232" y="1486566"/>
            <a:ext cx="4124689" cy="20145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4" name="Obraz 3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604" y="0"/>
            <a:ext cx="2548342" cy="389302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6" name="Symbol zastępczy tekstu 35"/>
          <p:cNvSpPr>
            <a:spLocks noGrp="1"/>
          </p:cNvSpPr>
          <p:nvPr>
            <p:ph type="body" sz="quarter" idx="10" hasCustomPrompt="1"/>
          </p:nvPr>
        </p:nvSpPr>
        <p:spPr>
          <a:xfrm>
            <a:off x="3826987" y="3735280"/>
            <a:ext cx="1933543" cy="923330"/>
          </a:xfrm>
          <a:noFill/>
        </p:spPr>
        <p:txBody>
          <a:bodyPr wrap="none" rtlCol="0">
            <a:spAutoFit/>
          </a:bodyPr>
          <a:lstStyle>
            <a:lvl1pPr marL="0" indent="0">
              <a:buNone/>
              <a:defRPr lang="pl-PL" sz="6000" smtClean="0">
                <a:solidFill>
                  <a:schemeClr val="accent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Tytuł</a:t>
            </a:r>
          </a:p>
        </p:txBody>
      </p:sp>
      <p:sp>
        <p:nvSpPr>
          <p:cNvPr id="39" name="Symbol zastępczy tekstu 38"/>
          <p:cNvSpPr>
            <a:spLocks noGrp="1"/>
          </p:cNvSpPr>
          <p:nvPr>
            <p:ph type="body" sz="quarter" idx="11" hasCustomPrompt="1"/>
          </p:nvPr>
        </p:nvSpPr>
        <p:spPr>
          <a:xfrm>
            <a:off x="3826987" y="4841885"/>
            <a:ext cx="4317207" cy="4247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l-PL" sz="2400" smtClean="0">
                <a:solidFill>
                  <a:srgbClr val="44546A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PODTYTUŁ</a:t>
            </a:r>
          </a:p>
        </p:txBody>
      </p:sp>
      <p:grpSp>
        <p:nvGrpSpPr>
          <p:cNvPr id="7" name="Group 13"/>
          <p:cNvGrpSpPr>
            <a:grpSpLocks noChangeAspect="1"/>
          </p:cNvGrpSpPr>
          <p:nvPr userDrawn="1"/>
        </p:nvGrpSpPr>
        <p:grpSpPr bwMode="auto">
          <a:xfrm>
            <a:off x="4583089" y="406675"/>
            <a:ext cx="1452563" cy="592121"/>
            <a:chOff x="2515" y="2849"/>
            <a:chExt cx="2566" cy="1046"/>
          </a:xfrm>
        </p:grpSpPr>
        <p:sp>
          <p:nvSpPr>
            <p:cNvPr id="8" name="Freeform 14"/>
            <p:cNvSpPr>
              <a:spLocks noEditPoints="1"/>
            </p:cNvSpPr>
            <p:nvPr/>
          </p:nvSpPr>
          <p:spPr bwMode="auto">
            <a:xfrm>
              <a:off x="2533" y="3006"/>
              <a:ext cx="306" cy="330"/>
            </a:xfrm>
            <a:custGeom>
              <a:avLst/>
              <a:gdLst>
                <a:gd name="T0" fmla="*/ 66 w 129"/>
                <a:gd name="T1" fmla="*/ 139 h 139"/>
                <a:gd name="T2" fmla="*/ 40 w 129"/>
                <a:gd name="T3" fmla="*/ 134 h 139"/>
                <a:gd name="T4" fmla="*/ 19 w 129"/>
                <a:gd name="T5" fmla="*/ 120 h 139"/>
                <a:gd name="T6" fmla="*/ 5 w 129"/>
                <a:gd name="T7" fmla="*/ 100 h 139"/>
                <a:gd name="T8" fmla="*/ 0 w 129"/>
                <a:gd name="T9" fmla="*/ 74 h 139"/>
                <a:gd name="T10" fmla="*/ 5 w 129"/>
                <a:gd name="T11" fmla="*/ 44 h 139"/>
                <a:gd name="T12" fmla="*/ 18 w 129"/>
                <a:gd name="T13" fmla="*/ 21 h 139"/>
                <a:gd name="T14" fmla="*/ 39 w 129"/>
                <a:gd name="T15" fmla="*/ 5 h 139"/>
                <a:gd name="T16" fmla="*/ 66 w 129"/>
                <a:gd name="T17" fmla="*/ 0 h 139"/>
                <a:gd name="T18" fmla="*/ 90 w 129"/>
                <a:gd name="T19" fmla="*/ 4 h 139"/>
                <a:gd name="T20" fmla="*/ 109 w 129"/>
                <a:gd name="T21" fmla="*/ 17 h 139"/>
                <a:gd name="T22" fmla="*/ 121 w 129"/>
                <a:gd name="T23" fmla="*/ 35 h 139"/>
                <a:gd name="T24" fmla="*/ 125 w 129"/>
                <a:gd name="T25" fmla="*/ 56 h 139"/>
                <a:gd name="T26" fmla="*/ 26 w 129"/>
                <a:gd name="T27" fmla="*/ 56 h 139"/>
                <a:gd name="T28" fmla="*/ 29 w 129"/>
                <a:gd name="T29" fmla="*/ 81 h 139"/>
                <a:gd name="T30" fmla="*/ 39 w 129"/>
                <a:gd name="T31" fmla="*/ 101 h 139"/>
                <a:gd name="T32" fmla="*/ 54 w 129"/>
                <a:gd name="T33" fmla="*/ 114 h 139"/>
                <a:gd name="T34" fmla="*/ 73 w 129"/>
                <a:gd name="T35" fmla="*/ 119 h 139"/>
                <a:gd name="T36" fmla="*/ 89 w 129"/>
                <a:gd name="T37" fmla="*/ 116 h 139"/>
                <a:gd name="T38" fmla="*/ 104 w 129"/>
                <a:gd name="T39" fmla="*/ 108 h 139"/>
                <a:gd name="T40" fmla="*/ 115 w 129"/>
                <a:gd name="T41" fmla="*/ 98 h 139"/>
                <a:gd name="T42" fmla="*/ 121 w 129"/>
                <a:gd name="T43" fmla="*/ 86 h 139"/>
                <a:gd name="T44" fmla="*/ 129 w 129"/>
                <a:gd name="T45" fmla="*/ 89 h 139"/>
                <a:gd name="T46" fmla="*/ 120 w 129"/>
                <a:gd name="T47" fmla="*/ 109 h 139"/>
                <a:gd name="T48" fmla="*/ 105 w 129"/>
                <a:gd name="T49" fmla="*/ 124 h 139"/>
                <a:gd name="T50" fmla="*/ 86 w 129"/>
                <a:gd name="T51" fmla="*/ 135 h 139"/>
                <a:gd name="T52" fmla="*/ 66 w 129"/>
                <a:gd name="T53" fmla="*/ 139 h 139"/>
                <a:gd name="T54" fmla="*/ 92 w 129"/>
                <a:gd name="T55" fmla="*/ 45 h 139"/>
                <a:gd name="T56" fmla="*/ 89 w 129"/>
                <a:gd name="T57" fmla="*/ 31 h 139"/>
                <a:gd name="T58" fmla="*/ 82 w 129"/>
                <a:gd name="T59" fmla="*/ 20 h 139"/>
                <a:gd name="T60" fmla="*/ 71 w 129"/>
                <a:gd name="T61" fmla="*/ 12 h 139"/>
                <a:gd name="T62" fmla="*/ 58 w 129"/>
                <a:gd name="T63" fmla="*/ 10 h 139"/>
                <a:gd name="T64" fmla="*/ 46 w 129"/>
                <a:gd name="T65" fmla="*/ 12 h 139"/>
                <a:gd name="T66" fmla="*/ 36 w 129"/>
                <a:gd name="T67" fmla="*/ 20 h 139"/>
                <a:gd name="T68" fmla="*/ 29 w 129"/>
                <a:gd name="T69" fmla="*/ 31 h 139"/>
                <a:gd name="T70" fmla="*/ 26 w 129"/>
                <a:gd name="T71" fmla="*/ 45 h 139"/>
                <a:gd name="T72" fmla="*/ 92 w 129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139">
                  <a:moveTo>
                    <a:pt x="66" y="139"/>
                  </a:moveTo>
                  <a:cubicBezTo>
                    <a:pt x="57" y="139"/>
                    <a:pt x="48" y="137"/>
                    <a:pt x="40" y="134"/>
                  </a:cubicBezTo>
                  <a:cubicBezTo>
                    <a:pt x="32" y="131"/>
                    <a:pt x="25" y="126"/>
                    <a:pt x="19" y="120"/>
                  </a:cubicBezTo>
                  <a:cubicBezTo>
                    <a:pt x="13" y="114"/>
                    <a:pt x="9" y="107"/>
                    <a:pt x="5" y="100"/>
                  </a:cubicBezTo>
                  <a:cubicBezTo>
                    <a:pt x="2" y="92"/>
                    <a:pt x="0" y="83"/>
                    <a:pt x="0" y="74"/>
                  </a:cubicBezTo>
                  <a:cubicBezTo>
                    <a:pt x="0" y="64"/>
                    <a:pt x="2" y="54"/>
                    <a:pt x="5" y="44"/>
                  </a:cubicBezTo>
                  <a:cubicBezTo>
                    <a:pt x="8" y="35"/>
                    <a:pt x="12" y="27"/>
                    <a:pt x="18" y="21"/>
                  </a:cubicBezTo>
                  <a:cubicBezTo>
                    <a:pt x="24" y="14"/>
                    <a:pt x="31" y="9"/>
                    <a:pt x="39" y="5"/>
                  </a:cubicBezTo>
                  <a:cubicBezTo>
                    <a:pt x="47" y="1"/>
                    <a:pt x="56" y="0"/>
                    <a:pt x="66" y="0"/>
                  </a:cubicBezTo>
                  <a:cubicBezTo>
                    <a:pt x="75" y="0"/>
                    <a:pt x="83" y="1"/>
                    <a:pt x="90" y="4"/>
                  </a:cubicBezTo>
                  <a:cubicBezTo>
                    <a:pt x="97" y="7"/>
                    <a:pt x="104" y="11"/>
                    <a:pt x="109" y="17"/>
                  </a:cubicBezTo>
                  <a:cubicBezTo>
                    <a:pt x="114" y="22"/>
                    <a:pt x="118" y="28"/>
                    <a:pt x="121" y="35"/>
                  </a:cubicBezTo>
                  <a:cubicBezTo>
                    <a:pt x="124" y="41"/>
                    <a:pt x="125" y="49"/>
                    <a:pt x="125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65"/>
                    <a:pt x="27" y="73"/>
                    <a:pt x="29" y="81"/>
                  </a:cubicBezTo>
                  <a:cubicBezTo>
                    <a:pt x="31" y="89"/>
                    <a:pt x="35" y="95"/>
                    <a:pt x="39" y="101"/>
                  </a:cubicBezTo>
                  <a:cubicBezTo>
                    <a:pt x="43" y="106"/>
                    <a:pt x="48" y="111"/>
                    <a:pt x="54" y="114"/>
                  </a:cubicBezTo>
                  <a:cubicBezTo>
                    <a:pt x="59" y="117"/>
                    <a:pt x="66" y="119"/>
                    <a:pt x="73" y="119"/>
                  </a:cubicBezTo>
                  <a:cubicBezTo>
                    <a:pt x="79" y="119"/>
                    <a:pt x="84" y="118"/>
                    <a:pt x="89" y="116"/>
                  </a:cubicBezTo>
                  <a:cubicBezTo>
                    <a:pt x="95" y="114"/>
                    <a:pt x="100" y="112"/>
                    <a:pt x="104" y="108"/>
                  </a:cubicBezTo>
                  <a:cubicBezTo>
                    <a:pt x="108" y="105"/>
                    <a:pt x="112" y="102"/>
                    <a:pt x="115" y="98"/>
                  </a:cubicBezTo>
                  <a:cubicBezTo>
                    <a:pt x="118" y="94"/>
                    <a:pt x="120" y="90"/>
                    <a:pt x="121" y="86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7" y="96"/>
                    <a:pt x="124" y="103"/>
                    <a:pt x="120" y="109"/>
                  </a:cubicBezTo>
                  <a:cubicBezTo>
                    <a:pt x="115" y="115"/>
                    <a:pt x="110" y="120"/>
                    <a:pt x="105" y="124"/>
                  </a:cubicBezTo>
                  <a:cubicBezTo>
                    <a:pt x="99" y="129"/>
                    <a:pt x="93" y="132"/>
                    <a:pt x="86" y="135"/>
                  </a:cubicBezTo>
                  <a:cubicBezTo>
                    <a:pt x="79" y="138"/>
                    <a:pt x="73" y="139"/>
                    <a:pt x="66" y="139"/>
                  </a:cubicBezTo>
                  <a:moveTo>
                    <a:pt x="92" y="45"/>
                  </a:moveTo>
                  <a:cubicBezTo>
                    <a:pt x="92" y="40"/>
                    <a:pt x="91" y="36"/>
                    <a:pt x="89" y="31"/>
                  </a:cubicBezTo>
                  <a:cubicBezTo>
                    <a:pt x="88" y="27"/>
                    <a:pt x="85" y="23"/>
                    <a:pt x="82" y="20"/>
                  </a:cubicBezTo>
                  <a:cubicBezTo>
                    <a:pt x="79" y="17"/>
                    <a:pt x="75" y="14"/>
                    <a:pt x="71" y="12"/>
                  </a:cubicBezTo>
                  <a:cubicBezTo>
                    <a:pt x="67" y="10"/>
                    <a:pt x="62" y="10"/>
                    <a:pt x="58" y="10"/>
                  </a:cubicBezTo>
                  <a:cubicBezTo>
                    <a:pt x="54" y="10"/>
                    <a:pt x="50" y="10"/>
                    <a:pt x="46" y="12"/>
                  </a:cubicBezTo>
                  <a:cubicBezTo>
                    <a:pt x="42" y="14"/>
                    <a:pt x="39" y="17"/>
                    <a:pt x="36" y="20"/>
                  </a:cubicBezTo>
                  <a:cubicBezTo>
                    <a:pt x="33" y="23"/>
                    <a:pt x="31" y="27"/>
                    <a:pt x="29" y="31"/>
                  </a:cubicBezTo>
                  <a:cubicBezTo>
                    <a:pt x="27" y="36"/>
                    <a:pt x="26" y="40"/>
                    <a:pt x="26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9" name="Freeform 15"/>
            <p:cNvSpPr>
              <a:spLocks/>
            </p:cNvSpPr>
            <p:nvPr/>
          </p:nvSpPr>
          <p:spPr bwMode="auto">
            <a:xfrm>
              <a:off x="2849" y="3013"/>
              <a:ext cx="324" cy="316"/>
            </a:xfrm>
            <a:custGeom>
              <a:avLst/>
              <a:gdLst>
                <a:gd name="T0" fmla="*/ 33 w 324"/>
                <a:gd name="T1" fmla="*/ 316 h 316"/>
                <a:gd name="T2" fmla="*/ 0 w 324"/>
                <a:gd name="T3" fmla="*/ 316 h 316"/>
                <a:gd name="T4" fmla="*/ 132 w 324"/>
                <a:gd name="T5" fmla="*/ 155 h 316"/>
                <a:gd name="T6" fmla="*/ 19 w 324"/>
                <a:gd name="T7" fmla="*/ 0 h 316"/>
                <a:gd name="T8" fmla="*/ 94 w 324"/>
                <a:gd name="T9" fmla="*/ 0 h 316"/>
                <a:gd name="T10" fmla="*/ 170 w 324"/>
                <a:gd name="T11" fmla="*/ 105 h 316"/>
                <a:gd name="T12" fmla="*/ 258 w 324"/>
                <a:gd name="T13" fmla="*/ 0 h 316"/>
                <a:gd name="T14" fmla="*/ 293 w 324"/>
                <a:gd name="T15" fmla="*/ 0 h 316"/>
                <a:gd name="T16" fmla="*/ 187 w 324"/>
                <a:gd name="T17" fmla="*/ 128 h 316"/>
                <a:gd name="T18" fmla="*/ 324 w 324"/>
                <a:gd name="T19" fmla="*/ 316 h 316"/>
                <a:gd name="T20" fmla="*/ 248 w 324"/>
                <a:gd name="T21" fmla="*/ 316 h 316"/>
                <a:gd name="T22" fmla="*/ 149 w 324"/>
                <a:gd name="T23" fmla="*/ 176 h 316"/>
                <a:gd name="T24" fmla="*/ 33 w 324"/>
                <a:gd name="T25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4" h="316">
                  <a:moveTo>
                    <a:pt x="33" y="316"/>
                  </a:moveTo>
                  <a:lnTo>
                    <a:pt x="0" y="316"/>
                  </a:lnTo>
                  <a:lnTo>
                    <a:pt x="132" y="155"/>
                  </a:lnTo>
                  <a:lnTo>
                    <a:pt x="19" y="0"/>
                  </a:lnTo>
                  <a:lnTo>
                    <a:pt x="94" y="0"/>
                  </a:lnTo>
                  <a:lnTo>
                    <a:pt x="170" y="105"/>
                  </a:lnTo>
                  <a:lnTo>
                    <a:pt x="258" y="0"/>
                  </a:lnTo>
                  <a:lnTo>
                    <a:pt x="293" y="0"/>
                  </a:lnTo>
                  <a:lnTo>
                    <a:pt x="187" y="128"/>
                  </a:lnTo>
                  <a:lnTo>
                    <a:pt x="324" y="316"/>
                  </a:lnTo>
                  <a:lnTo>
                    <a:pt x="248" y="316"/>
                  </a:lnTo>
                  <a:lnTo>
                    <a:pt x="149" y="176"/>
                  </a:lnTo>
                  <a:lnTo>
                    <a:pt x="33" y="316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0" name="Freeform 16"/>
            <p:cNvSpPr>
              <a:spLocks/>
            </p:cNvSpPr>
            <p:nvPr/>
          </p:nvSpPr>
          <p:spPr bwMode="auto">
            <a:xfrm>
              <a:off x="3157" y="2904"/>
              <a:ext cx="203" cy="432"/>
            </a:xfrm>
            <a:custGeom>
              <a:avLst/>
              <a:gdLst>
                <a:gd name="T0" fmla="*/ 86 w 86"/>
                <a:gd name="T1" fmla="*/ 162 h 182"/>
                <a:gd name="T2" fmla="*/ 71 w 86"/>
                <a:gd name="T3" fmla="*/ 177 h 182"/>
                <a:gd name="T4" fmla="*/ 50 w 86"/>
                <a:gd name="T5" fmla="*/ 182 h 182"/>
                <a:gd name="T6" fmla="*/ 38 w 86"/>
                <a:gd name="T7" fmla="*/ 180 h 182"/>
                <a:gd name="T8" fmla="*/ 30 w 86"/>
                <a:gd name="T9" fmla="*/ 173 h 182"/>
                <a:gd name="T10" fmla="*/ 25 w 86"/>
                <a:gd name="T11" fmla="*/ 164 h 182"/>
                <a:gd name="T12" fmla="*/ 23 w 86"/>
                <a:gd name="T13" fmla="*/ 151 h 182"/>
                <a:gd name="T14" fmla="*/ 23 w 86"/>
                <a:gd name="T15" fmla="*/ 57 h 182"/>
                <a:gd name="T16" fmla="*/ 0 w 86"/>
                <a:gd name="T17" fmla="*/ 57 h 182"/>
                <a:gd name="T18" fmla="*/ 0 w 86"/>
                <a:gd name="T19" fmla="*/ 50 h 182"/>
                <a:gd name="T20" fmla="*/ 19 w 86"/>
                <a:gd name="T21" fmla="*/ 46 h 182"/>
                <a:gd name="T22" fmla="*/ 31 w 86"/>
                <a:gd name="T23" fmla="*/ 35 h 182"/>
                <a:gd name="T24" fmla="*/ 38 w 86"/>
                <a:gd name="T25" fmla="*/ 19 h 182"/>
                <a:gd name="T26" fmla="*/ 42 w 86"/>
                <a:gd name="T27" fmla="*/ 0 h 182"/>
                <a:gd name="T28" fmla="*/ 50 w 86"/>
                <a:gd name="T29" fmla="*/ 0 h 182"/>
                <a:gd name="T30" fmla="*/ 50 w 86"/>
                <a:gd name="T31" fmla="*/ 45 h 182"/>
                <a:gd name="T32" fmla="*/ 80 w 86"/>
                <a:gd name="T33" fmla="*/ 45 h 182"/>
                <a:gd name="T34" fmla="*/ 80 w 86"/>
                <a:gd name="T35" fmla="*/ 57 h 182"/>
                <a:gd name="T36" fmla="*/ 50 w 86"/>
                <a:gd name="T37" fmla="*/ 57 h 182"/>
                <a:gd name="T38" fmla="*/ 50 w 86"/>
                <a:gd name="T39" fmla="*/ 151 h 182"/>
                <a:gd name="T40" fmla="*/ 54 w 86"/>
                <a:gd name="T41" fmla="*/ 161 h 182"/>
                <a:gd name="T42" fmla="*/ 64 w 86"/>
                <a:gd name="T43" fmla="*/ 165 h 182"/>
                <a:gd name="T44" fmla="*/ 73 w 86"/>
                <a:gd name="T45" fmla="*/ 163 h 182"/>
                <a:gd name="T46" fmla="*/ 79 w 86"/>
                <a:gd name="T47" fmla="*/ 158 h 182"/>
                <a:gd name="T48" fmla="*/ 86 w 86"/>
                <a:gd name="T49" fmla="*/ 16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6" h="182">
                  <a:moveTo>
                    <a:pt x="86" y="162"/>
                  </a:moveTo>
                  <a:cubicBezTo>
                    <a:pt x="82" y="168"/>
                    <a:pt x="77" y="173"/>
                    <a:pt x="71" y="177"/>
                  </a:cubicBezTo>
                  <a:cubicBezTo>
                    <a:pt x="65" y="180"/>
                    <a:pt x="58" y="182"/>
                    <a:pt x="50" y="182"/>
                  </a:cubicBezTo>
                  <a:cubicBezTo>
                    <a:pt x="45" y="182"/>
                    <a:pt x="41" y="181"/>
                    <a:pt x="38" y="180"/>
                  </a:cubicBezTo>
                  <a:cubicBezTo>
                    <a:pt x="35" y="178"/>
                    <a:pt x="32" y="176"/>
                    <a:pt x="30" y="173"/>
                  </a:cubicBezTo>
                  <a:cubicBezTo>
                    <a:pt x="28" y="171"/>
                    <a:pt x="26" y="167"/>
                    <a:pt x="25" y="164"/>
                  </a:cubicBezTo>
                  <a:cubicBezTo>
                    <a:pt x="24" y="160"/>
                    <a:pt x="23" y="156"/>
                    <a:pt x="23" y="151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8" y="50"/>
                    <a:pt x="14" y="49"/>
                    <a:pt x="19" y="46"/>
                  </a:cubicBezTo>
                  <a:cubicBezTo>
                    <a:pt x="23" y="43"/>
                    <a:pt x="27" y="40"/>
                    <a:pt x="31" y="35"/>
                  </a:cubicBezTo>
                  <a:cubicBezTo>
                    <a:pt x="34" y="30"/>
                    <a:pt x="36" y="25"/>
                    <a:pt x="38" y="19"/>
                  </a:cubicBezTo>
                  <a:cubicBezTo>
                    <a:pt x="40" y="13"/>
                    <a:pt x="41" y="6"/>
                    <a:pt x="4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50" y="155"/>
                    <a:pt x="51" y="158"/>
                    <a:pt x="54" y="161"/>
                  </a:cubicBezTo>
                  <a:cubicBezTo>
                    <a:pt x="57" y="164"/>
                    <a:pt x="60" y="165"/>
                    <a:pt x="64" y="165"/>
                  </a:cubicBezTo>
                  <a:cubicBezTo>
                    <a:pt x="67" y="165"/>
                    <a:pt x="70" y="164"/>
                    <a:pt x="73" y="163"/>
                  </a:cubicBezTo>
                  <a:cubicBezTo>
                    <a:pt x="75" y="162"/>
                    <a:pt x="77" y="160"/>
                    <a:pt x="79" y="158"/>
                  </a:cubicBezTo>
                  <a:lnTo>
                    <a:pt x="86" y="162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1" name="Freeform 17"/>
            <p:cNvSpPr>
              <a:spLocks noEditPoints="1"/>
            </p:cNvSpPr>
            <p:nvPr/>
          </p:nvSpPr>
          <p:spPr bwMode="auto">
            <a:xfrm>
              <a:off x="3382" y="3006"/>
              <a:ext cx="305" cy="330"/>
            </a:xfrm>
            <a:custGeom>
              <a:avLst/>
              <a:gdLst>
                <a:gd name="T0" fmla="*/ 66 w 129"/>
                <a:gd name="T1" fmla="*/ 139 h 139"/>
                <a:gd name="T2" fmla="*/ 40 w 129"/>
                <a:gd name="T3" fmla="*/ 134 h 139"/>
                <a:gd name="T4" fmla="*/ 20 w 129"/>
                <a:gd name="T5" fmla="*/ 120 h 139"/>
                <a:gd name="T6" fmla="*/ 6 w 129"/>
                <a:gd name="T7" fmla="*/ 100 h 139"/>
                <a:gd name="T8" fmla="*/ 0 w 129"/>
                <a:gd name="T9" fmla="*/ 74 h 139"/>
                <a:gd name="T10" fmla="*/ 5 w 129"/>
                <a:gd name="T11" fmla="*/ 44 h 139"/>
                <a:gd name="T12" fmla="*/ 18 w 129"/>
                <a:gd name="T13" fmla="*/ 21 h 139"/>
                <a:gd name="T14" fmla="*/ 39 w 129"/>
                <a:gd name="T15" fmla="*/ 5 h 139"/>
                <a:gd name="T16" fmla="*/ 66 w 129"/>
                <a:gd name="T17" fmla="*/ 0 h 139"/>
                <a:gd name="T18" fmla="*/ 90 w 129"/>
                <a:gd name="T19" fmla="*/ 4 h 139"/>
                <a:gd name="T20" fmla="*/ 109 w 129"/>
                <a:gd name="T21" fmla="*/ 17 h 139"/>
                <a:gd name="T22" fmla="*/ 121 w 129"/>
                <a:gd name="T23" fmla="*/ 35 h 139"/>
                <a:gd name="T24" fmla="*/ 126 w 129"/>
                <a:gd name="T25" fmla="*/ 56 h 139"/>
                <a:gd name="T26" fmla="*/ 26 w 129"/>
                <a:gd name="T27" fmla="*/ 56 h 139"/>
                <a:gd name="T28" fmla="*/ 29 w 129"/>
                <a:gd name="T29" fmla="*/ 81 h 139"/>
                <a:gd name="T30" fmla="*/ 39 w 129"/>
                <a:gd name="T31" fmla="*/ 101 h 139"/>
                <a:gd name="T32" fmla="*/ 54 w 129"/>
                <a:gd name="T33" fmla="*/ 114 h 139"/>
                <a:gd name="T34" fmla="*/ 73 w 129"/>
                <a:gd name="T35" fmla="*/ 119 h 139"/>
                <a:gd name="T36" fmla="*/ 90 w 129"/>
                <a:gd name="T37" fmla="*/ 116 h 139"/>
                <a:gd name="T38" fmla="*/ 104 w 129"/>
                <a:gd name="T39" fmla="*/ 108 h 139"/>
                <a:gd name="T40" fmla="*/ 115 w 129"/>
                <a:gd name="T41" fmla="*/ 98 h 139"/>
                <a:gd name="T42" fmla="*/ 122 w 129"/>
                <a:gd name="T43" fmla="*/ 86 h 139"/>
                <a:gd name="T44" fmla="*/ 129 w 129"/>
                <a:gd name="T45" fmla="*/ 89 h 139"/>
                <a:gd name="T46" fmla="*/ 120 w 129"/>
                <a:gd name="T47" fmla="*/ 109 h 139"/>
                <a:gd name="T48" fmla="*/ 105 w 129"/>
                <a:gd name="T49" fmla="*/ 124 h 139"/>
                <a:gd name="T50" fmla="*/ 86 w 129"/>
                <a:gd name="T51" fmla="*/ 135 h 139"/>
                <a:gd name="T52" fmla="*/ 66 w 129"/>
                <a:gd name="T53" fmla="*/ 139 h 139"/>
                <a:gd name="T54" fmla="*/ 92 w 129"/>
                <a:gd name="T55" fmla="*/ 45 h 139"/>
                <a:gd name="T56" fmla="*/ 90 w 129"/>
                <a:gd name="T57" fmla="*/ 31 h 139"/>
                <a:gd name="T58" fmla="*/ 82 w 129"/>
                <a:gd name="T59" fmla="*/ 20 h 139"/>
                <a:gd name="T60" fmla="*/ 71 w 129"/>
                <a:gd name="T61" fmla="*/ 12 h 139"/>
                <a:gd name="T62" fmla="*/ 58 w 129"/>
                <a:gd name="T63" fmla="*/ 10 h 139"/>
                <a:gd name="T64" fmla="*/ 46 w 129"/>
                <a:gd name="T65" fmla="*/ 12 h 139"/>
                <a:gd name="T66" fmla="*/ 37 w 129"/>
                <a:gd name="T67" fmla="*/ 20 h 139"/>
                <a:gd name="T68" fmla="*/ 30 w 129"/>
                <a:gd name="T69" fmla="*/ 31 h 139"/>
                <a:gd name="T70" fmla="*/ 26 w 129"/>
                <a:gd name="T71" fmla="*/ 45 h 139"/>
                <a:gd name="T72" fmla="*/ 92 w 129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139">
                  <a:moveTo>
                    <a:pt x="66" y="139"/>
                  </a:moveTo>
                  <a:cubicBezTo>
                    <a:pt x="57" y="139"/>
                    <a:pt x="48" y="137"/>
                    <a:pt x="40" y="134"/>
                  </a:cubicBezTo>
                  <a:cubicBezTo>
                    <a:pt x="33" y="131"/>
                    <a:pt x="26" y="126"/>
                    <a:pt x="20" y="120"/>
                  </a:cubicBezTo>
                  <a:cubicBezTo>
                    <a:pt x="14" y="114"/>
                    <a:pt x="9" y="107"/>
                    <a:pt x="6" y="100"/>
                  </a:cubicBezTo>
                  <a:cubicBezTo>
                    <a:pt x="2" y="92"/>
                    <a:pt x="0" y="83"/>
                    <a:pt x="0" y="74"/>
                  </a:cubicBezTo>
                  <a:cubicBezTo>
                    <a:pt x="0" y="64"/>
                    <a:pt x="2" y="54"/>
                    <a:pt x="5" y="44"/>
                  </a:cubicBezTo>
                  <a:cubicBezTo>
                    <a:pt x="8" y="35"/>
                    <a:pt x="13" y="27"/>
                    <a:pt x="18" y="21"/>
                  </a:cubicBezTo>
                  <a:cubicBezTo>
                    <a:pt x="24" y="14"/>
                    <a:pt x="31" y="9"/>
                    <a:pt x="39" y="5"/>
                  </a:cubicBezTo>
                  <a:cubicBezTo>
                    <a:pt x="47" y="1"/>
                    <a:pt x="56" y="0"/>
                    <a:pt x="66" y="0"/>
                  </a:cubicBezTo>
                  <a:cubicBezTo>
                    <a:pt x="75" y="0"/>
                    <a:pt x="83" y="1"/>
                    <a:pt x="90" y="4"/>
                  </a:cubicBezTo>
                  <a:cubicBezTo>
                    <a:pt x="98" y="7"/>
                    <a:pt x="104" y="11"/>
                    <a:pt x="109" y="17"/>
                  </a:cubicBezTo>
                  <a:cubicBezTo>
                    <a:pt x="114" y="22"/>
                    <a:pt x="118" y="28"/>
                    <a:pt x="121" y="35"/>
                  </a:cubicBezTo>
                  <a:cubicBezTo>
                    <a:pt x="124" y="41"/>
                    <a:pt x="126" y="49"/>
                    <a:pt x="1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65"/>
                    <a:pt x="27" y="73"/>
                    <a:pt x="29" y="81"/>
                  </a:cubicBezTo>
                  <a:cubicBezTo>
                    <a:pt x="32" y="89"/>
                    <a:pt x="35" y="95"/>
                    <a:pt x="39" y="101"/>
                  </a:cubicBezTo>
                  <a:cubicBezTo>
                    <a:pt x="43" y="106"/>
                    <a:pt x="48" y="111"/>
                    <a:pt x="54" y="114"/>
                  </a:cubicBezTo>
                  <a:cubicBezTo>
                    <a:pt x="60" y="117"/>
                    <a:pt x="66" y="119"/>
                    <a:pt x="73" y="119"/>
                  </a:cubicBezTo>
                  <a:cubicBezTo>
                    <a:pt x="79" y="119"/>
                    <a:pt x="84" y="118"/>
                    <a:pt x="90" y="116"/>
                  </a:cubicBezTo>
                  <a:cubicBezTo>
                    <a:pt x="95" y="114"/>
                    <a:pt x="100" y="112"/>
                    <a:pt x="104" y="108"/>
                  </a:cubicBezTo>
                  <a:cubicBezTo>
                    <a:pt x="109" y="105"/>
                    <a:pt x="112" y="102"/>
                    <a:pt x="115" y="98"/>
                  </a:cubicBezTo>
                  <a:cubicBezTo>
                    <a:pt x="118" y="94"/>
                    <a:pt x="120" y="90"/>
                    <a:pt x="122" y="86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7" y="96"/>
                    <a:pt x="124" y="103"/>
                    <a:pt x="120" y="109"/>
                  </a:cubicBezTo>
                  <a:cubicBezTo>
                    <a:pt x="116" y="115"/>
                    <a:pt x="111" y="120"/>
                    <a:pt x="105" y="124"/>
                  </a:cubicBezTo>
                  <a:cubicBezTo>
                    <a:pt x="99" y="129"/>
                    <a:pt x="93" y="132"/>
                    <a:pt x="86" y="135"/>
                  </a:cubicBezTo>
                  <a:cubicBezTo>
                    <a:pt x="80" y="138"/>
                    <a:pt x="73" y="139"/>
                    <a:pt x="66" y="139"/>
                  </a:cubicBezTo>
                  <a:moveTo>
                    <a:pt x="92" y="45"/>
                  </a:moveTo>
                  <a:cubicBezTo>
                    <a:pt x="92" y="40"/>
                    <a:pt x="92" y="36"/>
                    <a:pt x="90" y="31"/>
                  </a:cubicBezTo>
                  <a:cubicBezTo>
                    <a:pt x="88" y="27"/>
                    <a:pt x="85" y="23"/>
                    <a:pt x="82" y="20"/>
                  </a:cubicBezTo>
                  <a:cubicBezTo>
                    <a:pt x="79" y="17"/>
                    <a:pt x="76" y="14"/>
                    <a:pt x="71" y="12"/>
                  </a:cubicBezTo>
                  <a:cubicBezTo>
                    <a:pt x="67" y="10"/>
                    <a:pt x="63" y="10"/>
                    <a:pt x="58" y="10"/>
                  </a:cubicBezTo>
                  <a:cubicBezTo>
                    <a:pt x="54" y="10"/>
                    <a:pt x="50" y="10"/>
                    <a:pt x="46" y="12"/>
                  </a:cubicBezTo>
                  <a:cubicBezTo>
                    <a:pt x="43" y="14"/>
                    <a:pt x="39" y="17"/>
                    <a:pt x="37" y="20"/>
                  </a:cubicBezTo>
                  <a:cubicBezTo>
                    <a:pt x="34" y="23"/>
                    <a:pt x="31" y="27"/>
                    <a:pt x="30" y="31"/>
                  </a:cubicBezTo>
                  <a:cubicBezTo>
                    <a:pt x="28" y="36"/>
                    <a:pt x="26" y="40"/>
                    <a:pt x="26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2" name="Freeform 18"/>
            <p:cNvSpPr>
              <a:spLocks/>
            </p:cNvSpPr>
            <p:nvPr/>
          </p:nvSpPr>
          <p:spPr bwMode="auto">
            <a:xfrm>
              <a:off x="3747" y="3006"/>
              <a:ext cx="265" cy="323"/>
            </a:xfrm>
            <a:custGeom>
              <a:avLst/>
              <a:gdLst>
                <a:gd name="T0" fmla="*/ 0 w 112"/>
                <a:gd name="T1" fmla="*/ 2 h 136"/>
                <a:gd name="T2" fmla="*/ 27 w 112"/>
                <a:gd name="T3" fmla="*/ 2 h 136"/>
                <a:gd name="T4" fmla="*/ 27 w 112"/>
                <a:gd name="T5" fmla="*/ 27 h 136"/>
                <a:gd name="T6" fmla="*/ 52 w 112"/>
                <a:gd name="T7" fmla="*/ 6 h 136"/>
                <a:gd name="T8" fmla="*/ 78 w 112"/>
                <a:gd name="T9" fmla="*/ 0 h 136"/>
                <a:gd name="T10" fmla="*/ 92 w 112"/>
                <a:gd name="T11" fmla="*/ 3 h 136"/>
                <a:gd name="T12" fmla="*/ 102 w 112"/>
                <a:gd name="T13" fmla="*/ 12 h 136"/>
                <a:gd name="T14" fmla="*/ 109 w 112"/>
                <a:gd name="T15" fmla="*/ 24 h 136"/>
                <a:gd name="T16" fmla="*/ 112 w 112"/>
                <a:gd name="T17" fmla="*/ 40 h 136"/>
                <a:gd name="T18" fmla="*/ 112 w 112"/>
                <a:gd name="T19" fmla="*/ 136 h 136"/>
                <a:gd name="T20" fmla="*/ 85 w 112"/>
                <a:gd name="T21" fmla="*/ 136 h 136"/>
                <a:gd name="T22" fmla="*/ 85 w 112"/>
                <a:gd name="T23" fmla="*/ 45 h 136"/>
                <a:gd name="T24" fmla="*/ 80 w 112"/>
                <a:gd name="T25" fmla="*/ 24 h 136"/>
                <a:gd name="T26" fmla="*/ 64 w 112"/>
                <a:gd name="T27" fmla="*/ 18 h 136"/>
                <a:gd name="T28" fmla="*/ 55 w 112"/>
                <a:gd name="T29" fmla="*/ 19 h 136"/>
                <a:gd name="T30" fmla="*/ 46 w 112"/>
                <a:gd name="T31" fmla="*/ 23 h 136"/>
                <a:gd name="T32" fmla="*/ 36 w 112"/>
                <a:gd name="T33" fmla="*/ 29 h 136"/>
                <a:gd name="T34" fmla="*/ 27 w 112"/>
                <a:gd name="T35" fmla="*/ 37 h 136"/>
                <a:gd name="T36" fmla="*/ 27 w 112"/>
                <a:gd name="T37" fmla="*/ 136 h 136"/>
                <a:gd name="T38" fmla="*/ 0 w 112"/>
                <a:gd name="T39" fmla="*/ 136 h 136"/>
                <a:gd name="T40" fmla="*/ 0 w 112"/>
                <a:gd name="T41" fmla="*/ 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" h="136">
                  <a:moveTo>
                    <a:pt x="0" y="2"/>
                  </a:moveTo>
                  <a:cubicBezTo>
                    <a:pt x="27" y="2"/>
                    <a:pt x="27" y="2"/>
                    <a:pt x="27" y="2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5" y="18"/>
                    <a:pt x="43" y="11"/>
                    <a:pt x="52" y="6"/>
                  </a:cubicBezTo>
                  <a:cubicBezTo>
                    <a:pt x="60" y="2"/>
                    <a:pt x="69" y="0"/>
                    <a:pt x="78" y="0"/>
                  </a:cubicBezTo>
                  <a:cubicBezTo>
                    <a:pt x="83" y="0"/>
                    <a:pt x="87" y="1"/>
                    <a:pt x="92" y="3"/>
                  </a:cubicBezTo>
                  <a:cubicBezTo>
                    <a:pt x="96" y="5"/>
                    <a:pt x="99" y="8"/>
                    <a:pt x="102" y="12"/>
                  </a:cubicBezTo>
                  <a:cubicBezTo>
                    <a:pt x="105" y="15"/>
                    <a:pt x="108" y="19"/>
                    <a:pt x="109" y="24"/>
                  </a:cubicBezTo>
                  <a:cubicBezTo>
                    <a:pt x="111" y="29"/>
                    <a:pt x="112" y="35"/>
                    <a:pt x="112" y="40"/>
                  </a:cubicBezTo>
                  <a:cubicBezTo>
                    <a:pt x="112" y="136"/>
                    <a:pt x="112" y="136"/>
                    <a:pt x="112" y="136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36"/>
                    <a:pt x="83" y="29"/>
                    <a:pt x="80" y="24"/>
                  </a:cubicBezTo>
                  <a:cubicBezTo>
                    <a:pt x="76" y="20"/>
                    <a:pt x="70" y="18"/>
                    <a:pt x="64" y="18"/>
                  </a:cubicBezTo>
                  <a:cubicBezTo>
                    <a:pt x="61" y="18"/>
                    <a:pt x="58" y="18"/>
                    <a:pt x="55" y="19"/>
                  </a:cubicBezTo>
                  <a:cubicBezTo>
                    <a:pt x="52" y="20"/>
                    <a:pt x="49" y="21"/>
                    <a:pt x="46" y="23"/>
                  </a:cubicBezTo>
                  <a:cubicBezTo>
                    <a:pt x="42" y="25"/>
                    <a:pt x="39" y="27"/>
                    <a:pt x="36" y="29"/>
                  </a:cubicBezTo>
                  <a:cubicBezTo>
                    <a:pt x="33" y="31"/>
                    <a:pt x="30" y="34"/>
                    <a:pt x="27" y="37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0" y="136"/>
                    <a:pt x="0" y="136"/>
                    <a:pt x="0" y="136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3" name="Freeform 19"/>
            <p:cNvSpPr>
              <a:spLocks noEditPoints="1"/>
            </p:cNvSpPr>
            <p:nvPr/>
          </p:nvSpPr>
          <p:spPr bwMode="auto">
            <a:xfrm>
              <a:off x="4069" y="2849"/>
              <a:ext cx="303" cy="487"/>
            </a:xfrm>
            <a:custGeom>
              <a:avLst/>
              <a:gdLst>
                <a:gd name="T0" fmla="*/ 101 w 128"/>
                <a:gd name="T1" fmla="*/ 189 h 205"/>
                <a:gd name="T2" fmla="*/ 91 w 128"/>
                <a:gd name="T3" fmla="*/ 196 h 205"/>
                <a:gd name="T4" fmla="*/ 80 w 128"/>
                <a:gd name="T5" fmla="*/ 201 h 205"/>
                <a:gd name="T6" fmla="*/ 68 w 128"/>
                <a:gd name="T7" fmla="*/ 204 h 205"/>
                <a:gd name="T8" fmla="*/ 57 w 128"/>
                <a:gd name="T9" fmla="*/ 205 h 205"/>
                <a:gd name="T10" fmla="*/ 35 w 128"/>
                <a:gd name="T11" fmla="*/ 200 h 205"/>
                <a:gd name="T12" fmla="*/ 17 w 128"/>
                <a:gd name="T13" fmla="*/ 185 h 205"/>
                <a:gd name="T14" fmla="*/ 5 w 128"/>
                <a:gd name="T15" fmla="*/ 163 h 205"/>
                <a:gd name="T16" fmla="*/ 0 w 128"/>
                <a:gd name="T17" fmla="*/ 137 h 205"/>
                <a:gd name="T18" fmla="*/ 6 w 128"/>
                <a:gd name="T19" fmla="*/ 110 h 205"/>
                <a:gd name="T20" fmla="*/ 21 w 128"/>
                <a:gd name="T21" fmla="*/ 88 h 205"/>
                <a:gd name="T22" fmla="*/ 43 w 128"/>
                <a:gd name="T23" fmla="*/ 72 h 205"/>
                <a:gd name="T24" fmla="*/ 71 w 128"/>
                <a:gd name="T25" fmla="*/ 66 h 205"/>
                <a:gd name="T26" fmla="*/ 88 w 128"/>
                <a:gd name="T27" fmla="*/ 69 h 205"/>
                <a:gd name="T28" fmla="*/ 101 w 128"/>
                <a:gd name="T29" fmla="*/ 78 h 205"/>
                <a:gd name="T30" fmla="*/ 101 w 128"/>
                <a:gd name="T31" fmla="*/ 7 h 205"/>
                <a:gd name="T32" fmla="*/ 120 w 128"/>
                <a:gd name="T33" fmla="*/ 0 h 205"/>
                <a:gd name="T34" fmla="*/ 128 w 128"/>
                <a:gd name="T35" fmla="*/ 0 h 205"/>
                <a:gd name="T36" fmla="*/ 128 w 128"/>
                <a:gd name="T37" fmla="*/ 205 h 205"/>
                <a:gd name="T38" fmla="*/ 101 w 128"/>
                <a:gd name="T39" fmla="*/ 205 h 205"/>
                <a:gd name="T40" fmla="*/ 101 w 128"/>
                <a:gd name="T41" fmla="*/ 189 h 205"/>
                <a:gd name="T42" fmla="*/ 101 w 128"/>
                <a:gd name="T43" fmla="*/ 111 h 205"/>
                <a:gd name="T44" fmla="*/ 98 w 128"/>
                <a:gd name="T45" fmla="*/ 96 h 205"/>
                <a:gd name="T46" fmla="*/ 91 w 128"/>
                <a:gd name="T47" fmla="*/ 85 h 205"/>
                <a:gd name="T48" fmla="*/ 80 w 128"/>
                <a:gd name="T49" fmla="*/ 78 h 205"/>
                <a:gd name="T50" fmla="*/ 68 w 128"/>
                <a:gd name="T51" fmla="*/ 76 h 205"/>
                <a:gd name="T52" fmla="*/ 53 w 128"/>
                <a:gd name="T53" fmla="*/ 80 h 205"/>
                <a:gd name="T54" fmla="*/ 41 w 128"/>
                <a:gd name="T55" fmla="*/ 91 h 205"/>
                <a:gd name="T56" fmla="*/ 33 w 128"/>
                <a:gd name="T57" fmla="*/ 108 h 205"/>
                <a:gd name="T58" fmla="*/ 30 w 128"/>
                <a:gd name="T59" fmla="*/ 129 h 205"/>
                <a:gd name="T60" fmla="*/ 33 w 128"/>
                <a:gd name="T61" fmla="*/ 153 h 205"/>
                <a:gd name="T62" fmla="*/ 42 w 128"/>
                <a:gd name="T63" fmla="*/ 173 h 205"/>
                <a:gd name="T64" fmla="*/ 55 w 128"/>
                <a:gd name="T65" fmla="*/ 186 h 205"/>
                <a:gd name="T66" fmla="*/ 72 w 128"/>
                <a:gd name="T67" fmla="*/ 191 h 205"/>
                <a:gd name="T68" fmla="*/ 80 w 128"/>
                <a:gd name="T69" fmla="*/ 189 h 205"/>
                <a:gd name="T70" fmla="*/ 88 w 128"/>
                <a:gd name="T71" fmla="*/ 186 h 205"/>
                <a:gd name="T72" fmla="*/ 95 w 128"/>
                <a:gd name="T73" fmla="*/ 182 h 205"/>
                <a:gd name="T74" fmla="*/ 101 w 128"/>
                <a:gd name="T75" fmla="*/ 177 h 205"/>
                <a:gd name="T76" fmla="*/ 101 w 128"/>
                <a:gd name="T77" fmla="*/ 1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8" h="205">
                  <a:moveTo>
                    <a:pt x="101" y="189"/>
                  </a:moveTo>
                  <a:cubicBezTo>
                    <a:pt x="98" y="191"/>
                    <a:pt x="95" y="194"/>
                    <a:pt x="91" y="196"/>
                  </a:cubicBezTo>
                  <a:cubicBezTo>
                    <a:pt x="88" y="198"/>
                    <a:pt x="84" y="199"/>
                    <a:pt x="80" y="201"/>
                  </a:cubicBezTo>
                  <a:cubicBezTo>
                    <a:pt x="76" y="202"/>
                    <a:pt x="72" y="203"/>
                    <a:pt x="68" y="204"/>
                  </a:cubicBezTo>
                  <a:cubicBezTo>
                    <a:pt x="64" y="205"/>
                    <a:pt x="61" y="205"/>
                    <a:pt x="57" y="205"/>
                  </a:cubicBezTo>
                  <a:cubicBezTo>
                    <a:pt x="49" y="205"/>
                    <a:pt x="42" y="203"/>
                    <a:pt x="35" y="200"/>
                  </a:cubicBezTo>
                  <a:cubicBezTo>
                    <a:pt x="28" y="196"/>
                    <a:pt x="22" y="191"/>
                    <a:pt x="17" y="185"/>
                  </a:cubicBezTo>
                  <a:cubicBezTo>
                    <a:pt x="12" y="179"/>
                    <a:pt x="8" y="171"/>
                    <a:pt x="5" y="163"/>
                  </a:cubicBezTo>
                  <a:cubicBezTo>
                    <a:pt x="2" y="155"/>
                    <a:pt x="0" y="146"/>
                    <a:pt x="0" y="137"/>
                  </a:cubicBezTo>
                  <a:cubicBezTo>
                    <a:pt x="0" y="128"/>
                    <a:pt x="2" y="119"/>
                    <a:pt x="6" y="110"/>
                  </a:cubicBezTo>
                  <a:cubicBezTo>
                    <a:pt x="10" y="102"/>
                    <a:pt x="15" y="94"/>
                    <a:pt x="21" y="88"/>
                  </a:cubicBezTo>
                  <a:cubicBezTo>
                    <a:pt x="27" y="81"/>
                    <a:pt x="35" y="76"/>
                    <a:pt x="43" y="72"/>
                  </a:cubicBezTo>
                  <a:cubicBezTo>
                    <a:pt x="52" y="68"/>
                    <a:pt x="61" y="66"/>
                    <a:pt x="71" y="66"/>
                  </a:cubicBezTo>
                  <a:cubicBezTo>
                    <a:pt x="77" y="66"/>
                    <a:pt x="83" y="67"/>
                    <a:pt x="88" y="69"/>
                  </a:cubicBezTo>
                  <a:cubicBezTo>
                    <a:pt x="93" y="71"/>
                    <a:pt x="97" y="74"/>
                    <a:pt x="101" y="7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8" y="205"/>
                    <a:pt x="128" y="205"/>
                    <a:pt x="128" y="205"/>
                  </a:cubicBezTo>
                  <a:cubicBezTo>
                    <a:pt x="101" y="205"/>
                    <a:pt x="101" y="205"/>
                    <a:pt x="101" y="205"/>
                  </a:cubicBezTo>
                  <a:lnTo>
                    <a:pt x="101" y="189"/>
                  </a:lnTo>
                  <a:close/>
                  <a:moveTo>
                    <a:pt x="101" y="111"/>
                  </a:moveTo>
                  <a:cubicBezTo>
                    <a:pt x="101" y="106"/>
                    <a:pt x="100" y="101"/>
                    <a:pt x="98" y="96"/>
                  </a:cubicBezTo>
                  <a:cubicBezTo>
                    <a:pt x="96" y="92"/>
                    <a:pt x="94" y="88"/>
                    <a:pt x="91" y="85"/>
                  </a:cubicBezTo>
                  <a:cubicBezTo>
                    <a:pt x="87" y="82"/>
                    <a:pt x="84" y="80"/>
                    <a:pt x="80" y="78"/>
                  </a:cubicBezTo>
                  <a:cubicBezTo>
                    <a:pt x="76" y="76"/>
                    <a:pt x="72" y="76"/>
                    <a:pt x="68" y="76"/>
                  </a:cubicBezTo>
                  <a:cubicBezTo>
                    <a:pt x="63" y="76"/>
                    <a:pt x="58" y="77"/>
                    <a:pt x="53" y="80"/>
                  </a:cubicBezTo>
                  <a:cubicBezTo>
                    <a:pt x="48" y="82"/>
                    <a:pt x="44" y="86"/>
                    <a:pt x="41" y="91"/>
                  </a:cubicBezTo>
                  <a:cubicBezTo>
                    <a:pt x="37" y="95"/>
                    <a:pt x="35" y="101"/>
                    <a:pt x="33" y="108"/>
                  </a:cubicBezTo>
                  <a:cubicBezTo>
                    <a:pt x="31" y="114"/>
                    <a:pt x="30" y="122"/>
                    <a:pt x="30" y="129"/>
                  </a:cubicBezTo>
                  <a:cubicBezTo>
                    <a:pt x="30" y="138"/>
                    <a:pt x="31" y="146"/>
                    <a:pt x="33" y="153"/>
                  </a:cubicBezTo>
                  <a:cubicBezTo>
                    <a:pt x="35" y="161"/>
                    <a:pt x="38" y="167"/>
                    <a:pt x="42" y="173"/>
                  </a:cubicBezTo>
                  <a:cubicBezTo>
                    <a:pt x="46" y="178"/>
                    <a:pt x="50" y="183"/>
                    <a:pt x="55" y="186"/>
                  </a:cubicBezTo>
                  <a:cubicBezTo>
                    <a:pt x="61" y="189"/>
                    <a:pt x="66" y="191"/>
                    <a:pt x="72" y="191"/>
                  </a:cubicBezTo>
                  <a:cubicBezTo>
                    <a:pt x="75" y="191"/>
                    <a:pt x="77" y="190"/>
                    <a:pt x="80" y="189"/>
                  </a:cubicBezTo>
                  <a:cubicBezTo>
                    <a:pt x="83" y="189"/>
                    <a:pt x="86" y="188"/>
                    <a:pt x="88" y="186"/>
                  </a:cubicBezTo>
                  <a:cubicBezTo>
                    <a:pt x="91" y="185"/>
                    <a:pt x="93" y="184"/>
                    <a:pt x="95" y="182"/>
                  </a:cubicBezTo>
                  <a:cubicBezTo>
                    <a:pt x="98" y="180"/>
                    <a:pt x="99" y="179"/>
                    <a:pt x="101" y="177"/>
                  </a:cubicBezTo>
                  <a:lnTo>
                    <a:pt x="101" y="111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20"/>
            <p:cNvSpPr>
              <a:spLocks noEditPoints="1"/>
            </p:cNvSpPr>
            <p:nvPr/>
          </p:nvSpPr>
          <p:spPr bwMode="auto">
            <a:xfrm>
              <a:off x="4431" y="3006"/>
              <a:ext cx="304" cy="330"/>
            </a:xfrm>
            <a:custGeom>
              <a:avLst/>
              <a:gdLst>
                <a:gd name="T0" fmla="*/ 65 w 128"/>
                <a:gd name="T1" fmla="*/ 139 h 139"/>
                <a:gd name="T2" fmla="*/ 40 w 128"/>
                <a:gd name="T3" fmla="*/ 134 h 139"/>
                <a:gd name="T4" fmla="*/ 19 w 128"/>
                <a:gd name="T5" fmla="*/ 120 h 139"/>
                <a:gd name="T6" fmla="*/ 5 w 128"/>
                <a:gd name="T7" fmla="*/ 100 h 139"/>
                <a:gd name="T8" fmla="*/ 0 w 128"/>
                <a:gd name="T9" fmla="*/ 74 h 139"/>
                <a:gd name="T10" fmla="*/ 4 w 128"/>
                <a:gd name="T11" fmla="*/ 44 h 139"/>
                <a:gd name="T12" fmla="*/ 18 w 128"/>
                <a:gd name="T13" fmla="*/ 21 h 139"/>
                <a:gd name="T14" fmla="*/ 38 w 128"/>
                <a:gd name="T15" fmla="*/ 5 h 139"/>
                <a:gd name="T16" fmla="*/ 65 w 128"/>
                <a:gd name="T17" fmla="*/ 0 h 139"/>
                <a:gd name="T18" fmla="*/ 89 w 128"/>
                <a:gd name="T19" fmla="*/ 4 h 139"/>
                <a:gd name="T20" fmla="*/ 108 w 128"/>
                <a:gd name="T21" fmla="*/ 17 h 139"/>
                <a:gd name="T22" fmla="*/ 120 w 128"/>
                <a:gd name="T23" fmla="*/ 35 h 139"/>
                <a:gd name="T24" fmla="*/ 125 w 128"/>
                <a:gd name="T25" fmla="*/ 56 h 139"/>
                <a:gd name="T26" fmla="*/ 25 w 128"/>
                <a:gd name="T27" fmla="*/ 56 h 139"/>
                <a:gd name="T28" fmla="*/ 28 w 128"/>
                <a:gd name="T29" fmla="*/ 81 h 139"/>
                <a:gd name="T30" fmla="*/ 38 w 128"/>
                <a:gd name="T31" fmla="*/ 101 h 139"/>
                <a:gd name="T32" fmla="*/ 53 w 128"/>
                <a:gd name="T33" fmla="*/ 114 h 139"/>
                <a:gd name="T34" fmla="*/ 72 w 128"/>
                <a:gd name="T35" fmla="*/ 119 h 139"/>
                <a:gd name="T36" fmla="*/ 89 w 128"/>
                <a:gd name="T37" fmla="*/ 116 h 139"/>
                <a:gd name="T38" fmla="*/ 103 w 128"/>
                <a:gd name="T39" fmla="*/ 108 h 139"/>
                <a:gd name="T40" fmla="*/ 114 w 128"/>
                <a:gd name="T41" fmla="*/ 98 h 139"/>
                <a:gd name="T42" fmla="*/ 121 w 128"/>
                <a:gd name="T43" fmla="*/ 86 h 139"/>
                <a:gd name="T44" fmla="*/ 128 w 128"/>
                <a:gd name="T45" fmla="*/ 89 h 139"/>
                <a:gd name="T46" fmla="*/ 119 w 128"/>
                <a:gd name="T47" fmla="*/ 109 h 139"/>
                <a:gd name="T48" fmla="*/ 104 w 128"/>
                <a:gd name="T49" fmla="*/ 124 h 139"/>
                <a:gd name="T50" fmla="*/ 86 w 128"/>
                <a:gd name="T51" fmla="*/ 135 h 139"/>
                <a:gd name="T52" fmla="*/ 65 w 128"/>
                <a:gd name="T53" fmla="*/ 139 h 139"/>
                <a:gd name="T54" fmla="*/ 92 w 128"/>
                <a:gd name="T55" fmla="*/ 45 h 139"/>
                <a:gd name="T56" fmla="*/ 89 w 128"/>
                <a:gd name="T57" fmla="*/ 31 h 139"/>
                <a:gd name="T58" fmla="*/ 81 w 128"/>
                <a:gd name="T59" fmla="*/ 20 h 139"/>
                <a:gd name="T60" fmla="*/ 70 w 128"/>
                <a:gd name="T61" fmla="*/ 12 h 139"/>
                <a:gd name="T62" fmla="*/ 57 w 128"/>
                <a:gd name="T63" fmla="*/ 10 h 139"/>
                <a:gd name="T64" fmla="*/ 45 w 128"/>
                <a:gd name="T65" fmla="*/ 12 h 139"/>
                <a:gd name="T66" fmla="*/ 36 w 128"/>
                <a:gd name="T67" fmla="*/ 20 h 139"/>
                <a:gd name="T68" fmla="*/ 29 w 128"/>
                <a:gd name="T69" fmla="*/ 31 h 139"/>
                <a:gd name="T70" fmla="*/ 25 w 128"/>
                <a:gd name="T71" fmla="*/ 45 h 139"/>
                <a:gd name="T72" fmla="*/ 92 w 128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8" h="139">
                  <a:moveTo>
                    <a:pt x="65" y="139"/>
                  </a:moveTo>
                  <a:cubicBezTo>
                    <a:pt x="56" y="139"/>
                    <a:pt x="47" y="137"/>
                    <a:pt x="40" y="134"/>
                  </a:cubicBezTo>
                  <a:cubicBezTo>
                    <a:pt x="32" y="131"/>
                    <a:pt x="25" y="126"/>
                    <a:pt x="19" y="120"/>
                  </a:cubicBezTo>
                  <a:cubicBezTo>
                    <a:pt x="13" y="114"/>
                    <a:pt x="8" y="107"/>
                    <a:pt x="5" y="100"/>
                  </a:cubicBezTo>
                  <a:cubicBezTo>
                    <a:pt x="1" y="92"/>
                    <a:pt x="0" y="83"/>
                    <a:pt x="0" y="74"/>
                  </a:cubicBezTo>
                  <a:cubicBezTo>
                    <a:pt x="0" y="64"/>
                    <a:pt x="1" y="54"/>
                    <a:pt x="4" y="44"/>
                  </a:cubicBezTo>
                  <a:cubicBezTo>
                    <a:pt x="7" y="35"/>
                    <a:pt x="12" y="27"/>
                    <a:pt x="18" y="21"/>
                  </a:cubicBezTo>
                  <a:cubicBezTo>
                    <a:pt x="23" y="14"/>
                    <a:pt x="30" y="9"/>
                    <a:pt x="38" y="5"/>
                  </a:cubicBezTo>
                  <a:cubicBezTo>
                    <a:pt x="46" y="1"/>
                    <a:pt x="55" y="0"/>
                    <a:pt x="65" y="0"/>
                  </a:cubicBezTo>
                  <a:cubicBezTo>
                    <a:pt x="74" y="0"/>
                    <a:pt x="82" y="1"/>
                    <a:pt x="89" y="4"/>
                  </a:cubicBezTo>
                  <a:cubicBezTo>
                    <a:pt x="97" y="7"/>
                    <a:pt x="103" y="11"/>
                    <a:pt x="108" y="17"/>
                  </a:cubicBezTo>
                  <a:cubicBezTo>
                    <a:pt x="113" y="22"/>
                    <a:pt x="117" y="28"/>
                    <a:pt x="120" y="35"/>
                  </a:cubicBezTo>
                  <a:cubicBezTo>
                    <a:pt x="123" y="41"/>
                    <a:pt x="125" y="49"/>
                    <a:pt x="1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65"/>
                    <a:pt x="26" y="73"/>
                    <a:pt x="28" y="81"/>
                  </a:cubicBezTo>
                  <a:cubicBezTo>
                    <a:pt x="31" y="89"/>
                    <a:pt x="34" y="95"/>
                    <a:pt x="38" y="101"/>
                  </a:cubicBezTo>
                  <a:cubicBezTo>
                    <a:pt x="42" y="106"/>
                    <a:pt x="47" y="111"/>
                    <a:pt x="53" y="114"/>
                  </a:cubicBezTo>
                  <a:cubicBezTo>
                    <a:pt x="59" y="117"/>
                    <a:pt x="65" y="119"/>
                    <a:pt x="72" y="119"/>
                  </a:cubicBezTo>
                  <a:cubicBezTo>
                    <a:pt x="78" y="119"/>
                    <a:pt x="83" y="118"/>
                    <a:pt x="89" y="116"/>
                  </a:cubicBezTo>
                  <a:cubicBezTo>
                    <a:pt x="94" y="114"/>
                    <a:pt x="99" y="112"/>
                    <a:pt x="103" y="108"/>
                  </a:cubicBezTo>
                  <a:cubicBezTo>
                    <a:pt x="108" y="105"/>
                    <a:pt x="111" y="102"/>
                    <a:pt x="114" y="98"/>
                  </a:cubicBezTo>
                  <a:cubicBezTo>
                    <a:pt x="117" y="94"/>
                    <a:pt x="120" y="90"/>
                    <a:pt x="121" y="86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6" y="96"/>
                    <a:pt x="123" y="103"/>
                    <a:pt x="119" y="109"/>
                  </a:cubicBezTo>
                  <a:cubicBezTo>
                    <a:pt x="115" y="115"/>
                    <a:pt x="110" y="120"/>
                    <a:pt x="104" y="124"/>
                  </a:cubicBezTo>
                  <a:cubicBezTo>
                    <a:pt x="98" y="129"/>
                    <a:pt x="92" y="132"/>
                    <a:pt x="86" y="135"/>
                  </a:cubicBezTo>
                  <a:cubicBezTo>
                    <a:pt x="79" y="138"/>
                    <a:pt x="72" y="139"/>
                    <a:pt x="65" y="139"/>
                  </a:cubicBezTo>
                  <a:moveTo>
                    <a:pt x="92" y="45"/>
                  </a:moveTo>
                  <a:cubicBezTo>
                    <a:pt x="92" y="40"/>
                    <a:pt x="91" y="36"/>
                    <a:pt x="89" y="31"/>
                  </a:cubicBezTo>
                  <a:cubicBezTo>
                    <a:pt x="87" y="27"/>
                    <a:pt x="85" y="23"/>
                    <a:pt x="81" y="20"/>
                  </a:cubicBezTo>
                  <a:cubicBezTo>
                    <a:pt x="78" y="17"/>
                    <a:pt x="75" y="14"/>
                    <a:pt x="70" y="12"/>
                  </a:cubicBezTo>
                  <a:cubicBezTo>
                    <a:pt x="66" y="10"/>
                    <a:pt x="62" y="10"/>
                    <a:pt x="57" y="10"/>
                  </a:cubicBezTo>
                  <a:cubicBezTo>
                    <a:pt x="53" y="10"/>
                    <a:pt x="49" y="10"/>
                    <a:pt x="45" y="12"/>
                  </a:cubicBezTo>
                  <a:cubicBezTo>
                    <a:pt x="42" y="14"/>
                    <a:pt x="39" y="17"/>
                    <a:pt x="36" y="20"/>
                  </a:cubicBezTo>
                  <a:cubicBezTo>
                    <a:pt x="33" y="23"/>
                    <a:pt x="31" y="27"/>
                    <a:pt x="29" y="31"/>
                  </a:cubicBezTo>
                  <a:cubicBezTo>
                    <a:pt x="27" y="36"/>
                    <a:pt x="26" y="40"/>
                    <a:pt x="25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21"/>
            <p:cNvSpPr>
              <a:spLocks noEditPoints="1"/>
            </p:cNvSpPr>
            <p:nvPr/>
          </p:nvSpPr>
          <p:spPr bwMode="auto">
            <a:xfrm>
              <a:off x="4780" y="2849"/>
              <a:ext cx="301" cy="487"/>
            </a:xfrm>
            <a:custGeom>
              <a:avLst/>
              <a:gdLst>
                <a:gd name="T0" fmla="*/ 101 w 127"/>
                <a:gd name="T1" fmla="*/ 189 h 205"/>
                <a:gd name="T2" fmla="*/ 91 w 127"/>
                <a:gd name="T3" fmla="*/ 196 h 205"/>
                <a:gd name="T4" fmla="*/ 80 w 127"/>
                <a:gd name="T5" fmla="*/ 201 h 205"/>
                <a:gd name="T6" fmla="*/ 68 w 127"/>
                <a:gd name="T7" fmla="*/ 204 h 205"/>
                <a:gd name="T8" fmla="*/ 57 w 127"/>
                <a:gd name="T9" fmla="*/ 205 h 205"/>
                <a:gd name="T10" fmla="*/ 34 w 127"/>
                <a:gd name="T11" fmla="*/ 200 h 205"/>
                <a:gd name="T12" fmla="*/ 16 w 127"/>
                <a:gd name="T13" fmla="*/ 185 h 205"/>
                <a:gd name="T14" fmla="*/ 4 w 127"/>
                <a:gd name="T15" fmla="*/ 163 h 205"/>
                <a:gd name="T16" fmla="*/ 0 w 127"/>
                <a:gd name="T17" fmla="*/ 137 h 205"/>
                <a:gd name="T18" fmla="*/ 6 w 127"/>
                <a:gd name="T19" fmla="*/ 110 h 205"/>
                <a:gd name="T20" fmla="*/ 21 w 127"/>
                <a:gd name="T21" fmla="*/ 88 h 205"/>
                <a:gd name="T22" fmla="*/ 43 w 127"/>
                <a:gd name="T23" fmla="*/ 72 h 205"/>
                <a:gd name="T24" fmla="*/ 70 w 127"/>
                <a:gd name="T25" fmla="*/ 66 h 205"/>
                <a:gd name="T26" fmla="*/ 87 w 127"/>
                <a:gd name="T27" fmla="*/ 69 h 205"/>
                <a:gd name="T28" fmla="*/ 101 w 127"/>
                <a:gd name="T29" fmla="*/ 78 h 205"/>
                <a:gd name="T30" fmla="*/ 101 w 127"/>
                <a:gd name="T31" fmla="*/ 7 h 205"/>
                <a:gd name="T32" fmla="*/ 119 w 127"/>
                <a:gd name="T33" fmla="*/ 0 h 205"/>
                <a:gd name="T34" fmla="*/ 127 w 127"/>
                <a:gd name="T35" fmla="*/ 0 h 205"/>
                <a:gd name="T36" fmla="*/ 127 w 127"/>
                <a:gd name="T37" fmla="*/ 205 h 205"/>
                <a:gd name="T38" fmla="*/ 101 w 127"/>
                <a:gd name="T39" fmla="*/ 205 h 205"/>
                <a:gd name="T40" fmla="*/ 101 w 127"/>
                <a:gd name="T41" fmla="*/ 189 h 205"/>
                <a:gd name="T42" fmla="*/ 101 w 127"/>
                <a:gd name="T43" fmla="*/ 111 h 205"/>
                <a:gd name="T44" fmla="*/ 98 w 127"/>
                <a:gd name="T45" fmla="*/ 96 h 205"/>
                <a:gd name="T46" fmla="*/ 90 w 127"/>
                <a:gd name="T47" fmla="*/ 85 h 205"/>
                <a:gd name="T48" fmla="*/ 79 w 127"/>
                <a:gd name="T49" fmla="*/ 78 h 205"/>
                <a:gd name="T50" fmla="*/ 67 w 127"/>
                <a:gd name="T51" fmla="*/ 76 h 205"/>
                <a:gd name="T52" fmla="*/ 53 w 127"/>
                <a:gd name="T53" fmla="*/ 80 h 205"/>
                <a:gd name="T54" fmla="*/ 40 w 127"/>
                <a:gd name="T55" fmla="*/ 91 h 205"/>
                <a:gd name="T56" fmla="*/ 32 w 127"/>
                <a:gd name="T57" fmla="*/ 108 h 205"/>
                <a:gd name="T58" fmla="*/ 29 w 127"/>
                <a:gd name="T59" fmla="*/ 129 h 205"/>
                <a:gd name="T60" fmla="*/ 33 w 127"/>
                <a:gd name="T61" fmla="*/ 153 h 205"/>
                <a:gd name="T62" fmla="*/ 42 w 127"/>
                <a:gd name="T63" fmla="*/ 173 h 205"/>
                <a:gd name="T64" fmla="*/ 55 w 127"/>
                <a:gd name="T65" fmla="*/ 186 h 205"/>
                <a:gd name="T66" fmla="*/ 71 w 127"/>
                <a:gd name="T67" fmla="*/ 191 h 205"/>
                <a:gd name="T68" fmla="*/ 80 w 127"/>
                <a:gd name="T69" fmla="*/ 189 h 205"/>
                <a:gd name="T70" fmla="*/ 88 w 127"/>
                <a:gd name="T71" fmla="*/ 186 h 205"/>
                <a:gd name="T72" fmla="*/ 95 w 127"/>
                <a:gd name="T73" fmla="*/ 182 h 205"/>
                <a:gd name="T74" fmla="*/ 101 w 127"/>
                <a:gd name="T75" fmla="*/ 177 h 205"/>
                <a:gd name="T76" fmla="*/ 101 w 127"/>
                <a:gd name="T77" fmla="*/ 1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7" h="205">
                  <a:moveTo>
                    <a:pt x="101" y="189"/>
                  </a:moveTo>
                  <a:cubicBezTo>
                    <a:pt x="98" y="191"/>
                    <a:pt x="94" y="194"/>
                    <a:pt x="91" y="196"/>
                  </a:cubicBezTo>
                  <a:cubicBezTo>
                    <a:pt x="87" y="198"/>
                    <a:pt x="83" y="199"/>
                    <a:pt x="80" y="201"/>
                  </a:cubicBezTo>
                  <a:cubicBezTo>
                    <a:pt x="76" y="202"/>
                    <a:pt x="72" y="203"/>
                    <a:pt x="68" y="204"/>
                  </a:cubicBezTo>
                  <a:cubicBezTo>
                    <a:pt x="64" y="205"/>
                    <a:pt x="60" y="205"/>
                    <a:pt x="57" y="205"/>
                  </a:cubicBezTo>
                  <a:cubicBezTo>
                    <a:pt x="49" y="205"/>
                    <a:pt x="41" y="203"/>
                    <a:pt x="34" y="200"/>
                  </a:cubicBezTo>
                  <a:cubicBezTo>
                    <a:pt x="28" y="196"/>
                    <a:pt x="22" y="191"/>
                    <a:pt x="16" y="185"/>
                  </a:cubicBezTo>
                  <a:cubicBezTo>
                    <a:pt x="11" y="179"/>
                    <a:pt x="7" y="171"/>
                    <a:pt x="4" y="163"/>
                  </a:cubicBezTo>
                  <a:cubicBezTo>
                    <a:pt x="1" y="155"/>
                    <a:pt x="0" y="146"/>
                    <a:pt x="0" y="137"/>
                  </a:cubicBezTo>
                  <a:cubicBezTo>
                    <a:pt x="0" y="128"/>
                    <a:pt x="2" y="119"/>
                    <a:pt x="6" y="110"/>
                  </a:cubicBezTo>
                  <a:cubicBezTo>
                    <a:pt x="9" y="102"/>
                    <a:pt x="14" y="94"/>
                    <a:pt x="21" y="88"/>
                  </a:cubicBezTo>
                  <a:cubicBezTo>
                    <a:pt x="27" y="81"/>
                    <a:pt x="34" y="76"/>
                    <a:pt x="43" y="72"/>
                  </a:cubicBezTo>
                  <a:cubicBezTo>
                    <a:pt x="51" y="68"/>
                    <a:pt x="60" y="66"/>
                    <a:pt x="70" y="66"/>
                  </a:cubicBezTo>
                  <a:cubicBezTo>
                    <a:pt x="77" y="66"/>
                    <a:pt x="82" y="67"/>
                    <a:pt x="87" y="69"/>
                  </a:cubicBezTo>
                  <a:cubicBezTo>
                    <a:pt x="92" y="71"/>
                    <a:pt x="97" y="74"/>
                    <a:pt x="101" y="7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7" y="205"/>
                    <a:pt x="127" y="205"/>
                    <a:pt x="127" y="205"/>
                  </a:cubicBezTo>
                  <a:cubicBezTo>
                    <a:pt x="101" y="205"/>
                    <a:pt x="101" y="205"/>
                    <a:pt x="101" y="205"/>
                  </a:cubicBezTo>
                  <a:lnTo>
                    <a:pt x="101" y="189"/>
                  </a:lnTo>
                  <a:close/>
                  <a:moveTo>
                    <a:pt x="101" y="111"/>
                  </a:moveTo>
                  <a:cubicBezTo>
                    <a:pt x="101" y="106"/>
                    <a:pt x="100" y="101"/>
                    <a:pt x="98" y="96"/>
                  </a:cubicBezTo>
                  <a:cubicBezTo>
                    <a:pt x="96" y="92"/>
                    <a:pt x="93" y="88"/>
                    <a:pt x="90" y="85"/>
                  </a:cubicBezTo>
                  <a:cubicBezTo>
                    <a:pt x="87" y="82"/>
                    <a:pt x="83" y="80"/>
                    <a:pt x="79" y="78"/>
                  </a:cubicBezTo>
                  <a:cubicBezTo>
                    <a:pt x="76" y="76"/>
                    <a:pt x="71" y="76"/>
                    <a:pt x="67" y="76"/>
                  </a:cubicBezTo>
                  <a:cubicBezTo>
                    <a:pt x="62" y="76"/>
                    <a:pt x="57" y="77"/>
                    <a:pt x="53" y="80"/>
                  </a:cubicBezTo>
                  <a:cubicBezTo>
                    <a:pt x="48" y="82"/>
                    <a:pt x="44" y="86"/>
                    <a:pt x="40" y="91"/>
                  </a:cubicBezTo>
                  <a:cubicBezTo>
                    <a:pt x="37" y="95"/>
                    <a:pt x="34" y="101"/>
                    <a:pt x="32" y="108"/>
                  </a:cubicBezTo>
                  <a:cubicBezTo>
                    <a:pt x="30" y="114"/>
                    <a:pt x="29" y="122"/>
                    <a:pt x="29" y="129"/>
                  </a:cubicBezTo>
                  <a:cubicBezTo>
                    <a:pt x="29" y="138"/>
                    <a:pt x="30" y="146"/>
                    <a:pt x="33" y="153"/>
                  </a:cubicBezTo>
                  <a:cubicBezTo>
                    <a:pt x="35" y="161"/>
                    <a:pt x="38" y="167"/>
                    <a:pt x="42" y="173"/>
                  </a:cubicBezTo>
                  <a:cubicBezTo>
                    <a:pt x="45" y="178"/>
                    <a:pt x="50" y="183"/>
                    <a:pt x="55" y="186"/>
                  </a:cubicBezTo>
                  <a:cubicBezTo>
                    <a:pt x="60" y="189"/>
                    <a:pt x="66" y="191"/>
                    <a:pt x="71" y="191"/>
                  </a:cubicBezTo>
                  <a:cubicBezTo>
                    <a:pt x="74" y="191"/>
                    <a:pt x="77" y="190"/>
                    <a:pt x="80" y="189"/>
                  </a:cubicBezTo>
                  <a:cubicBezTo>
                    <a:pt x="83" y="189"/>
                    <a:pt x="85" y="188"/>
                    <a:pt x="88" y="186"/>
                  </a:cubicBezTo>
                  <a:cubicBezTo>
                    <a:pt x="90" y="185"/>
                    <a:pt x="93" y="184"/>
                    <a:pt x="95" y="182"/>
                  </a:cubicBezTo>
                  <a:cubicBezTo>
                    <a:pt x="97" y="180"/>
                    <a:pt x="99" y="179"/>
                    <a:pt x="101" y="177"/>
                  </a:cubicBezTo>
                  <a:lnTo>
                    <a:pt x="101" y="111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22"/>
            <p:cNvSpPr>
              <a:spLocks/>
            </p:cNvSpPr>
            <p:nvPr/>
          </p:nvSpPr>
          <p:spPr bwMode="auto">
            <a:xfrm>
              <a:off x="2515" y="3463"/>
              <a:ext cx="201" cy="432"/>
            </a:xfrm>
            <a:custGeom>
              <a:avLst/>
              <a:gdLst>
                <a:gd name="T0" fmla="*/ 85 w 85"/>
                <a:gd name="T1" fmla="*/ 163 h 182"/>
                <a:gd name="T2" fmla="*/ 71 w 85"/>
                <a:gd name="T3" fmla="*/ 177 h 182"/>
                <a:gd name="T4" fmla="*/ 50 w 85"/>
                <a:gd name="T5" fmla="*/ 182 h 182"/>
                <a:gd name="T6" fmla="*/ 38 w 85"/>
                <a:gd name="T7" fmla="*/ 180 h 182"/>
                <a:gd name="T8" fmla="*/ 30 w 85"/>
                <a:gd name="T9" fmla="*/ 174 h 182"/>
                <a:gd name="T10" fmla="*/ 25 w 85"/>
                <a:gd name="T11" fmla="*/ 164 h 182"/>
                <a:gd name="T12" fmla="*/ 23 w 85"/>
                <a:gd name="T13" fmla="*/ 151 h 182"/>
                <a:gd name="T14" fmla="*/ 23 w 85"/>
                <a:gd name="T15" fmla="*/ 57 h 182"/>
                <a:gd name="T16" fmla="*/ 0 w 85"/>
                <a:gd name="T17" fmla="*/ 57 h 182"/>
                <a:gd name="T18" fmla="*/ 0 w 85"/>
                <a:gd name="T19" fmla="*/ 51 h 182"/>
                <a:gd name="T20" fmla="*/ 19 w 85"/>
                <a:gd name="T21" fmla="*/ 46 h 182"/>
                <a:gd name="T22" fmla="*/ 30 w 85"/>
                <a:gd name="T23" fmla="*/ 36 h 182"/>
                <a:gd name="T24" fmla="*/ 38 w 85"/>
                <a:gd name="T25" fmla="*/ 19 h 182"/>
                <a:gd name="T26" fmla="*/ 42 w 85"/>
                <a:gd name="T27" fmla="*/ 0 h 182"/>
                <a:gd name="T28" fmla="*/ 50 w 85"/>
                <a:gd name="T29" fmla="*/ 0 h 182"/>
                <a:gd name="T30" fmla="*/ 50 w 85"/>
                <a:gd name="T31" fmla="*/ 46 h 182"/>
                <a:gd name="T32" fmla="*/ 80 w 85"/>
                <a:gd name="T33" fmla="*/ 46 h 182"/>
                <a:gd name="T34" fmla="*/ 80 w 85"/>
                <a:gd name="T35" fmla="*/ 57 h 182"/>
                <a:gd name="T36" fmla="*/ 50 w 85"/>
                <a:gd name="T37" fmla="*/ 57 h 182"/>
                <a:gd name="T38" fmla="*/ 50 w 85"/>
                <a:gd name="T39" fmla="*/ 151 h 182"/>
                <a:gd name="T40" fmla="*/ 54 w 85"/>
                <a:gd name="T41" fmla="*/ 161 h 182"/>
                <a:gd name="T42" fmla="*/ 64 w 85"/>
                <a:gd name="T43" fmla="*/ 166 h 182"/>
                <a:gd name="T44" fmla="*/ 73 w 85"/>
                <a:gd name="T45" fmla="*/ 163 h 182"/>
                <a:gd name="T46" fmla="*/ 79 w 85"/>
                <a:gd name="T47" fmla="*/ 158 h 182"/>
                <a:gd name="T48" fmla="*/ 85 w 85"/>
                <a:gd name="T49" fmla="*/ 16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5" h="182">
                  <a:moveTo>
                    <a:pt x="85" y="163"/>
                  </a:moveTo>
                  <a:cubicBezTo>
                    <a:pt x="82" y="169"/>
                    <a:pt x="77" y="174"/>
                    <a:pt x="71" y="177"/>
                  </a:cubicBezTo>
                  <a:cubicBezTo>
                    <a:pt x="65" y="181"/>
                    <a:pt x="58" y="182"/>
                    <a:pt x="50" y="182"/>
                  </a:cubicBezTo>
                  <a:cubicBezTo>
                    <a:pt x="45" y="182"/>
                    <a:pt x="41" y="182"/>
                    <a:pt x="38" y="180"/>
                  </a:cubicBezTo>
                  <a:cubicBezTo>
                    <a:pt x="35" y="179"/>
                    <a:pt x="32" y="177"/>
                    <a:pt x="30" y="174"/>
                  </a:cubicBezTo>
                  <a:cubicBezTo>
                    <a:pt x="28" y="171"/>
                    <a:pt x="26" y="168"/>
                    <a:pt x="25" y="164"/>
                  </a:cubicBezTo>
                  <a:cubicBezTo>
                    <a:pt x="24" y="160"/>
                    <a:pt x="23" y="156"/>
                    <a:pt x="23" y="151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8" y="51"/>
                    <a:pt x="14" y="49"/>
                    <a:pt x="19" y="46"/>
                  </a:cubicBezTo>
                  <a:cubicBezTo>
                    <a:pt x="23" y="44"/>
                    <a:pt x="27" y="40"/>
                    <a:pt x="30" y="36"/>
                  </a:cubicBezTo>
                  <a:cubicBezTo>
                    <a:pt x="34" y="31"/>
                    <a:pt x="36" y="25"/>
                    <a:pt x="38" y="19"/>
                  </a:cubicBezTo>
                  <a:cubicBezTo>
                    <a:pt x="39" y="13"/>
                    <a:pt x="41" y="7"/>
                    <a:pt x="4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50" y="155"/>
                    <a:pt x="51" y="159"/>
                    <a:pt x="54" y="161"/>
                  </a:cubicBezTo>
                  <a:cubicBezTo>
                    <a:pt x="57" y="164"/>
                    <a:pt x="60" y="166"/>
                    <a:pt x="64" y="166"/>
                  </a:cubicBezTo>
                  <a:cubicBezTo>
                    <a:pt x="67" y="166"/>
                    <a:pt x="70" y="165"/>
                    <a:pt x="73" y="163"/>
                  </a:cubicBezTo>
                  <a:cubicBezTo>
                    <a:pt x="75" y="162"/>
                    <a:pt x="77" y="160"/>
                    <a:pt x="79" y="158"/>
                  </a:cubicBezTo>
                  <a:lnTo>
                    <a:pt x="85" y="163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7" name="Freeform 23"/>
            <p:cNvSpPr>
              <a:spLocks noEditPoints="1"/>
            </p:cNvSpPr>
            <p:nvPr/>
          </p:nvSpPr>
          <p:spPr bwMode="auto">
            <a:xfrm>
              <a:off x="2742" y="3565"/>
              <a:ext cx="334" cy="330"/>
            </a:xfrm>
            <a:custGeom>
              <a:avLst/>
              <a:gdLst>
                <a:gd name="T0" fmla="*/ 71 w 141"/>
                <a:gd name="T1" fmla="*/ 139 h 139"/>
                <a:gd name="T2" fmla="*/ 42 w 141"/>
                <a:gd name="T3" fmla="*/ 134 h 139"/>
                <a:gd name="T4" fmla="*/ 20 w 141"/>
                <a:gd name="T5" fmla="*/ 119 h 139"/>
                <a:gd name="T6" fmla="*/ 5 w 141"/>
                <a:gd name="T7" fmla="*/ 98 h 139"/>
                <a:gd name="T8" fmla="*/ 0 w 141"/>
                <a:gd name="T9" fmla="*/ 71 h 139"/>
                <a:gd name="T10" fmla="*/ 5 w 141"/>
                <a:gd name="T11" fmla="*/ 44 h 139"/>
                <a:gd name="T12" fmla="*/ 20 w 141"/>
                <a:gd name="T13" fmla="*/ 21 h 139"/>
                <a:gd name="T14" fmla="*/ 42 w 141"/>
                <a:gd name="T15" fmla="*/ 6 h 139"/>
                <a:gd name="T16" fmla="*/ 71 w 141"/>
                <a:gd name="T17" fmla="*/ 0 h 139"/>
                <a:gd name="T18" fmla="*/ 99 w 141"/>
                <a:gd name="T19" fmla="*/ 5 h 139"/>
                <a:gd name="T20" fmla="*/ 121 w 141"/>
                <a:gd name="T21" fmla="*/ 19 h 139"/>
                <a:gd name="T22" fmla="*/ 136 w 141"/>
                <a:gd name="T23" fmla="*/ 40 h 139"/>
                <a:gd name="T24" fmla="*/ 141 w 141"/>
                <a:gd name="T25" fmla="*/ 66 h 139"/>
                <a:gd name="T26" fmla="*/ 136 w 141"/>
                <a:gd name="T27" fmla="*/ 94 h 139"/>
                <a:gd name="T28" fmla="*/ 121 w 141"/>
                <a:gd name="T29" fmla="*/ 118 h 139"/>
                <a:gd name="T30" fmla="*/ 99 w 141"/>
                <a:gd name="T31" fmla="*/ 134 h 139"/>
                <a:gd name="T32" fmla="*/ 71 w 141"/>
                <a:gd name="T33" fmla="*/ 139 h 139"/>
                <a:gd name="T34" fmla="*/ 76 w 141"/>
                <a:gd name="T35" fmla="*/ 129 h 139"/>
                <a:gd name="T36" fmla="*/ 90 w 141"/>
                <a:gd name="T37" fmla="*/ 125 h 139"/>
                <a:gd name="T38" fmla="*/ 101 w 141"/>
                <a:gd name="T39" fmla="*/ 115 h 139"/>
                <a:gd name="T40" fmla="*/ 109 w 141"/>
                <a:gd name="T41" fmla="*/ 99 h 139"/>
                <a:gd name="T42" fmla="*/ 111 w 141"/>
                <a:gd name="T43" fmla="*/ 80 h 139"/>
                <a:gd name="T44" fmla="*/ 109 w 141"/>
                <a:gd name="T45" fmla="*/ 52 h 139"/>
                <a:gd name="T46" fmla="*/ 101 w 141"/>
                <a:gd name="T47" fmla="*/ 30 h 139"/>
                <a:gd name="T48" fmla="*/ 86 w 141"/>
                <a:gd name="T49" fmla="*/ 15 h 139"/>
                <a:gd name="T50" fmla="*/ 64 w 141"/>
                <a:gd name="T51" fmla="*/ 10 h 139"/>
                <a:gd name="T52" fmla="*/ 51 w 141"/>
                <a:gd name="T53" fmla="*/ 14 h 139"/>
                <a:gd name="T54" fmla="*/ 40 w 141"/>
                <a:gd name="T55" fmla="*/ 24 h 139"/>
                <a:gd name="T56" fmla="*/ 33 w 141"/>
                <a:gd name="T57" fmla="*/ 40 h 139"/>
                <a:gd name="T58" fmla="*/ 30 w 141"/>
                <a:gd name="T59" fmla="*/ 59 h 139"/>
                <a:gd name="T60" fmla="*/ 33 w 141"/>
                <a:gd name="T61" fmla="*/ 87 h 139"/>
                <a:gd name="T62" fmla="*/ 42 w 141"/>
                <a:gd name="T63" fmla="*/ 109 h 139"/>
                <a:gd name="T64" fmla="*/ 56 w 141"/>
                <a:gd name="T65" fmla="*/ 124 h 139"/>
                <a:gd name="T66" fmla="*/ 76 w 141"/>
                <a:gd name="T67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1" h="139">
                  <a:moveTo>
                    <a:pt x="71" y="139"/>
                  </a:moveTo>
                  <a:cubicBezTo>
                    <a:pt x="60" y="139"/>
                    <a:pt x="51" y="138"/>
                    <a:pt x="42" y="134"/>
                  </a:cubicBezTo>
                  <a:cubicBezTo>
                    <a:pt x="34" y="131"/>
                    <a:pt x="26" y="126"/>
                    <a:pt x="20" y="119"/>
                  </a:cubicBezTo>
                  <a:cubicBezTo>
                    <a:pt x="14" y="113"/>
                    <a:pt x="9" y="106"/>
                    <a:pt x="5" y="98"/>
                  </a:cubicBezTo>
                  <a:cubicBezTo>
                    <a:pt x="2" y="90"/>
                    <a:pt x="0" y="81"/>
                    <a:pt x="0" y="71"/>
                  </a:cubicBezTo>
                  <a:cubicBezTo>
                    <a:pt x="0" y="61"/>
                    <a:pt x="2" y="52"/>
                    <a:pt x="5" y="44"/>
                  </a:cubicBezTo>
                  <a:cubicBezTo>
                    <a:pt x="9" y="35"/>
                    <a:pt x="14" y="27"/>
                    <a:pt x="20" y="21"/>
                  </a:cubicBezTo>
                  <a:cubicBezTo>
                    <a:pt x="26" y="15"/>
                    <a:pt x="34" y="9"/>
                    <a:pt x="42" y="6"/>
                  </a:cubicBezTo>
                  <a:cubicBezTo>
                    <a:pt x="51" y="2"/>
                    <a:pt x="60" y="0"/>
                    <a:pt x="71" y="0"/>
                  </a:cubicBezTo>
                  <a:cubicBezTo>
                    <a:pt x="81" y="0"/>
                    <a:pt x="90" y="2"/>
                    <a:pt x="99" y="5"/>
                  </a:cubicBezTo>
                  <a:cubicBezTo>
                    <a:pt x="108" y="9"/>
                    <a:pt x="115" y="13"/>
                    <a:pt x="121" y="19"/>
                  </a:cubicBezTo>
                  <a:cubicBezTo>
                    <a:pt x="128" y="25"/>
                    <a:pt x="133" y="32"/>
                    <a:pt x="136" y="40"/>
                  </a:cubicBezTo>
                  <a:cubicBezTo>
                    <a:pt x="140" y="48"/>
                    <a:pt x="141" y="57"/>
                    <a:pt x="141" y="66"/>
                  </a:cubicBezTo>
                  <a:cubicBezTo>
                    <a:pt x="141" y="76"/>
                    <a:pt x="140" y="85"/>
                    <a:pt x="136" y="94"/>
                  </a:cubicBezTo>
                  <a:cubicBezTo>
                    <a:pt x="133" y="103"/>
                    <a:pt x="128" y="111"/>
                    <a:pt x="121" y="118"/>
                  </a:cubicBezTo>
                  <a:cubicBezTo>
                    <a:pt x="115" y="124"/>
                    <a:pt x="108" y="130"/>
                    <a:pt x="99" y="134"/>
                  </a:cubicBezTo>
                  <a:cubicBezTo>
                    <a:pt x="90" y="137"/>
                    <a:pt x="81" y="139"/>
                    <a:pt x="71" y="139"/>
                  </a:cubicBezTo>
                  <a:moveTo>
                    <a:pt x="76" y="129"/>
                  </a:moveTo>
                  <a:cubicBezTo>
                    <a:pt x="81" y="129"/>
                    <a:pt x="86" y="128"/>
                    <a:pt x="90" y="125"/>
                  </a:cubicBezTo>
                  <a:cubicBezTo>
                    <a:pt x="94" y="123"/>
                    <a:pt x="98" y="119"/>
                    <a:pt x="101" y="115"/>
                  </a:cubicBezTo>
                  <a:cubicBezTo>
                    <a:pt x="105" y="110"/>
                    <a:pt x="107" y="105"/>
                    <a:pt x="109" y="99"/>
                  </a:cubicBezTo>
                  <a:cubicBezTo>
                    <a:pt x="111" y="93"/>
                    <a:pt x="111" y="86"/>
                    <a:pt x="111" y="80"/>
                  </a:cubicBezTo>
                  <a:cubicBezTo>
                    <a:pt x="111" y="70"/>
                    <a:pt x="111" y="61"/>
                    <a:pt x="109" y="52"/>
                  </a:cubicBezTo>
                  <a:cubicBezTo>
                    <a:pt x="107" y="44"/>
                    <a:pt x="105" y="37"/>
                    <a:pt x="101" y="30"/>
                  </a:cubicBezTo>
                  <a:cubicBezTo>
                    <a:pt x="97" y="24"/>
                    <a:pt x="92" y="19"/>
                    <a:pt x="86" y="15"/>
                  </a:cubicBezTo>
                  <a:cubicBezTo>
                    <a:pt x="80" y="12"/>
                    <a:pt x="73" y="10"/>
                    <a:pt x="64" y="10"/>
                  </a:cubicBezTo>
                  <a:cubicBezTo>
                    <a:pt x="60" y="10"/>
                    <a:pt x="55" y="11"/>
                    <a:pt x="51" y="14"/>
                  </a:cubicBezTo>
                  <a:cubicBezTo>
                    <a:pt x="47" y="16"/>
                    <a:pt x="43" y="20"/>
                    <a:pt x="40" y="24"/>
                  </a:cubicBezTo>
                  <a:cubicBezTo>
                    <a:pt x="37" y="29"/>
                    <a:pt x="34" y="34"/>
                    <a:pt x="33" y="40"/>
                  </a:cubicBezTo>
                  <a:cubicBezTo>
                    <a:pt x="31" y="46"/>
                    <a:pt x="30" y="52"/>
                    <a:pt x="30" y="59"/>
                  </a:cubicBezTo>
                  <a:cubicBezTo>
                    <a:pt x="30" y="69"/>
                    <a:pt x="31" y="78"/>
                    <a:pt x="33" y="87"/>
                  </a:cubicBezTo>
                  <a:cubicBezTo>
                    <a:pt x="35" y="95"/>
                    <a:pt x="38" y="103"/>
                    <a:pt x="42" y="109"/>
                  </a:cubicBezTo>
                  <a:cubicBezTo>
                    <a:pt x="46" y="115"/>
                    <a:pt x="51" y="120"/>
                    <a:pt x="56" y="124"/>
                  </a:cubicBezTo>
                  <a:cubicBezTo>
                    <a:pt x="62" y="128"/>
                    <a:pt x="68" y="129"/>
                    <a:pt x="76" y="129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8" name="Freeform 24"/>
            <p:cNvSpPr>
              <a:spLocks noEditPoints="1"/>
            </p:cNvSpPr>
            <p:nvPr/>
          </p:nvSpPr>
          <p:spPr bwMode="auto">
            <a:xfrm>
              <a:off x="3123" y="3565"/>
              <a:ext cx="337" cy="330"/>
            </a:xfrm>
            <a:custGeom>
              <a:avLst/>
              <a:gdLst>
                <a:gd name="T0" fmla="*/ 71 w 142"/>
                <a:gd name="T1" fmla="*/ 139 h 139"/>
                <a:gd name="T2" fmla="*/ 43 w 142"/>
                <a:gd name="T3" fmla="*/ 134 h 139"/>
                <a:gd name="T4" fmla="*/ 20 w 142"/>
                <a:gd name="T5" fmla="*/ 119 h 139"/>
                <a:gd name="T6" fmla="*/ 6 w 142"/>
                <a:gd name="T7" fmla="*/ 98 h 139"/>
                <a:gd name="T8" fmla="*/ 0 w 142"/>
                <a:gd name="T9" fmla="*/ 71 h 139"/>
                <a:gd name="T10" fmla="*/ 6 w 142"/>
                <a:gd name="T11" fmla="*/ 44 h 139"/>
                <a:gd name="T12" fmla="*/ 20 w 142"/>
                <a:gd name="T13" fmla="*/ 21 h 139"/>
                <a:gd name="T14" fmla="*/ 43 w 142"/>
                <a:gd name="T15" fmla="*/ 6 h 139"/>
                <a:gd name="T16" fmla="*/ 71 w 142"/>
                <a:gd name="T17" fmla="*/ 0 h 139"/>
                <a:gd name="T18" fmla="*/ 99 w 142"/>
                <a:gd name="T19" fmla="*/ 5 h 139"/>
                <a:gd name="T20" fmla="*/ 122 w 142"/>
                <a:gd name="T21" fmla="*/ 19 h 139"/>
                <a:gd name="T22" fmla="*/ 136 w 142"/>
                <a:gd name="T23" fmla="*/ 40 h 139"/>
                <a:gd name="T24" fmla="*/ 142 w 142"/>
                <a:gd name="T25" fmla="*/ 66 h 139"/>
                <a:gd name="T26" fmla="*/ 136 w 142"/>
                <a:gd name="T27" fmla="*/ 94 h 139"/>
                <a:gd name="T28" fmla="*/ 122 w 142"/>
                <a:gd name="T29" fmla="*/ 118 h 139"/>
                <a:gd name="T30" fmla="*/ 99 w 142"/>
                <a:gd name="T31" fmla="*/ 134 h 139"/>
                <a:gd name="T32" fmla="*/ 71 w 142"/>
                <a:gd name="T33" fmla="*/ 139 h 139"/>
                <a:gd name="T34" fmla="*/ 76 w 142"/>
                <a:gd name="T35" fmla="*/ 129 h 139"/>
                <a:gd name="T36" fmla="*/ 90 w 142"/>
                <a:gd name="T37" fmla="*/ 125 h 139"/>
                <a:gd name="T38" fmla="*/ 102 w 142"/>
                <a:gd name="T39" fmla="*/ 115 h 139"/>
                <a:gd name="T40" fmla="*/ 109 w 142"/>
                <a:gd name="T41" fmla="*/ 99 h 139"/>
                <a:gd name="T42" fmla="*/ 112 w 142"/>
                <a:gd name="T43" fmla="*/ 80 h 139"/>
                <a:gd name="T44" fmla="*/ 109 w 142"/>
                <a:gd name="T45" fmla="*/ 52 h 139"/>
                <a:gd name="T46" fmla="*/ 101 w 142"/>
                <a:gd name="T47" fmla="*/ 30 h 139"/>
                <a:gd name="T48" fmla="*/ 87 w 142"/>
                <a:gd name="T49" fmla="*/ 15 h 139"/>
                <a:gd name="T50" fmla="*/ 65 w 142"/>
                <a:gd name="T51" fmla="*/ 10 h 139"/>
                <a:gd name="T52" fmla="*/ 52 w 142"/>
                <a:gd name="T53" fmla="*/ 14 h 139"/>
                <a:gd name="T54" fmla="*/ 41 w 142"/>
                <a:gd name="T55" fmla="*/ 24 h 139"/>
                <a:gd name="T56" fmla="*/ 33 w 142"/>
                <a:gd name="T57" fmla="*/ 40 h 139"/>
                <a:gd name="T58" fmla="*/ 30 w 142"/>
                <a:gd name="T59" fmla="*/ 59 h 139"/>
                <a:gd name="T60" fmla="*/ 33 w 142"/>
                <a:gd name="T61" fmla="*/ 87 h 139"/>
                <a:gd name="T62" fmla="*/ 42 w 142"/>
                <a:gd name="T63" fmla="*/ 109 h 139"/>
                <a:gd name="T64" fmla="*/ 57 w 142"/>
                <a:gd name="T65" fmla="*/ 124 h 139"/>
                <a:gd name="T66" fmla="*/ 76 w 142"/>
                <a:gd name="T67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2" h="139">
                  <a:moveTo>
                    <a:pt x="71" y="139"/>
                  </a:moveTo>
                  <a:cubicBezTo>
                    <a:pt x="61" y="139"/>
                    <a:pt x="51" y="138"/>
                    <a:pt x="43" y="134"/>
                  </a:cubicBezTo>
                  <a:cubicBezTo>
                    <a:pt x="34" y="131"/>
                    <a:pt x="27" y="126"/>
                    <a:pt x="20" y="119"/>
                  </a:cubicBezTo>
                  <a:cubicBezTo>
                    <a:pt x="14" y="113"/>
                    <a:pt x="9" y="106"/>
                    <a:pt x="6" y="98"/>
                  </a:cubicBezTo>
                  <a:cubicBezTo>
                    <a:pt x="2" y="90"/>
                    <a:pt x="0" y="81"/>
                    <a:pt x="0" y="71"/>
                  </a:cubicBezTo>
                  <a:cubicBezTo>
                    <a:pt x="0" y="61"/>
                    <a:pt x="2" y="52"/>
                    <a:pt x="6" y="44"/>
                  </a:cubicBezTo>
                  <a:cubicBezTo>
                    <a:pt x="9" y="35"/>
                    <a:pt x="14" y="27"/>
                    <a:pt x="20" y="21"/>
                  </a:cubicBezTo>
                  <a:cubicBezTo>
                    <a:pt x="27" y="15"/>
                    <a:pt x="34" y="9"/>
                    <a:pt x="43" y="6"/>
                  </a:cubicBezTo>
                  <a:cubicBezTo>
                    <a:pt x="51" y="2"/>
                    <a:pt x="61" y="0"/>
                    <a:pt x="71" y="0"/>
                  </a:cubicBezTo>
                  <a:cubicBezTo>
                    <a:pt x="81" y="0"/>
                    <a:pt x="91" y="2"/>
                    <a:pt x="99" y="5"/>
                  </a:cubicBezTo>
                  <a:cubicBezTo>
                    <a:pt x="108" y="9"/>
                    <a:pt x="115" y="13"/>
                    <a:pt x="122" y="19"/>
                  </a:cubicBezTo>
                  <a:cubicBezTo>
                    <a:pt x="128" y="25"/>
                    <a:pt x="133" y="32"/>
                    <a:pt x="136" y="40"/>
                  </a:cubicBezTo>
                  <a:cubicBezTo>
                    <a:pt x="140" y="48"/>
                    <a:pt x="142" y="57"/>
                    <a:pt x="142" y="66"/>
                  </a:cubicBezTo>
                  <a:cubicBezTo>
                    <a:pt x="142" y="76"/>
                    <a:pt x="140" y="85"/>
                    <a:pt x="136" y="94"/>
                  </a:cubicBezTo>
                  <a:cubicBezTo>
                    <a:pt x="133" y="103"/>
                    <a:pt x="128" y="111"/>
                    <a:pt x="122" y="118"/>
                  </a:cubicBezTo>
                  <a:cubicBezTo>
                    <a:pt x="115" y="124"/>
                    <a:pt x="108" y="130"/>
                    <a:pt x="99" y="134"/>
                  </a:cubicBezTo>
                  <a:cubicBezTo>
                    <a:pt x="91" y="137"/>
                    <a:pt x="81" y="139"/>
                    <a:pt x="71" y="139"/>
                  </a:cubicBezTo>
                  <a:moveTo>
                    <a:pt x="76" y="129"/>
                  </a:moveTo>
                  <a:cubicBezTo>
                    <a:pt x="81" y="129"/>
                    <a:pt x="86" y="128"/>
                    <a:pt x="90" y="125"/>
                  </a:cubicBezTo>
                  <a:cubicBezTo>
                    <a:pt x="95" y="123"/>
                    <a:pt x="98" y="119"/>
                    <a:pt x="102" y="115"/>
                  </a:cubicBezTo>
                  <a:cubicBezTo>
                    <a:pt x="105" y="110"/>
                    <a:pt x="107" y="105"/>
                    <a:pt x="109" y="99"/>
                  </a:cubicBezTo>
                  <a:cubicBezTo>
                    <a:pt x="111" y="93"/>
                    <a:pt x="112" y="86"/>
                    <a:pt x="112" y="80"/>
                  </a:cubicBezTo>
                  <a:cubicBezTo>
                    <a:pt x="112" y="70"/>
                    <a:pt x="111" y="61"/>
                    <a:pt x="109" y="52"/>
                  </a:cubicBezTo>
                  <a:cubicBezTo>
                    <a:pt x="108" y="44"/>
                    <a:pt x="105" y="37"/>
                    <a:pt x="101" y="30"/>
                  </a:cubicBezTo>
                  <a:cubicBezTo>
                    <a:pt x="97" y="24"/>
                    <a:pt x="93" y="19"/>
                    <a:pt x="87" y="15"/>
                  </a:cubicBezTo>
                  <a:cubicBezTo>
                    <a:pt x="81" y="12"/>
                    <a:pt x="73" y="10"/>
                    <a:pt x="65" y="10"/>
                  </a:cubicBezTo>
                  <a:cubicBezTo>
                    <a:pt x="60" y="10"/>
                    <a:pt x="56" y="11"/>
                    <a:pt x="52" y="14"/>
                  </a:cubicBezTo>
                  <a:cubicBezTo>
                    <a:pt x="47" y="16"/>
                    <a:pt x="44" y="20"/>
                    <a:pt x="41" y="24"/>
                  </a:cubicBezTo>
                  <a:cubicBezTo>
                    <a:pt x="37" y="29"/>
                    <a:pt x="35" y="34"/>
                    <a:pt x="33" y="40"/>
                  </a:cubicBezTo>
                  <a:cubicBezTo>
                    <a:pt x="31" y="46"/>
                    <a:pt x="30" y="52"/>
                    <a:pt x="30" y="59"/>
                  </a:cubicBezTo>
                  <a:cubicBezTo>
                    <a:pt x="30" y="69"/>
                    <a:pt x="31" y="78"/>
                    <a:pt x="33" y="87"/>
                  </a:cubicBezTo>
                  <a:cubicBezTo>
                    <a:pt x="35" y="95"/>
                    <a:pt x="38" y="103"/>
                    <a:pt x="42" y="109"/>
                  </a:cubicBezTo>
                  <a:cubicBezTo>
                    <a:pt x="46" y="115"/>
                    <a:pt x="51" y="120"/>
                    <a:pt x="57" y="124"/>
                  </a:cubicBezTo>
                  <a:cubicBezTo>
                    <a:pt x="62" y="128"/>
                    <a:pt x="69" y="129"/>
                    <a:pt x="76" y="129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9" name="Freeform 25"/>
            <p:cNvSpPr>
              <a:spLocks/>
            </p:cNvSpPr>
            <p:nvPr/>
          </p:nvSpPr>
          <p:spPr bwMode="auto">
            <a:xfrm>
              <a:off x="3522" y="3408"/>
              <a:ext cx="64" cy="483"/>
            </a:xfrm>
            <a:custGeom>
              <a:avLst/>
              <a:gdLst>
                <a:gd name="T0" fmla="*/ 64 w 64"/>
                <a:gd name="T1" fmla="*/ 483 h 483"/>
                <a:gd name="T2" fmla="*/ 0 w 64"/>
                <a:gd name="T3" fmla="*/ 483 h 483"/>
                <a:gd name="T4" fmla="*/ 0 w 64"/>
                <a:gd name="T5" fmla="*/ 19 h 483"/>
                <a:gd name="T6" fmla="*/ 45 w 64"/>
                <a:gd name="T7" fmla="*/ 0 h 483"/>
                <a:gd name="T8" fmla="*/ 64 w 64"/>
                <a:gd name="T9" fmla="*/ 0 h 483"/>
                <a:gd name="T10" fmla="*/ 64 w 64"/>
                <a:gd name="T11" fmla="*/ 483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483">
                  <a:moveTo>
                    <a:pt x="64" y="483"/>
                  </a:moveTo>
                  <a:lnTo>
                    <a:pt x="0" y="483"/>
                  </a:lnTo>
                  <a:lnTo>
                    <a:pt x="0" y="19"/>
                  </a:lnTo>
                  <a:lnTo>
                    <a:pt x="45" y="0"/>
                  </a:lnTo>
                  <a:lnTo>
                    <a:pt x="64" y="0"/>
                  </a:lnTo>
                  <a:lnTo>
                    <a:pt x="64" y="483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0" name="Freeform 26"/>
            <p:cNvSpPr>
              <a:spLocks/>
            </p:cNvSpPr>
            <p:nvPr/>
          </p:nvSpPr>
          <p:spPr bwMode="auto">
            <a:xfrm>
              <a:off x="3647" y="3565"/>
              <a:ext cx="237" cy="330"/>
            </a:xfrm>
            <a:custGeom>
              <a:avLst/>
              <a:gdLst>
                <a:gd name="T0" fmla="*/ 49 w 100"/>
                <a:gd name="T1" fmla="*/ 130 h 139"/>
                <a:gd name="T2" fmla="*/ 59 w 100"/>
                <a:gd name="T3" fmla="*/ 129 h 139"/>
                <a:gd name="T4" fmla="*/ 67 w 100"/>
                <a:gd name="T5" fmla="*/ 124 h 139"/>
                <a:gd name="T6" fmla="*/ 72 w 100"/>
                <a:gd name="T7" fmla="*/ 118 h 139"/>
                <a:gd name="T8" fmla="*/ 74 w 100"/>
                <a:gd name="T9" fmla="*/ 110 h 139"/>
                <a:gd name="T10" fmla="*/ 71 w 100"/>
                <a:gd name="T11" fmla="*/ 100 h 139"/>
                <a:gd name="T12" fmla="*/ 63 w 100"/>
                <a:gd name="T13" fmla="*/ 92 h 139"/>
                <a:gd name="T14" fmla="*/ 51 w 100"/>
                <a:gd name="T15" fmla="*/ 85 h 139"/>
                <a:gd name="T16" fmla="*/ 38 w 100"/>
                <a:gd name="T17" fmla="*/ 79 h 139"/>
                <a:gd name="T18" fmla="*/ 25 w 100"/>
                <a:gd name="T19" fmla="*/ 72 h 139"/>
                <a:gd name="T20" fmla="*/ 14 w 100"/>
                <a:gd name="T21" fmla="*/ 63 h 139"/>
                <a:gd name="T22" fmla="*/ 5 w 100"/>
                <a:gd name="T23" fmla="*/ 52 h 139"/>
                <a:gd name="T24" fmla="*/ 2 w 100"/>
                <a:gd name="T25" fmla="*/ 37 h 139"/>
                <a:gd name="T26" fmla="*/ 6 w 100"/>
                <a:gd name="T27" fmla="*/ 22 h 139"/>
                <a:gd name="T28" fmla="*/ 15 w 100"/>
                <a:gd name="T29" fmla="*/ 11 h 139"/>
                <a:gd name="T30" fmla="*/ 30 w 100"/>
                <a:gd name="T31" fmla="*/ 3 h 139"/>
                <a:gd name="T32" fmla="*/ 48 w 100"/>
                <a:gd name="T33" fmla="*/ 0 h 139"/>
                <a:gd name="T34" fmla="*/ 61 w 100"/>
                <a:gd name="T35" fmla="*/ 1 h 139"/>
                <a:gd name="T36" fmla="*/ 72 w 100"/>
                <a:gd name="T37" fmla="*/ 5 h 139"/>
                <a:gd name="T38" fmla="*/ 83 w 100"/>
                <a:gd name="T39" fmla="*/ 12 h 139"/>
                <a:gd name="T40" fmla="*/ 95 w 100"/>
                <a:gd name="T41" fmla="*/ 25 h 139"/>
                <a:gd name="T42" fmla="*/ 85 w 100"/>
                <a:gd name="T43" fmla="*/ 34 h 139"/>
                <a:gd name="T44" fmla="*/ 68 w 100"/>
                <a:gd name="T45" fmla="*/ 15 h 139"/>
                <a:gd name="T46" fmla="*/ 48 w 100"/>
                <a:gd name="T47" fmla="*/ 9 h 139"/>
                <a:gd name="T48" fmla="*/ 37 w 100"/>
                <a:gd name="T49" fmla="*/ 10 h 139"/>
                <a:gd name="T50" fmla="*/ 29 w 100"/>
                <a:gd name="T51" fmla="*/ 14 h 139"/>
                <a:gd name="T52" fmla="*/ 24 w 100"/>
                <a:gd name="T53" fmla="*/ 20 h 139"/>
                <a:gd name="T54" fmla="*/ 22 w 100"/>
                <a:gd name="T55" fmla="*/ 27 h 139"/>
                <a:gd name="T56" fmla="*/ 26 w 100"/>
                <a:gd name="T57" fmla="*/ 37 h 139"/>
                <a:gd name="T58" fmla="*/ 34 w 100"/>
                <a:gd name="T59" fmla="*/ 45 h 139"/>
                <a:gd name="T60" fmla="*/ 47 w 100"/>
                <a:gd name="T61" fmla="*/ 52 h 139"/>
                <a:gd name="T62" fmla="*/ 61 w 100"/>
                <a:gd name="T63" fmla="*/ 58 h 139"/>
                <a:gd name="T64" fmla="*/ 75 w 100"/>
                <a:gd name="T65" fmla="*/ 65 h 139"/>
                <a:gd name="T66" fmla="*/ 88 w 100"/>
                <a:gd name="T67" fmla="*/ 73 h 139"/>
                <a:gd name="T68" fmla="*/ 97 w 100"/>
                <a:gd name="T69" fmla="*/ 84 h 139"/>
                <a:gd name="T70" fmla="*/ 100 w 100"/>
                <a:gd name="T71" fmla="*/ 99 h 139"/>
                <a:gd name="T72" fmla="*/ 97 w 100"/>
                <a:gd name="T73" fmla="*/ 115 h 139"/>
                <a:gd name="T74" fmla="*/ 87 w 100"/>
                <a:gd name="T75" fmla="*/ 128 h 139"/>
                <a:gd name="T76" fmla="*/ 71 w 100"/>
                <a:gd name="T77" fmla="*/ 136 h 139"/>
                <a:gd name="T78" fmla="*/ 49 w 100"/>
                <a:gd name="T79" fmla="*/ 139 h 139"/>
                <a:gd name="T80" fmla="*/ 37 w 100"/>
                <a:gd name="T81" fmla="*/ 138 h 139"/>
                <a:gd name="T82" fmla="*/ 25 w 100"/>
                <a:gd name="T83" fmla="*/ 135 h 139"/>
                <a:gd name="T84" fmla="*/ 12 w 100"/>
                <a:gd name="T85" fmla="*/ 127 h 139"/>
                <a:gd name="T86" fmla="*/ 0 w 100"/>
                <a:gd name="T87" fmla="*/ 115 h 139"/>
                <a:gd name="T88" fmla="*/ 10 w 100"/>
                <a:gd name="T89" fmla="*/ 105 h 139"/>
                <a:gd name="T90" fmla="*/ 20 w 100"/>
                <a:gd name="T91" fmla="*/ 116 h 139"/>
                <a:gd name="T92" fmla="*/ 29 w 100"/>
                <a:gd name="T93" fmla="*/ 124 h 139"/>
                <a:gd name="T94" fmla="*/ 38 w 100"/>
                <a:gd name="T95" fmla="*/ 129 h 139"/>
                <a:gd name="T96" fmla="*/ 49 w 100"/>
                <a:gd name="T97" fmla="*/ 13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0" h="139">
                  <a:moveTo>
                    <a:pt x="49" y="130"/>
                  </a:moveTo>
                  <a:cubicBezTo>
                    <a:pt x="53" y="130"/>
                    <a:pt x="56" y="130"/>
                    <a:pt x="59" y="129"/>
                  </a:cubicBezTo>
                  <a:cubicBezTo>
                    <a:pt x="62" y="127"/>
                    <a:pt x="65" y="126"/>
                    <a:pt x="67" y="124"/>
                  </a:cubicBezTo>
                  <a:cubicBezTo>
                    <a:pt x="69" y="122"/>
                    <a:pt x="71" y="120"/>
                    <a:pt x="72" y="118"/>
                  </a:cubicBezTo>
                  <a:cubicBezTo>
                    <a:pt x="73" y="115"/>
                    <a:pt x="74" y="113"/>
                    <a:pt x="74" y="110"/>
                  </a:cubicBezTo>
                  <a:cubicBezTo>
                    <a:pt x="74" y="106"/>
                    <a:pt x="73" y="103"/>
                    <a:pt x="71" y="100"/>
                  </a:cubicBezTo>
                  <a:cubicBezTo>
                    <a:pt x="69" y="97"/>
                    <a:pt x="66" y="94"/>
                    <a:pt x="63" y="92"/>
                  </a:cubicBezTo>
                  <a:cubicBezTo>
                    <a:pt x="59" y="89"/>
                    <a:pt x="56" y="87"/>
                    <a:pt x="51" y="85"/>
                  </a:cubicBezTo>
                  <a:cubicBezTo>
                    <a:pt x="47" y="83"/>
                    <a:pt x="43" y="81"/>
                    <a:pt x="38" y="79"/>
                  </a:cubicBezTo>
                  <a:cubicBezTo>
                    <a:pt x="34" y="77"/>
                    <a:pt x="29" y="74"/>
                    <a:pt x="25" y="72"/>
                  </a:cubicBezTo>
                  <a:cubicBezTo>
                    <a:pt x="21" y="70"/>
                    <a:pt x="17" y="67"/>
                    <a:pt x="14" y="63"/>
                  </a:cubicBezTo>
                  <a:cubicBezTo>
                    <a:pt x="10" y="60"/>
                    <a:pt x="8" y="57"/>
                    <a:pt x="5" y="52"/>
                  </a:cubicBezTo>
                  <a:cubicBezTo>
                    <a:pt x="3" y="48"/>
                    <a:pt x="2" y="43"/>
                    <a:pt x="2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5" y="11"/>
                  </a:cubicBezTo>
                  <a:cubicBezTo>
                    <a:pt x="19" y="7"/>
                    <a:pt x="24" y="5"/>
                    <a:pt x="30" y="3"/>
                  </a:cubicBezTo>
                  <a:cubicBezTo>
                    <a:pt x="35" y="1"/>
                    <a:pt x="41" y="0"/>
                    <a:pt x="48" y="0"/>
                  </a:cubicBezTo>
                  <a:cubicBezTo>
                    <a:pt x="52" y="0"/>
                    <a:pt x="57" y="0"/>
                    <a:pt x="61" y="1"/>
                  </a:cubicBezTo>
                  <a:cubicBezTo>
                    <a:pt x="64" y="2"/>
                    <a:pt x="68" y="3"/>
                    <a:pt x="72" y="5"/>
                  </a:cubicBezTo>
                  <a:cubicBezTo>
                    <a:pt x="76" y="6"/>
                    <a:pt x="79" y="9"/>
                    <a:pt x="83" y="12"/>
                  </a:cubicBezTo>
                  <a:cubicBezTo>
                    <a:pt x="87" y="15"/>
                    <a:pt x="90" y="20"/>
                    <a:pt x="95" y="25"/>
                  </a:cubicBezTo>
                  <a:cubicBezTo>
                    <a:pt x="85" y="34"/>
                    <a:pt x="85" y="34"/>
                    <a:pt x="85" y="34"/>
                  </a:cubicBezTo>
                  <a:cubicBezTo>
                    <a:pt x="80" y="25"/>
                    <a:pt x="74" y="19"/>
                    <a:pt x="68" y="15"/>
                  </a:cubicBezTo>
                  <a:cubicBezTo>
                    <a:pt x="61" y="11"/>
                    <a:pt x="55" y="9"/>
                    <a:pt x="48" y="9"/>
                  </a:cubicBezTo>
                  <a:cubicBezTo>
                    <a:pt x="44" y="9"/>
                    <a:pt x="40" y="9"/>
                    <a:pt x="37" y="10"/>
                  </a:cubicBezTo>
                  <a:cubicBezTo>
                    <a:pt x="34" y="11"/>
                    <a:pt x="31" y="13"/>
                    <a:pt x="29" y="14"/>
                  </a:cubicBezTo>
                  <a:cubicBezTo>
                    <a:pt x="27" y="16"/>
                    <a:pt x="25" y="18"/>
                    <a:pt x="24" y="20"/>
                  </a:cubicBezTo>
                  <a:cubicBezTo>
                    <a:pt x="23" y="22"/>
                    <a:pt x="22" y="24"/>
                    <a:pt x="22" y="27"/>
                  </a:cubicBezTo>
                  <a:cubicBezTo>
                    <a:pt x="22" y="31"/>
                    <a:pt x="23" y="34"/>
                    <a:pt x="26" y="37"/>
                  </a:cubicBezTo>
                  <a:cubicBezTo>
                    <a:pt x="28" y="40"/>
                    <a:pt x="31" y="43"/>
                    <a:pt x="34" y="45"/>
                  </a:cubicBezTo>
                  <a:cubicBezTo>
                    <a:pt x="38" y="48"/>
                    <a:pt x="42" y="50"/>
                    <a:pt x="47" y="52"/>
                  </a:cubicBezTo>
                  <a:cubicBezTo>
                    <a:pt x="51" y="54"/>
                    <a:pt x="56" y="56"/>
                    <a:pt x="61" y="58"/>
                  </a:cubicBezTo>
                  <a:cubicBezTo>
                    <a:pt x="66" y="60"/>
                    <a:pt x="71" y="62"/>
                    <a:pt x="75" y="65"/>
                  </a:cubicBezTo>
                  <a:cubicBezTo>
                    <a:pt x="80" y="67"/>
                    <a:pt x="84" y="70"/>
                    <a:pt x="88" y="73"/>
                  </a:cubicBezTo>
                  <a:cubicBezTo>
                    <a:pt x="91" y="77"/>
                    <a:pt x="94" y="80"/>
                    <a:pt x="97" y="84"/>
                  </a:cubicBezTo>
                  <a:cubicBezTo>
                    <a:pt x="99" y="89"/>
                    <a:pt x="100" y="93"/>
                    <a:pt x="100" y="99"/>
                  </a:cubicBezTo>
                  <a:cubicBezTo>
                    <a:pt x="100" y="105"/>
                    <a:pt x="99" y="110"/>
                    <a:pt x="97" y="115"/>
                  </a:cubicBezTo>
                  <a:cubicBezTo>
                    <a:pt x="95" y="120"/>
                    <a:pt x="92" y="124"/>
                    <a:pt x="87" y="128"/>
                  </a:cubicBezTo>
                  <a:cubicBezTo>
                    <a:pt x="83" y="131"/>
                    <a:pt x="78" y="134"/>
                    <a:pt x="71" y="136"/>
                  </a:cubicBezTo>
                  <a:cubicBezTo>
                    <a:pt x="65" y="138"/>
                    <a:pt x="58" y="139"/>
                    <a:pt x="49" y="139"/>
                  </a:cubicBezTo>
                  <a:cubicBezTo>
                    <a:pt x="45" y="139"/>
                    <a:pt x="41" y="139"/>
                    <a:pt x="37" y="138"/>
                  </a:cubicBezTo>
                  <a:cubicBezTo>
                    <a:pt x="33" y="138"/>
                    <a:pt x="29" y="137"/>
                    <a:pt x="25" y="135"/>
                  </a:cubicBezTo>
                  <a:cubicBezTo>
                    <a:pt x="20" y="133"/>
                    <a:pt x="16" y="131"/>
                    <a:pt x="12" y="127"/>
                  </a:cubicBezTo>
                  <a:cubicBezTo>
                    <a:pt x="8" y="124"/>
                    <a:pt x="4" y="120"/>
                    <a:pt x="0" y="115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14" y="109"/>
                    <a:pt x="17" y="113"/>
                    <a:pt x="20" y="116"/>
                  </a:cubicBezTo>
                  <a:cubicBezTo>
                    <a:pt x="23" y="120"/>
                    <a:pt x="26" y="122"/>
                    <a:pt x="29" y="124"/>
                  </a:cubicBezTo>
                  <a:cubicBezTo>
                    <a:pt x="32" y="126"/>
                    <a:pt x="35" y="128"/>
                    <a:pt x="38" y="129"/>
                  </a:cubicBezTo>
                  <a:cubicBezTo>
                    <a:pt x="42" y="130"/>
                    <a:pt x="45" y="130"/>
                    <a:pt x="49" y="130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3826987" y="359266"/>
            <a:ext cx="660852" cy="673216"/>
            <a:chOff x="-1350" y="3305"/>
            <a:chExt cx="1176" cy="1198"/>
          </a:xfrm>
        </p:grpSpPr>
        <p:sp>
          <p:nvSpPr>
            <p:cNvPr id="22" name="Freeform 5"/>
            <p:cNvSpPr>
              <a:spLocks noEditPoints="1"/>
            </p:cNvSpPr>
            <p:nvPr/>
          </p:nvSpPr>
          <p:spPr bwMode="auto">
            <a:xfrm>
              <a:off x="-1246" y="3517"/>
              <a:ext cx="967" cy="986"/>
            </a:xfrm>
            <a:custGeom>
              <a:avLst/>
              <a:gdLst>
                <a:gd name="T0" fmla="*/ 967 w 967"/>
                <a:gd name="T1" fmla="*/ 986 h 986"/>
                <a:gd name="T2" fmla="*/ 0 w 967"/>
                <a:gd name="T3" fmla="*/ 986 h 986"/>
                <a:gd name="T4" fmla="*/ 0 w 967"/>
                <a:gd name="T5" fmla="*/ 0 h 986"/>
                <a:gd name="T6" fmla="*/ 967 w 967"/>
                <a:gd name="T7" fmla="*/ 0 h 986"/>
                <a:gd name="T8" fmla="*/ 967 w 967"/>
                <a:gd name="T9" fmla="*/ 986 h 986"/>
                <a:gd name="T10" fmla="*/ 12 w 967"/>
                <a:gd name="T11" fmla="*/ 974 h 986"/>
                <a:gd name="T12" fmla="*/ 953 w 967"/>
                <a:gd name="T13" fmla="*/ 974 h 986"/>
                <a:gd name="T14" fmla="*/ 953 w 967"/>
                <a:gd name="T15" fmla="*/ 14 h 986"/>
                <a:gd name="T16" fmla="*/ 12 w 967"/>
                <a:gd name="T17" fmla="*/ 14 h 986"/>
                <a:gd name="T18" fmla="*/ 12 w 967"/>
                <a:gd name="T19" fmla="*/ 974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7" h="986">
                  <a:moveTo>
                    <a:pt x="967" y="986"/>
                  </a:moveTo>
                  <a:lnTo>
                    <a:pt x="0" y="986"/>
                  </a:lnTo>
                  <a:lnTo>
                    <a:pt x="0" y="0"/>
                  </a:lnTo>
                  <a:lnTo>
                    <a:pt x="967" y="0"/>
                  </a:lnTo>
                  <a:lnTo>
                    <a:pt x="967" y="986"/>
                  </a:lnTo>
                  <a:close/>
                  <a:moveTo>
                    <a:pt x="12" y="974"/>
                  </a:moveTo>
                  <a:lnTo>
                    <a:pt x="953" y="974"/>
                  </a:lnTo>
                  <a:lnTo>
                    <a:pt x="953" y="14"/>
                  </a:lnTo>
                  <a:lnTo>
                    <a:pt x="12" y="14"/>
                  </a:lnTo>
                  <a:lnTo>
                    <a:pt x="12" y="974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3" name="Freeform 6"/>
            <p:cNvSpPr>
              <a:spLocks noEditPoints="1"/>
            </p:cNvSpPr>
            <p:nvPr/>
          </p:nvSpPr>
          <p:spPr bwMode="auto">
            <a:xfrm>
              <a:off x="-1350" y="3305"/>
              <a:ext cx="1176" cy="1179"/>
            </a:xfrm>
            <a:custGeom>
              <a:avLst/>
              <a:gdLst>
                <a:gd name="T0" fmla="*/ 248 w 495"/>
                <a:gd name="T1" fmla="*/ 496 h 496"/>
                <a:gd name="T2" fmla="*/ 0 w 495"/>
                <a:gd name="T3" fmla="*/ 248 h 496"/>
                <a:gd name="T4" fmla="*/ 248 w 495"/>
                <a:gd name="T5" fmla="*/ 0 h 496"/>
                <a:gd name="T6" fmla="*/ 495 w 495"/>
                <a:gd name="T7" fmla="*/ 248 h 496"/>
                <a:gd name="T8" fmla="*/ 248 w 495"/>
                <a:gd name="T9" fmla="*/ 496 h 496"/>
                <a:gd name="T10" fmla="*/ 248 w 495"/>
                <a:gd name="T11" fmla="*/ 6 h 496"/>
                <a:gd name="T12" fmla="*/ 5 w 495"/>
                <a:gd name="T13" fmla="*/ 248 h 496"/>
                <a:gd name="T14" fmla="*/ 248 w 495"/>
                <a:gd name="T15" fmla="*/ 490 h 496"/>
                <a:gd name="T16" fmla="*/ 490 w 495"/>
                <a:gd name="T17" fmla="*/ 248 h 496"/>
                <a:gd name="T18" fmla="*/ 248 w 495"/>
                <a:gd name="T19" fmla="*/ 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5" h="496">
                  <a:moveTo>
                    <a:pt x="248" y="496"/>
                  </a:moveTo>
                  <a:cubicBezTo>
                    <a:pt x="111" y="496"/>
                    <a:pt x="0" y="385"/>
                    <a:pt x="0" y="248"/>
                  </a:cubicBezTo>
                  <a:cubicBezTo>
                    <a:pt x="0" y="111"/>
                    <a:pt x="111" y="0"/>
                    <a:pt x="248" y="0"/>
                  </a:cubicBezTo>
                  <a:cubicBezTo>
                    <a:pt x="384" y="0"/>
                    <a:pt x="495" y="111"/>
                    <a:pt x="495" y="248"/>
                  </a:cubicBezTo>
                  <a:cubicBezTo>
                    <a:pt x="495" y="385"/>
                    <a:pt x="384" y="496"/>
                    <a:pt x="248" y="496"/>
                  </a:cubicBezTo>
                  <a:moveTo>
                    <a:pt x="248" y="6"/>
                  </a:moveTo>
                  <a:cubicBezTo>
                    <a:pt x="114" y="6"/>
                    <a:pt x="5" y="114"/>
                    <a:pt x="5" y="248"/>
                  </a:cubicBezTo>
                  <a:cubicBezTo>
                    <a:pt x="5" y="382"/>
                    <a:pt x="114" y="490"/>
                    <a:pt x="248" y="490"/>
                  </a:cubicBezTo>
                  <a:cubicBezTo>
                    <a:pt x="381" y="490"/>
                    <a:pt x="490" y="382"/>
                    <a:pt x="490" y="248"/>
                  </a:cubicBezTo>
                  <a:cubicBezTo>
                    <a:pt x="490" y="114"/>
                    <a:pt x="381" y="6"/>
                    <a:pt x="248" y="6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auto">
            <a:xfrm>
              <a:off x="-1241" y="3688"/>
              <a:ext cx="955" cy="14"/>
            </a:xfrm>
            <a:prstGeom prst="rect">
              <a:avLst/>
            </a:pr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5" name="Rectangle 8"/>
            <p:cNvSpPr>
              <a:spLocks noChangeArrowheads="1"/>
            </p:cNvSpPr>
            <p:nvPr/>
          </p:nvSpPr>
          <p:spPr bwMode="auto">
            <a:xfrm>
              <a:off x="-768" y="3312"/>
              <a:ext cx="12" cy="668"/>
            </a:xfrm>
            <a:prstGeom prst="rect">
              <a:avLst/>
            </a:pr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6" name="Freeform 9"/>
            <p:cNvSpPr>
              <a:spLocks/>
            </p:cNvSpPr>
            <p:nvPr/>
          </p:nvSpPr>
          <p:spPr bwMode="auto">
            <a:xfrm>
              <a:off x="-1034" y="3966"/>
              <a:ext cx="546" cy="449"/>
            </a:xfrm>
            <a:custGeom>
              <a:avLst/>
              <a:gdLst>
                <a:gd name="T0" fmla="*/ 534 w 546"/>
                <a:gd name="T1" fmla="*/ 449 h 449"/>
                <a:gd name="T2" fmla="*/ 270 w 546"/>
                <a:gd name="T3" fmla="*/ 26 h 449"/>
                <a:gd name="T4" fmla="*/ 9 w 546"/>
                <a:gd name="T5" fmla="*/ 449 h 449"/>
                <a:gd name="T6" fmla="*/ 0 w 546"/>
                <a:gd name="T7" fmla="*/ 442 h 449"/>
                <a:gd name="T8" fmla="*/ 270 w 546"/>
                <a:gd name="T9" fmla="*/ 0 h 449"/>
                <a:gd name="T10" fmla="*/ 546 w 546"/>
                <a:gd name="T11" fmla="*/ 442 h 449"/>
                <a:gd name="T12" fmla="*/ 534 w 546"/>
                <a:gd name="T13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6" h="449">
                  <a:moveTo>
                    <a:pt x="534" y="449"/>
                  </a:moveTo>
                  <a:lnTo>
                    <a:pt x="270" y="26"/>
                  </a:lnTo>
                  <a:lnTo>
                    <a:pt x="9" y="449"/>
                  </a:lnTo>
                  <a:lnTo>
                    <a:pt x="0" y="442"/>
                  </a:lnTo>
                  <a:lnTo>
                    <a:pt x="270" y="0"/>
                  </a:lnTo>
                  <a:lnTo>
                    <a:pt x="546" y="442"/>
                  </a:lnTo>
                  <a:lnTo>
                    <a:pt x="534" y="449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7" name="Freeform 10"/>
            <p:cNvSpPr>
              <a:spLocks/>
            </p:cNvSpPr>
            <p:nvPr/>
          </p:nvSpPr>
          <p:spPr bwMode="auto">
            <a:xfrm>
              <a:off x="-1244" y="3517"/>
              <a:ext cx="960" cy="254"/>
            </a:xfrm>
            <a:custGeom>
              <a:avLst/>
              <a:gdLst>
                <a:gd name="T0" fmla="*/ 483 w 960"/>
                <a:gd name="T1" fmla="*/ 254 h 254"/>
                <a:gd name="T2" fmla="*/ 0 w 960"/>
                <a:gd name="T3" fmla="*/ 11 h 254"/>
                <a:gd name="T4" fmla="*/ 8 w 960"/>
                <a:gd name="T5" fmla="*/ 0 h 254"/>
                <a:gd name="T6" fmla="*/ 483 w 960"/>
                <a:gd name="T7" fmla="*/ 237 h 254"/>
                <a:gd name="T8" fmla="*/ 956 w 960"/>
                <a:gd name="T9" fmla="*/ 0 h 254"/>
                <a:gd name="T10" fmla="*/ 960 w 960"/>
                <a:gd name="T11" fmla="*/ 11 h 254"/>
                <a:gd name="T12" fmla="*/ 483 w 960"/>
                <a:gd name="T13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0" h="254">
                  <a:moveTo>
                    <a:pt x="483" y="254"/>
                  </a:moveTo>
                  <a:lnTo>
                    <a:pt x="0" y="11"/>
                  </a:lnTo>
                  <a:lnTo>
                    <a:pt x="8" y="0"/>
                  </a:lnTo>
                  <a:lnTo>
                    <a:pt x="483" y="237"/>
                  </a:lnTo>
                  <a:lnTo>
                    <a:pt x="956" y="0"/>
                  </a:lnTo>
                  <a:lnTo>
                    <a:pt x="960" y="11"/>
                  </a:lnTo>
                  <a:lnTo>
                    <a:pt x="483" y="254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2579311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750"/>
                            </p:stCondLst>
                            <p:childTnLst>
                              <p:par>
                                <p:cTn id="24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25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10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250"/>
                            </p:stCondLst>
                            <p:childTnLst>
                              <p:par>
                                <p:cTn id="3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10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>
            <a:extLst>
              <a:ext uri="{FF2B5EF4-FFF2-40B4-BE49-F238E27FC236}">
                <a16:creationId xmlns:a16="http://schemas.microsoft.com/office/drawing/2014/main" id="{778FE110-2DC3-4DAC-A92B-3FF565A41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id="{E080F63E-3BF1-4A77-9A46-7A04F586B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F8A990D4-180F-4F51-806C-CF6FA03EF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69307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>
            <a:extLst>
              <a:ext uri="{FF2B5EF4-FFF2-40B4-BE49-F238E27FC236}">
                <a16:creationId xmlns:a16="http://schemas.microsoft.com/office/drawing/2014/main" id="{778FE110-2DC3-4DAC-A92B-3FF565A41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id="{E080F63E-3BF1-4A77-9A46-7A04F586B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F8A990D4-180F-4F51-806C-CF6FA03EF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6" name="Prostokąt 5"/>
          <p:cNvSpPr/>
          <p:nvPr userDrawn="1"/>
        </p:nvSpPr>
        <p:spPr>
          <a:xfrm>
            <a:off x="2578100" y="88900"/>
            <a:ext cx="419100" cy="104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328532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Obraz 27">
            <a:extLst>
              <a:ext uri="{FF2B5EF4-FFF2-40B4-BE49-F238E27FC236}">
                <a16:creationId xmlns:a16="http://schemas.microsoft.com/office/drawing/2014/main" id="{02E6C61C-6558-4EB1-9238-0D76F899F8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317" y="236459"/>
            <a:ext cx="7200461" cy="6602758"/>
          </a:xfrm>
          <a:prstGeom prst="rect">
            <a:avLst/>
          </a:prstGeom>
        </p:spPr>
      </p:pic>
      <p:sp>
        <p:nvSpPr>
          <p:cNvPr id="29" name="Prostokąt 28">
            <a:extLst>
              <a:ext uri="{FF2B5EF4-FFF2-40B4-BE49-F238E27FC236}">
                <a16:creationId xmlns:a16="http://schemas.microsoft.com/office/drawing/2014/main" id="{7556872D-9860-4918-9046-04D2F22B930C}"/>
              </a:ext>
            </a:extLst>
          </p:cNvPr>
          <p:cNvSpPr/>
          <p:nvPr userDrawn="1"/>
        </p:nvSpPr>
        <p:spPr>
          <a:xfrm>
            <a:off x="3467100" y="0"/>
            <a:ext cx="8763000" cy="6858000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  <p:pic>
        <p:nvPicPr>
          <p:cNvPr id="32" name="Obraz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0211" y="3879867"/>
            <a:ext cx="3495157" cy="199939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3" name="Obraz 3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7232" y="1486566"/>
            <a:ext cx="4124689" cy="20145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4" name="Obraz 3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604" y="0"/>
            <a:ext cx="2548342" cy="389302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6" name="Symbol zastępczy tekstu 35"/>
          <p:cNvSpPr>
            <a:spLocks noGrp="1"/>
          </p:cNvSpPr>
          <p:nvPr>
            <p:ph type="body" sz="quarter" idx="10" hasCustomPrompt="1"/>
          </p:nvPr>
        </p:nvSpPr>
        <p:spPr>
          <a:xfrm>
            <a:off x="3826987" y="3735280"/>
            <a:ext cx="1933543" cy="923330"/>
          </a:xfrm>
          <a:noFill/>
        </p:spPr>
        <p:txBody>
          <a:bodyPr wrap="none" rtlCol="0">
            <a:spAutoFit/>
          </a:bodyPr>
          <a:lstStyle>
            <a:lvl1pPr marL="0" indent="0">
              <a:buNone/>
              <a:defRPr lang="pl-PL" sz="6000" smtClean="0">
                <a:solidFill>
                  <a:schemeClr val="accent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Tytuł</a:t>
            </a:r>
          </a:p>
        </p:txBody>
      </p:sp>
      <p:sp>
        <p:nvSpPr>
          <p:cNvPr id="39" name="Symbol zastępczy tekstu 38"/>
          <p:cNvSpPr>
            <a:spLocks noGrp="1"/>
          </p:cNvSpPr>
          <p:nvPr>
            <p:ph type="body" sz="quarter" idx="11" hasCustomPrompt="1"/>
          </p:nvPr>
        </p:nvSpPr>
        <p:spPr>
          <a:xfrm>
            <a:off x="3826987" y="4841885"/>
            <a:ext cx="4317207" cy="4247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l-PL" sz="2400" smtClean="0">
                <a:solidFill>
                  <a:srgbClr val="44546A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PODTYTUŁ</a:t>
            </a:r>
          </a:p>
        </p:txBody>
      </p:sp>
      <p:grpSp>
        <p:nvGrpSpPr>
          <p:cNvPr id="7" name="Group 13"/>
          <p:cNvGrpSpPr>
            <a:grpSpLocks noChangeAspect="1"/>
          </p:cNvGrpSpPr>
          <p:nvPr userDrawn="1"/>
        </p:nvGrpSpPr>
        <p:grpSpPr bwMode="auto">
          <a:xfrm>
            <a:off x="4583089" y="406675"/>
            <a:ext cx="1452563" cy="592121"/>
            <a:chOff x="2515" y="2849"/>
            <a:chExt cx="2566" cy="1046"/>
          </a:xfrm>
        </p:grpSpPr>
        <p:sp>
          <p:nvSpPr>
            <p:cNvPr id="8" name="Freeform 14"/>
            <p:cNvSpPr>
              <a:spLocks noEditPoints="1"/>
            </p:cNvSpPr>
            <p:nvPr/>
          </p:nvSpPr>
          <p:spPr bwMode="auto">
            <a:xfrm>
              <a:off x="2533" y="3006"/>
              <a:ext cx="306" cy="330"/>
            </a:xfrm>
            <a:custGeom>
              <a:avLst/>
              <a:gdLst>
                <a:gd name="T0" fmla="*/ 66 w 129"/>
                <a:gd name="T1" fmla="*/ 139 h 139"/>
                <a:gd name="T2" fmla="*/ 40 w 129"/>
                <a:gd name="T3" fmla="*/ 134 h 139"/>
                <a:gd name="T4" fmla="*/ 19 w 129"/>
                <a:gd name="T5" fmla="*/ 120 h 139"/>
                <a:gd name="T6" fmla="*/ 5 w 129"/>
                <a:gd name="T7" fmla="*/ 100 h 139"/>
                <a:gd name="T8" fmla="*/ 0 w 129"/>
                <a:gd name="T9" fmla="*/ 74 h 139"/>
                <a:gd name="T10" fmla="*/ 5 w 129"/>
                <a:gd name="T11" fmla="*/ 44 h 139"/>
                <a:gd name="T12" fmla="*/ 18 w 129"/>
                <a:gd name="T13" fmla="*/ 21 h 139"/>
                <a:gd name="T14" fmla="*/ 39 w 129"/>
                <a:gd name="T15" fmla="*/ 5 h 139"/>
                <a:gd name="T16" fmla="*/ 66 w 129"/>
                <a:gd name="T17" fmla="*/ 0 h 139"/>
                <a:gd name="T18" fmla="*/ 90 w 129"/>
                <a:gd name="T19" fmla="*/ 4 h 139"/>
                <a:gd name="T20" fmla="*/ 109 w 129"/>
                <a:gd name="T21" fmla="*/ 17 h 139"/>
                <a:gd name="T22" fmla="*/ 121 w 129"/>
                <a:gd name="T23" fmla="*/ 35 h 139"/>
                <a:gd name="T24" fmla="*/ 125 w 129"/>
                <a:gd name="T25" fmla="*/ 56 h 139"/>
                <a:gd name="T26" fmla="*/ 26 w 129"/>
                <a:gd name="T27" fmla="*/ 56 h 139"/>
                <a:gd name="T28" fmla="*/ 29 w 129"/>
                <a:gd name="T29" fmla="*/ 81 h 139"/>
                <a:gd name="T30" fmla="*/ 39 w 129"/>
                <a:gd name="T31" fmla="*/ 101 h 139"/>
                <a:gd name="T32" fmla="*/ 54 w 129"/>
                <a:gd name="T33" fmla="*/ 114 h 139"/>
                <a:gd name="T34" fmla="*/ 73 w 129"/>
                <a:gd name="T35" fmla="*/ 119 h 139"/>
                <a:gd name="T36" fmla="*/ 89 w 129"/>
                <a:gd name="T37" fmla="*/ 116 h 139"/>
                <a:gd name="T38" fmla="*/ 104 w 129"/>
                <a:gd name="T39" fmla="*/ 108 h 139"/>
                <a:gd name="T40" fmla="*/ 115 w 129"/>
                <a:gd name="T41" fmla="*/ 98 h 139"/>
                <a:gd name="T42" fmla="*/ 121 w 129"/>
                <a:gd name="T43" fmla="*/ 86 h 139"/>
                <a:gd name="T44" fmla="*/ 129 w 129"/>
                <a:gd name="T45" fmla="*/ 89 h 139"/>
                <a:gd name="T46" fmla="*/ 120 w 129"/>
                <a:gd name="T47" fmla="*/ 109 h 139"/>
                <a:gd name="T48" fmla="*/ 105 w 129"/>
                <a:gd name="T49" fmla="*/ 124 h 139"/>
                <a:gd name="T50" fmla="*/ 86 w 129"/>
                <a:gd name="T51" fmla="*/ 135 h 139"/>
                <a:gd name="T52" fmla="*/ 66 w 129"/>
                <a:gd name="T53" fmla="*/ 139 h 139"/>
                <a:gd name="T54" fmla="*/ 92 w 129"/>
                <a:gd name="T55" fmla="*/ 45 h 139"/>
                <a:gd name="T56" fmla="*/ 89 w 129"/>
                <a:gd name="T57" fmla="*/ 31 h 139"/>
                <a:gd name="T58" fmla="*/ 82 w 129"/>
                <a:gd name="T59" fmla="*/ 20 h 139"/>
                <a:gd name="T60" fmla="*/ 71 w 129"/>
                <a:gd name="T61" fmla="*/ 12 h 139"/>
                <a:gd name="T62" fmla="*/ 58 w 129"/>
                <a:gd name="T63" fmla="*/ 10 h 139"/>
                <a:gd name="T64" fmla="*/ 46 w 129"/>
                <a:gd name="T65" fmla="*/ 12 h 139"/>
                <a:gd name="T66" fmla="*/ 36 w 129"/>
                <a:gd name="T67" fmla="*/ 20 h 139"/>
                <a:gd name="T68" fmla="*/ 29 w 129"/>
                <a:gd name="T69" fmla="*/ 31 h 139"/>
                <a:gd name="T70" fmla="*/ 26 w 129"/>
                <a:gd name="T71" fmla="*/ 45 h 139"/>
                <a:gd name="T72" fmla="*/ 92 w 129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139">
                  <a:moveTo>
                    <a:pt x="66" y="139"/>
                  </a:moveTo>
                  <a:cubicBezTo>
                    <a:pt x="57" y="139"/>
                    <a:pt x="48" y="137"/>
                    <a:pt x="40" y="134"/>
                  </a:cubicBezTo>
                  <a:cubicBezTo>
                    <a:pt x="32" y="131"/>
                    <a:pt x="25" y="126"/>
                    <a:pt x="19" y="120"/>
                  </a:cubicBezTo>
                  <a:cubicBezTo>
                    <a:pt x="13" y="114"/>
                    <a:pt x="9" y="107"/>
                    <a:pt x="5" y="100"/>
                  </a:cubicBezTo>
                  <a:cubicBezTo>
                    <a:pt x="2" y="92"/>
                    <a:pt x="0" y="83"/>
                    <a:pt x="0" y="74"/>
                  </a:cubicBezTo>
                  <a:cubicBezTo>
                    <a:pt x="0" y="64"/>
                    <a:pt x="2" y="54"/>
                    <a:pt x="5" y="44"/>
                  </a:cubicBezTo>
                  <a:cubicBezTo>
                    <a:pt x="8" y="35"/>
                    <a:pt x="12" y="27"/>
                    <a:pt x="18" y="21"/>
                  </a:cubicBezTo>
                  <a:cubicBezTo>
                    <a:pt x="24" y="14"/>
                    <a:pt x="31" y="9"/>
                    <a:pt x="39" y="5"/>
                  </a:cubicBezTo>
                  <a:cubicBezTo>
                    <a:pt x="47" y="1"/>
                    <a:pt x="56" y="0"/>
                    <a:pt x="66" y="0"/>
                  </a:cubicBezTo>
                  <a:cubicBezTo>
                    <a:pt x="75" y="0"/>
                    <a:pt x="83" y="1"/>
                    <a:pt x="90" y="4"/>
                  </a:cubicBezTo>
                  <a:cubicBezTo>
                    <a:pt x="97" y="7"/>
                    <a:pt x="104" y="11"/>
                    <a:pt x="109" y="17"/>
                  </a:cubicBezTo>
                  <a:cubicBezTo>
                    <a:pt x="114" y="22"/>
                    <a:pt x="118" y="28"/>
                    <a:pt x="121" y="35"/>
                  </a:cubicBezTo>
                  <a:cubicBezTo>
                    <a:pt x="124" y="41"/>
                    <a:pt x="125" y="49"/>
                    <a:pt x="125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65"/>
                    <a:pt x="27" y="73"/>
                    <a:pt x="29" y="81"/>
                  </a:cubicBezTo>
                  <a:cubicBezTo>
                    <a:pt x="31" y="89"/>
                    <a:pt x="35" y="95"/>
                    <a:pt x="39" y="101"/>
                  </a:cubicBezTo>
                  <a:cubicBezTo>
                    <a:pt x="43" y="106"/>
                    <a:pt x="48" y="111"/>
                    <a:pt x="54" y="114"/>
                  </a:cubicBezTo>
                  <a:cubicBezTo>
                    <a:pt x="59" y="117"/>
                    <a:pt x="66" y="119"/>
                    <a:pt x="73" y="119"/>
                  </a:cubicBezTo>
                  <a:cubicBezTo>
                    <a:pt x="79" y="119"/>
                    <a:pt x="84" y="118"/>
                    <a:pt x="89" y="116"/>
                  </a:cubicBezTo>
                  <a:cubicBezTo>
                    <a:pt x="95" y="114"/>
                    <a:pt x="100" y="112"/>
                    <a:pt x="104" y="108"/>
                  </a:cubicBezTo>
                  <a:cubicBezTo>
                    <a:pt x="108" y="105"/>
                    <a:pt x="112" y="102"/>
                    <a:pt x="115" y="98"/>
                  </a:cubicBezTo>
                  <a:cubicBezTo>
                    <a:pt x="118" y="94"/>
                    <a:pt x="120" y="90"/>
                    <a:pt x="121" y="86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7" y="96"/>
                    <a:pt x="124" y="103"/>
                    <a:pt x="120" y="109"/>
                  </a:cubicBezTo>
                  <a:cubicBezTo>
                    <a:pt x="115" y="115"/>
                    <a:pt x="110" y="120"/>
                    <a:pt x="105" y="124"/>
                  </a:cubicBezTo>
                  <a:cubicBezTo>
                    <a:pt x="99" y="129"/>
                    <a:pt x="93" y="132"/>
                    <a:pt x="86" y="135"/>
                  </a:cubicBezTo>
                  <a:cubicBezTo>
                    <a:pt x="79" y="138"/>
                    <a:pt x="73" y="139"/>
                    <a:pt x="66" y="139"/>
                  </a:cubicBezTo>
                  <a:moveTo>
                    <a:pt x="92" y="45"/>
                  </a:moveTo>
                  <a:cubicBezTo>
                    <a:pt x="92" y="40"/>
                    <a:pt x="91" y="36"/>
                    <a:pt x="89" y="31"/>
                  </a:cubicBezTo>
                  <a:cubicBezTo>
                    <a:pt x="88" y="27"/>
                    <a:pt x="85" y="23"/>
                    <a:pt x="82" y="20"/>
                  </a:cubicBezTo>
                  <a:cubicBezTo>
                    <a:pt x="79" y="17"/>
                    <a:pt x="75" y="14"/>
                    <a:pt x="71" y="12"/>
                  </a:cubicBezTo>
                  <a:cubicBezTo>
                    <a:pt x="67" y="10"/>
                    <a:pt x="62" y="10"/>
                    <a:pt x="58" y="10"/>
                  </a:cubicBezTo>
                  <a:cubicBezTo>
                    <a:pt x="54" y="10"/>
                    <a:pt x="50" y="10"/>
                    <a:pt x="46" y="12"/>
                  </a:cubicBezTo>
                  <a:cubicBezTo>
                    <a:pt x="42" y="14"/>
                    <a:pt x="39" y="17"/>
                    <a:pt x="36" y="20"/>
                  </a:cubicBezTo>
                  <a:cubicBezTo>
                    <a:pt x="33" y="23"/>
                    <a:pt x="31" y="27"/>
                    <a:pt x="29" y="31"/>
                  </a:cubicBezTo>
                  <a:cubicBezTo>
                    <a:pt x="27" y="36"/>
                    <a:pt x="26" y="40"/>
                    <a:pt x="26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9" name="Freeform 15"/>
            <p:cNvSpPr>
              <a:spLocks/>
            </p:cNvSpPr>
            <p:nvPr/>
          </p:nvSpPr>
          <p:spPr bwMode="auto">
            <a:xfrm>
              <a:off x="2849" y="3013"/>
              <a:ext cx="324" cy="316"/>
            </a:xfrm>
            <a:custGeom>
              <a:avLst/>
              <a:gdLst>
                <a:gd name="T0" fmla="*/ 33 w 324"/>
                <a:gd name="T1" fmla="*/ 316 h 316"/>
                <a:gd name="T2" fmla="*/ 0 w 324"/>
                <a:gd name="T3" fmla="*/ 316 h 316"/>
                <a:gd name="T4" fmla="*/ 132 w 324"/>
                <a:gd name="T5" fmla="*/ 155 h 316"/>
                <a:gd name="T6" fmla="*/ 19 w 324"/>
                <a:gd name="T7" fmla="*/ 0 h 316"/>
                <a:gd name="T8" fmla="*/ 94 w 324"/>
                <a:gd name="T9" fmla="*/ 0 h 316"/>
                <a:gd name="T10" fmla="*/ 170 w 324"/>
                <a:gd name="T11" fmla="*/ 105 h 316"/>
                <a:gd name="T12" fmla="*/ 258 w 324"/>
                <a:gd name="T13" fmla="*/ 0 h 316"/>
                <a:gd name="T14" fmla="*/ 293 w 324"/>
                <a:gd name="T15" fmla="*/ 0 h 316"/>
                <a:gd name="T16" fmla="*/ 187 w 324"/>
                <a:gd name="T17" fmla="*/ 128 h 316"/>
                <a:gd name="T18" fmla="*/ 324 w 324"/>
                <a:gd name="T19" fmla="*/ 316 h 316"/>
                <a:gd name="T20" fmla="*/ 248 w 324"/>
                <a:gd name="T21" fmla="*/ 316 h 316"/>
                <a:gd name="T22" fmla="*/ 149 w 324"/>
                <a:gd name="T23" fmla="*/ 176 h 316"/>
                <a:gd name="T24" fmla="*/ 33 w 324"/>
                <a:gd name="T25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4" h="316">
                  <a:moveTo>
                    <a:pt x="33" y="316"/>
                  </a:moveTo>
                  <a:lnTo>
                    <a:pt x="0" y="316"/>
                  </a:lnTo>
                  <a:lnTo>
                    <a:pt x="132" y="155"/>
                  </a:lnTo>
                  <a:lnTo>
                    <a:pt x="19" y="0"/>
                  </a:lnTo>
                  <a:lnTo>
                    <a:pt x="94" y="0"/>
                  </a:lnTo>
                  <a:lnTo>
                    <a:pt x="170" y="105"/>
                  </a:lnTo>
                  <a:lnTo>
                    <a:pt x="258" y="0"/>
                  </a:lnTo>
                  <a:lnTo>
                    <a:pt x="293" y="0"/>
                  </a:lnTo>
                  <a:lnTo>
                    <a:pt x="187" y="128"/>
                  </a:lnTo>
                  <a:lnTo>
                    <a:pt x="324" y="316"/>
                  </a:lnTo>
                  <a:lnTo>
                    <a:pt x="248" y="316"/>
                  </a:lnTo>
                  <a:lnTo>
                    <a:pt x="149" y="176"/>
                  </a:lnTo>
                  <a:lnTo>
                    <a:pt x="33" y="316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0" name="Freeform 16"/>
            <p:cNvSpPr>
              <a:spLocks/>
            </p:cNvSpPr>
            <p:nvPr/>
          </p:nvSpPr>
          <p:spPr bwMode="auto">
            <a:xfrm>
              <a:off x="3157" y="2904"/>
              <a:ext cx="203" cy="432"/>
            </a:xfrm>
            <a:custGeom>
              <a:avLst/>
              <a:gdLst>
                <a:gd name="T0" fmla="*/ 86 w 86"/>
                <a:gd name="T1" fmla="*/ 162 h 182"/>
                <a:gd name="T2" fmla="*/ 71 w 86"/>
                <a:gd name="T3" fmla="*/ 177 h 182"/>
                <a:gd name="T4" fmla="*/ 50 w 86"/>
                <a:gd name="T5" fmla="*/ 182 h 182"/>
                <a:gd name="T6" fmla="*/ 38 w 86"/>
                <a:gd name="T7" fmla="*/ 180 h 182"/>
                <a:gd name="T8" fmla="*/ 30 w 86"/>
                <a:gd name="T9" fmla="*/ 173 h 182"/>
                <a:gd name="T10" fmla="*/ 25 w 86"/>
                <a:gd name="T11" fmla="*/ 164 h 182"/>
                <a:gd name="T12" fmla="*/ 23 w 86"/>
                <a:gd name="T13" fmla="*/ 151 h 182"/>
                <a:gd name="T14" fmla="*/ 23 w 86"/>
                <a:gd name="T15" fmla="*/ 57 h 182"/>
                <a:gd name="T16" fmla="*/ 0 w 86"/>
                <a:gd name="T17" fmla="*/ 57 h 182"/>
                <a:gd name="T18" fmla="*/ 0 w 86"/>
                <a:gd name="T19" fmla="*/ 50 h 182"/>
                <a:gd name="T20" fmla="*/ 19 w 86"/>
                <a:gd name="T21" fmla="*/ 46 h 182"/>
                <a:gd name="T22" fmla="*/ 31 w 86"/>
                <a:gd name="T23" fmla="*/ 35 h 182"/>
                <a:gd name="T24" fmla="*/ 38 w 86"/>
                <a:gd name="T25" fmla="*/ 19 h 182"/>
                <a:gd name="T26" fmla="*/ 42 w 86"/>
                <a:gd name="T27" fmla="*/ 0 h 182"/>
                <a:gd name="T28" fmla="*/ 50 w 86"/>
                <a:gd name="T29" fmla="*/ 0 h 182"/>
                <a:gd name="T30" fmla="*/ 50 w 86"/>
                <a:gd name="T31" fmla="*/ 45 h 182"/>
                <a:gd name="T32" fmla="*/ 80 w 86"/>
                <a:gd name="T33" fmla="*/ 45 h 182"/>
                <a:gd name="T34" fmla="*/ 80 w 86"/>
                <a:gd name="T35" fmla="*/ 57 h 182"/>
                <a:gd name="T36" fmla="*/ 50 w 86"/>
                <a:gd name="T37" fmla="*/ 57 h 182"/>
                <a:gd name="T38" fmla="*/ 50 w 86"/>
                <a:gd name="T39" fmla="*/ 151 h 182"/>
                <a:gd name="T40" fmla="*/ 54 w 86"/>
                <a:gd name="T41" fmla="*/ 161 h 182"/>
                <a:gd name="T42" fmla="*/ 64 w 86"/>
                <a:gd name="T43" fmla="*/ 165 h 182"/>
                <a:gd name="T44" fmla="*/ 73 w 86"/>
                <a:gd name="T45" fmla="*/ 163 h 182"/>
                <a:gd name="T46" fmla="*/ 79 w 86"/>
                <a:gd name="T47" fmla="*/ 158 h 182"/>
                <a:gd name="T48" fmla="*/ 86 w 86"/>
                <a:gd name="T49" fmla="*/ 16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6" h="182">
                  <a:moveTo>
                    <a:pt x="86" y="162"/>
                  </a:moveTo>
                  <a:cubicBezTo>
                    <a:pt x="82" y="168"/>
                    <a:pt x="77" y="173"/>
                    <a:pt x="71" y="177"/>
                  </a:cubicBezTo>
                  <a:cubicBezTo>
                    <a:pt x="65" y="180"/>
                    <a:pt x="58" y="182"/>
                    <a:pt x="50" y="182"/>
                  </a:cubicBezTo>
                  <a:cubicBezTo>
                    <a:pt x="45" y="182"/>
                    <a:pt x="41" y="181"/>
                    <a:pt x="38" y="180"/>
                  </a:cubicBezTo>
                  <a:cubicBezTo>
                    <a:pt x="35" y="178"/>
                    <a:pt x="32" y="176"/>
                    <a:pt x="30" y="173"/>
                  </a:cubicBezTo>
                  <a:cubicBezTo>
                    <a:pt x="28" y="171"/>
                    <a:pt x="26" y="167"/>
                    <a:pt x="25" y="164"/>
                  </a:cubicBezTo>
                  <a:cubicBezTo>
                    <a:pt x="24" y="160"/>
                    <a:pt x="23" y="156"/>
                    <a:pt x="23" y="151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8" y="50"/>
                    <a:pt x="14" y="49"/>
                    <a:pt x="19" y="46"/>
                  </a:cubicBezTo>
                  <a:cubicBezTo>
                    <a:pt x="23" y="43"/>
                    <a:pt x="27" y="40"/>
                    <a:pt x="31" y="35"/>
                  </a:cubicBezTo>
                  <a:cubicBezTo>
                    <a:pt x="34" y="30"/>
                    <a:pt x="36" y="25"/>
                    <a:pt x="38" y="19"/>
                  </a:cubicBezTo>
                  <a:cubicBezTo>
                    <a:pt x="40" y="13"/>
                    <a:pt x="41" y="6"/>
                    <a:pt x="4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50" y="155"/>
                    <a:pt x="51" y="158"/>
                    <a:pt x="54" y="161"/>
                  </a:cubicBezTo>
                  <a:cubicBezTo>
                    <a:pt x="57" y="164"/>
                    <a:pt x="60" y="165"/>
                    <a:pt x="64" y="165"/>
                  </a:cubicBezTo>
                  <a:cubicBezTo>
                    <a:pt x="67" y="165"/>
                    <a:pt x="70" y="164"/>
                    <a:pt x="73" y="163"/>
                  </a:cubicBezTo>
                  <a:cubicBezTo>
                    <a:pt x="75" y="162"/>
                    <a:pt x="77" y="160"/>
                    <a:pt x="79" y="158"/>
                  </a:cubicBezTo>
                  <a:lnTo>
                    <a:pt x="86" y="162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1" name="Freeform 17"/>
            <p:cNvSpPr>
              <a:spLocks noEditPoints="1"/>
            </p:cNvSpPr>
            <p:nvPr/>
          </p:nvSpPr>
          <p:spPr bwMode="auto">
            <a:xfrm>
              <a:off x="3382" y="3006"/>
              <a:ext cx="305" cy="330"/>
            </a:xfrm>
            <a:custGeom>
              <a:avLst/>
              <a:gdLst>
                <a:gd name="T0" fmla="*/ 66 w 129"/>
                <a:gd name="T1" fmla="*/ 139 h 139"/>
                <a:gd name="T2" fmla="*/ 40 w 129"/>
                <a:gd name="T3" fmla="*/ 134 h 139"/>
                <a:gd name="T4" fmla="*/ 20 w 129"/>
                <a:gd name="T5" fmla="*/ 120 h 139"/>
                <a:gd name="T6" fmla="*/ 6 w 129"/>
                <a:gd name="T7" fmla="*/ 100 h 139"/>
                <a:gd name="T8" fmla="*/ 0 w 129"/>
                <a:gd name="T9" fmla="*/ 74 h 139"/>
                <a:gd name="T10" fmla="*/ 5 w 129"/>
                <a:gd name="T11" fmla="*/ 44 h 139"/>
                <a:gd name="T12" fmla="*/ 18 w 129"/>
                <a:gd name="T13" fmla="*/ 21 h 139"/>
                <a:gd name="T14" fmla="*/ 39 w 129"/>
                <a:gd name="T15" fmla="*/ 5 h 139"/>
                <a:gd name="T16" fmla="*/ 66 w 129"/>
                <a:gd name="T17" fmla="*/ 0 h 139"/>
                <a:gd name="T18" fmla="*/ 90 w 129"/>
                <a:gd name="T19" fmla="*/ 4 h 139"/>
                <a:gd name="T20" fmla="*/ 109 w 129"/>
                <a:gd name="T21" fmla="*/ 17 h 139"/>
                <a:gd name="T22" fmla="*/ 121 w 129"/>
                <a:gd name="T23" fmla="*/ 35 h 139"/>
                <a:gd name="T24" fmla="*/ 126 w 129"/>
                <a:gd name="T25" fmla="*/ 56 h 139"/>
                <a:gd name="T26" fmla="*/ 26 w 129"/>
                <a:gd name="T27" fmla="*/ 56 h 139"/>
                <a:gd name="T28" fmla="*/ 29 w 129"/>
                <a:gd name="T29" fmla="*/ 81 h 139"/>
                <a:gd name="T30" fmla="*/ 39 w 129"/>
                <a:gd name="T31" fmla="*/ 101 h 139"/>
                <a:gd name="T32" fmla="*/ 54 w 129"/>
                <a:gd name="T33" fmla="*/ 114 h 139"/>
                <a:gd name="T34" fmla="*/ 73 w 129"/>
                <a:gd name="T35" fmla="*/ 119 h 139"/>
                <a:gd name="T36" fmla="*/ 90 w 129"/>
                <a:gd name="T37" fmla="*/ 116 h 139"/>
                <a:gd name="T38" fmla="*/ 104 w 129"/>
                <a:gd name="T39" fmla="*/ 108 h 139"/>
                <a:gd name="T40" fmla="*/ 115 w 129"/>
                <a:gd name="T41" fmla="*/ 98 h 139"/>
                <a:gd name="T42" fmla="*/ 122 w 129"/>
                <a:gd name="T43" fmla="*/ 86 h 139"/>
                <a:gd name="T44" fmla="*/ 129 w 129"/>
                <a:gd name="T45" fmla="*/ 89 h 139"/>
                <a:gd name="T46" fmla="*/ 120 w 129"/>
                <a:gd name="T47" fmla="*/ 109 h 139"/>
                <a:gd name="T48" fmla="*/ 105 w 129"/>
                <a:gd name="T49" fmla="*/ 124 h 139"/>
                <a:gd name="T50" fmla="*/ 86 w 129"/>
                <a:gd name="T51" fmla="*/ 135 h 139"/>
                <a:gd name="T52" fmla="*/ 66 w 129"/>
                <a:gd name="T53" fmla="*/ 139 h 139"/>
                <a:gd name="T54" fmla="*/ 92 w 129"/>
                <a:gd name="T55" fmla="*/ 45 h 139"/>
                <a:gd name="T56" fmla="*/ 90 w 129"/>
                <a:gd name="T57" fmla="*/ 31 h 139"/>
                <a:gd name="T58" fmla="*/ 82 w 129"/>
                <a:gd name="T59" fmla="*/ 20 h 139"/>
                <a:gd name="T60" fmla="*/ 71 w 129"/>
                <a:gd name="T61" fmla="*/ 12 h 139"/>
                <a:gd name="T62" fmla="*/ 58 w 129"/>
                <a:gd name="T63" fmla="*/ 10 h 139"/>
                <a:gd name="T64" fmla="*/ 46 w 129"/>
                <a:gd name="T65" fmla="*/ 12 h 139"/>
                <a:gd name="T66" fmla="*/ 37 w 129"/>
                <a:gd name="T67" fmla="*/ 20 h 139"/>
                <a:gd name="T68" fmla="*/ 30 w 129"/>
                <a:gd name="T69" fmla="*/ 31 h 139"/>
                <a:gd name="T70" fmla="*/ 26 w 129"/>
                <a:gd name="T71" fmla="*/ 45 h 139"/>
                <a:gd name="T72" fmla="*/ 92 w 129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139">
                  <a:moveTo>
                    <a:pt x="66" y="139"/>
                  </a:moveTo>
                  <a:cubicBezTo>
                    <a:pt x="57" y="139"/>
                    <a:pt x="48" y="137"/>
                    <a:pt x="40" y="134"/>
                  </a:cubicBezTo>
                  <a:cubicBezTo>
                    <a:pt x="33" y="131"/>
                    <a:pt x="26" y="126"/>
                    <a:pt x="20" y="120"/>
                  </a:cubicBezTo>
                  <a:cubicBezTo>
                    <a:pt x="14" y="114"/>
                    <a:pt x="9" y="107"/>
                    <a:pt x="6" y="100"/>
                  </a:cubicBezTo>
                  <a:cubicBezTo>
                    <a:pt x="2" y="92"/>
                    <a:pt x="0" y="83"/>
                    <a:pt x="0" y="74"/>
                  </a:cubicBezTo>
                  <a:cubicBezTo>
                    <a:pt x="0" y="64"/>
                    <a:pt x="2" y="54"/>
                    <a:pt x="5" y="44"/>
                  </a:cubicBezTo>
                  <a:cubicBezTo>
                    <a:pt x="8" y="35"/>
                    <a:pt x="13" y="27"/>
                    <a:pt x="18" y="21"/>
                  </a:cubicBezTo>
                  <a:cubicBezTo>
                    <a:pt x="24" y="14"/>
                    <a:pt x="31" y="9"/>
                    <a:pt x="39" y="5"/>
                  </a:cubicBezTo>
                  <a:cubicBezTo>
                    <a:pt x="47" y="1"/>
                    <a:pt x="56" y="0"/>
                    <a:pt x="66" y="0"/>
                  </a:cubicBezTo>
                  <a:cubicBezTo>
                    <a:pt x="75" y="0"/>
                    <a:pt x="83" y="1"/>
                    <a:pt x="90" y="4"/>
                  </a:cubicBezTo>
                  <a:cubicBezTo>
                    <a:pt x="98" y="7"/>
                    <a:pt x="104" y="11"/>
                    <a:pt x="109" y="17"/>
                  </a:cubicBezTo>
                  <a:cubicBezTo>
                    <a:pt x="114" y="22"/>
                    <a:pt x="118" y="28"/>
                    <a:pt x="121" y="35"/>
                  </a:cubicBezTo>
                  <a:cubicBezTo>
                    <a:pt x="124" y="41"/>
                    <a:pt x="126" y="49"/>
                    <a:pt x="1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65"/>
                    <a:pt x="27" y="73"/>
                    <a:pt x="29" y="81"/>
                  </a:cubicBezTo>
                  <a:cubicBezTo>
                    <a:pt x="32" y="89"/>
                    <a:pt x="35" y="95"/>
                    <a:pt x="39" y="101"/>
                  </a:cubicBezTo>
                  <a:cubicBezTo>
                    <a:pt x="43" y="106"/>
                    <a:pt x="48" y="111"/>
                    <a:pt x="54" y="114"/>
                  </a:cubicBezTo>
                  <a:cubicBezTo>
                    <a:pt x="60" y="117"/>
                    <a:pt x="66" y="119"/>
                    <a:pt x="73" y="119"/>
                  </a:cubicBezTo>
                  <a:cubicBezTo>
                    <a:pt x="79" y="119"/>
                    <a:pt x="84" y="118"/>
                    <a:pt x="90" y="116"/>
                  </a:cubicBezTo>
                  <a:cubicBezTo>
                    <a:pt x="95" y="114"/>
                    <a:pt x="100" y="112"/>
                    <a:pt x="104" y="108"/>
                  </a:cubicBezTo>
                  <a:cubicBezTo>
                    <a:pt x="109" y="105"/>
                    <a:pt x="112" y="102"/>
                    <a:pt x="115" y="98"/>
                  </a:cubicBezTo>
                  <a:cubicBezTo>
                    <a:pt x="118" y="94"/>
                    <a:pt x="120" y="90"/>
                    <a:pt x="122" y="86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7" y="96"/>
                    <a:pt x="124" y="103"/>
                    <a:pt x="120" y="109"/>
                  </a:cubicBezTo>
                  <a:cubicBezTo>
                    <a:pt x="116" y="115"/>
                    <a:pt x="111" y="120"/>
                    <a:pt x="105" y="124"/>
                  </a:cubicBezTo>
                  <a:cubicBezTo>
                    <a:pt x="99" y="129"/>
                    <a:pt x="93" y="132"/>
                    <a:pt x="86" y="135"/>
                  </a:cubicBezTo>
                  <a:cubicBezTo>
                    <a:pt x="80" y="138"/>
                    <a:pt x="73" y="139"/>
                    <a:pt x="66" y="139"/>
                  </a:cubicBezTo>
                  <a:moveTo>
                    <a:pt x="92" y="45"/>
                  </a:moveTo>
                  <a:cubicBezTo>
                    <a:pt x="92" y="40"/>
                    <a:pt x="92" y="36"/>
                    <a:pt x="90" y="31"/>
                  </a:cubicBezTo>
                  <a:cubicBezTo>
                    <a:pt x="88" y="27"/>
                    <a:pt x="85" y="23"/>
                    <a:pt x="82" y="20"/>
                  </a:cubicBezTo>
                  <a:cubicBezTo>
                    <a:pt x="79" y="17"/>
                    <a:pt x="76" y="14"/>
                    <a:pt x="71" y="12"/>
                  </a:cubicBezTo>
                  <a:cubicBezTo>
                    <a:pt x="67" y="10"/>
                    <a:pt x="63" y="10"/>
                    <a:pt x="58" y="10"/>
                  </a:cubicBezTo>
                  <a:cubicBezTo>
                    <a:pt x="54" y="10"/>
                    <a:pt x="50" y="10"/>
                    <a:pt x="46" y="12"/>
                  </a:cubicBezTo>
                  <a:cubicBezTo>
                    <a:pt x="43" y="14"/>
                    <a:pt x="39" y="17"/>
                    <a:pt x="37" y="20"/>
                  </a:cubicBezTo>
                  <a:cubicBezTo>
                    <a:pt x="34" y="23"/>
                    <a:pt x="31" y="27"/>
                    <a:pt x="30" y="31"/>
                  </a:cubicBezTo>
                  <a:cubicBezTo>
                    <a:pt x="28" y="36"/>
                    <a:pt x="26" y="40"/>
                    <a:pt x="26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2" name="Freeform 18"/>
            <p:cNvSpPr>
              <a:spLocks/>
            </p:cNvSpPr>
            <p:nvPr/>
          </p:nvSpPr>
          <p:spPr bwMode="auto">
            <a:xfrm>
              <a:off x="3747" y="3006"/>
              <a:ext cx="265" cy="323"/>
            </a:xfrm>
            <a:custGeom>
              <a:avLst/>
              <a:gdLst>
                <a:gd name="T0" fmla="*/ 0 w 112"/>
                <a:gd name="T1" fmla="*/ 2 h 136"/>
                <a:gd name="T2" fmla="*/ 27 w 112"/>
                <a:gd name="T3" fmla="*/ 2 h 136"/>
                <a:gd name="T4" fmla="*/ 27 w 112"/>
                <a:gd name="T5" fmla="*/ 27 h 136"/>
                <a:gd name="T6" fmla="*/ 52 w 112"/>
                <a:gd name="T7" fmla="*/ 6 h 136"/>
                <a:gd name="T8" fmla="*/ 78 w 112"/>
                <a:gd name="T9" fmla="*/ 0 h 136"/>
                <a:gd name="T10" fmla="*/ 92 w 112"/>
                <a:gd name="T11" fmla="*/ 3 h 136"/>
                <a:gd name="T12" fmla="*/ 102 w 112"/>
                <a:gd name="T13" fmla="*/ 12 h 136"/>
                <a:gd name="T14" fmla="*/ 109 w 112"/>
                <a:gd name="T15" fmla="*/ 24 h 136"/>
                <a:gd name="T16" fmla="*/ 112 w 112"/>
                <a:gd name="T17" fmla="*/ 40 h 136"/>
                <a:gd name="T18" fmla="*/ 112 w 112"/>
                <a:gd name="T19" fmla="*/ 136 h 136"/>
                <a:gd name="T20" fmla="*/ 85 w 112"/>
                <a:gd name="T21" fmla="*/ 136 h 136"/>
                <a:gd name="T22" fmla="*/ 85 w 112"/>
                <a:gd name="T23" fmla="*/ 45 h 136"/>
                <a:gd name="T24" fmla="*/ 80 w 112"/>
                <a:gd name="T25" fmla="*/ 24 h 136"/>
                <a:gd name="T26" fmla="*/ 64 w 112"/>
                <a:gd name="T27" fmla="*/ 18 h 136"/>
                <a:gd name="T28" fmla="*/ 55 w 112"/>
                <a:gd name="T29" fmla="*/ 19 h 136"/>
                <a:gd name="T30" fmla="*/ 46 w 112"/>
                <a:gd name="T31" fmla="*/ 23 h 136"/>
                <a:gd name="T32" fmla="*/ 36 w 112"/>
                <a:gd name="T33" fmla="*/ 29 h 136"/>
                <a:gd name="T34" fmla="*/ 27 w 112"/>
                <a:gd name="T35" fmla="*/ 37 h 136"/>
                <a:gd name="T36" fmla="*/ 27 w 112"/>
                <a:gd name="T37" fmla="*/ 136 h 136"/>
                <a:gd name="T38" fmla="*/ 0 w 112"/>
                <a:gd name="T39" fmla="*/ 136 h 136"/>
                <a:gd name="T40" fmla="*/ 0 w 112"/>
                <a:gd name="T41" fmla="*/ 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" h="136">
                  <a:moveTo>
                    <a:pt x="0" y="2"/>
                  </a:moveTo>
                  <a:cubicBezTo>
                    <a:pt x="27" y="2"/>
                    <a:pt x="27" y="2"/>
                    <a:pt x="27" y="2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5" y="18"/>
                    <a:pt x="43" y="11"/>
                    <a:pt x="52" y="6"/>
                  </a:cubicBezTo>
                  <a:cubicBezTo>
                    <a:pt x="60" y="2"/>
                    <a:pt x="69" y="0"/>
                    <a:pt x="78" y="0"/>
                  </a:cubicBezTo>
                  <a:cubicBezTo>
                    <a:pt x="83" y="0"/>
                    <a:pt x="87" y="1"/>
                    <a:pt x="92" y="3"/>
                  </a:cubicBezTo>
                  <a:cubicBezTo>
                    <a:pt x="96" y="5"/>
                    <a:pt x="99" y="8"/>
                    <a:pt x="102" y="12"/>
                  </a:cubicBezTo>
                  <a:cubicBezTo>
                    <a:pt x="105" y="15"/>
                    <a:pt x="108" y="19"/>
                    <a:pt x="109" y="24"/>
                  </a:cubicBezTo>
                  <a:cubicBezTo>
                    <a:pt x="111" y="29"/>
                    <a:pt x="112" y="35"/>
                    <a:pt x="112" y="40"/>
                  </a:cubicBezTo>
                  <a:cubicBezTo>
                    <a:pt x="112" y="136"/>
                    <a:pt x="112" y="136"/>
                    <a:pt x="112" y="136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36"/>
                    <a:pt x="83" y="29"/>
                    <a:pt x="80" y="24"/>
                  </a:cubicBezTo>
                  <a:cubicBezTo>
                    <a:pt x="76" y="20"/>
                    <a:pt x="70" y="18"/>
                    <a:pt x="64" y="18"/>
                  </a:cubicBezTo>
                  <a:cubicBezTo>
                    <a:pt x="61" y="18"/>
                    <a:pt x="58" y="18"/>
                    <a:pt x="55" y="19"/>
                  </a:cubicBezTo>
                  <a:cubicBezTo>
                    <a:pt x="52" y="20"/>
                    <a:pt x="49" y="21"/>
                    <a:pt x="46" y="23"/>
                  </a:cubicBezTo>
                  <a:cubicBezTo>
                    <a:pt x="42" y="25"/>
                    <a:pt x="39" y="27"/>
                    <a:pt x="36" y="29"/>
                  </a:cubicBezTo>
                  <a:cubicBezTo>
                    <a:pt x="33" y="31"/>
                    <a:pt x="30" y="34"/>
                    <a:pt x="27" y="37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0" y="136"/>
                    <a:pt x="0" y="136"/>
                    <a:pt x="0" y="136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3" name="Freeform 19"/>
            <p:cNvSpPr>
              <a:spLocks noEditPoints="1"/>
            </p:cNvSpPr>
            <p:nvPr/>
          </p:nvSpPr>
          <p:spPr bwMode="auto">
            <a:xfrm>
              <a:off x="4069" y="2849"/>
              <a:ext cx="303" cy="487"/>
            </a:xfrm>
            <a:custGeom>
              <a:avLst/>
              <a:gdLst>
                <a:gd name="T0" fmla="*/ 101 w 128"/>
                <a:gd name="T1" fmla="*/ 189 h 205"/>
                <a:gd name="T2" fmla="*/ 91 w 128"/>
                <a:gd name="T3" fmla="*/ 196 h 205"/>
                <a:gd name="T4" fmla="*/ 80 w 128"/>
                <a:gd name="T5" fmla="*/ 201 h 205"/>
                <a:gd name="T6" fmla="*/ 68 w 128"/>
                <a:gd name="T7" fmla="*/ 204 h 205"/>
                <a:gd name="T8" fmla="*/ 57 w 128"/>
                <a:gd name="T9" fmla="*/ 205 h 205"/>
                <a:gd name="T10" fmla="*/ 35 w 128"/>
                <a:gd name="T11" fmla="*/ 200 h 205"/>
                <a:gd name="T12" fmla="*/ 17 w 128"/>
                <a:gd name="T13" fmla="*/ 185 h 205"/>
                <a:gd name="T14" fmla="*/ 5 w 128"/>
                <a:gd name="T15" fmla="*/ 163 h 205"/>
                <a:gd name="T16" fmla="*/ 0 w 128"/>
                <a:gd name="T17" fmla="*/ 137 h 205"/>
                <a:gd name="T18" fmla="*/ 6 w 128"/>
                <a:gd name="T19" fmla="*/ 110 h 205"/>
                <a:gd name="T20" fmla="*/ 21 w 128"/>
                <a:gd name="T21" fmla="*/ 88 h 205"/>
                <a:gd name="T22" fmla="*/ 43 w 128"/>
                <a:gd name="T23" fmla="*/ 72 h 205"/>
                <a:gd name="T24" fmla="*/ 71 w 128"/>
                <a:gd name="T25" fmla="*/ 66 h 205"/>
                <a:gd name="T26" fmla="*/ 88 w 128"/>
                <a:gd name="T27" fmla="*/ 69 h 205"/>
                <a:gd name="T28" fmla="*/ 101 w 128"/>
                <a:gd name="T29" fmla="*/ 78 h 205"/>
                <a:gd name="T30" fmla="*/ 101 w 128"/>
                <a:gd name="T31" fmla="*/ 7 h 205"/>
                <a:gd name="T32" fmla="*/ 120 w 128"/>
                <a:gd name="T33" fmla="*/ 0 h 205"/>
                <a:gd name="T34" fmla="*/ 128 w 128"/>
                <a:gd name="T35" fmla="*/ 0 h 205"/>
                <a:gd name="T36" fmla="*/ 128 w 128"/>
                <a:gd name="T37" fmla="*/ 205 h 205"/>
                <a:gd name="T38" fmla="*/ 101 w 128"/>
                <a:gd name="T39" fmla="*/ 205 h 205"/>
                <a:gd name="T40" fmla="*/ 101 w 128"/>
                <a:gd name="T41" fmla="*/ 189 h 205"/>
                <a:gd name="T42" fmla="*/ 101 w 128"/>
                <a:gd name="T43" fmla="*/ 111 h 205"/>
                <a:gd name="T44" fmla="*/ 98 w 128"/>
                <a:gd name="T45" fmla="*/ 96 h 205"/>
                <a:gd name="T46" fmla="*/ 91 w 128"/>
                <a:gd name="T47" fmla="*/ 85 h 205"/>
                <a:gd name="T48" fmla="*/ 80 w 128"/>
                <a:gd name="T49" fmla="*/ 78 h 205"/>
                <a:gd name="T50" fmla="*/ 68 w 128"/>
                <a:gd name="T51" fmla="*/ 76 h 205"/>
                <a:gd name="T52" fmla="*/ 53 w 128"/>
                <a:gd name="T53" fmla="*/ 80 h 205"/>
                <a:gd name="T54" fmla="*/ 41 w 128"/>
                <a:gd name="T55" fmla="*/ 91 h 205"/>
                <a:gd name="T56" fmla="*/ 33 w 128"/>
                <a:gd name="T57" fmla="*/ 108 h 205"/>
                <a:gd name="T58" fmla="*/ 30 w 128"/>
                <a:gd name="T59" fmla="*/ 129 h 205"/>
                <a:gd name="T60" fmla="*/ 33 w 128"/>
                <a:gd name="T61" fmla="*/ 153 h 205"/>
                <a:gd name="T62" fmla="*/ 42 w 128"/>
                <a:gd name="T63" fmla="*/ 173 h 205"/>
                <a:gd name="T64" fmla="*/ 55 w 128"/>
                <a:gd name="T65" fmla="*/ 186 h 205"/>
                <a:gd name="T66" fmla="*/ 72 w 128"/>
                <a:gd name="T67" fmla="*/ 191 h 205"/>
                <a:gd name="T68" fmla="*/ 80 w 128"/>
                <a:gd name="T69" fmla="*/ 189 h 205"/>
                <a:gd name="T70" fmla="*/ 88 w 128"/>
                <a:gd name="T71" fmla="*/ 186 h 205"/>
                <a:gd name="T72" fmla="*/ 95 w 128"/>
                <a:gd name="T73" fmla="*/ 182 h 205"/>
                <a:gd name="T74" fmla="*/ 101 w 128"/>
                <a:gd name="T75" fmla="*/ 177 h 205"/>
                <a:gd name="T76" fmla="*/ 101 w 128"/>
                <a:gd name="T77" fmla="*/ 1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8" h="205">
                  <a:moveTo>
                    <a:pt x="101" y="189"/>
                  </a:moveTo>
                  <a:cubicBezTo>
                    <a:pt x="98" y="191"/>
                    <a:pt x="95" y="194"/>
                    <a:pt x="91" y="196"/>
                  </a:cubicBezTo>
                  <a:cubicBezTo>
                    <a:pt x="88" y="198"/>
                    <a:pt x="84" y="199"/>
                    <a:pt x="80" y="201"/>
                  </a:cubicBezTo>
                  <a:cubicBezTo>
                    <a:pt x="76" y="202"/>
                    <a:pt x="72" y="203"/>
                    <a:pt x="68" y="204"/>
                  </a:cubicBezTo>
                  <a:cubicBezTo>
                    <a:pt x="64" y="205"/>
                    <a:pt x="61" y="205"/>
                    <a:pt x="57" y="205"/>
                  </a:cubicBezTo>
                  <a:cubicBezTo>
                    <a:pt x="49" y="205"/>
                    <a:pt x="42" y="203"/>
                    <a:pt x="35" y="200"/>
                  </a:cubicBezTo>
                  <a:cubicBezTo>
                    <a:pt x="28" y="196"/>
                    <a:pt x="22" y="191"/>
                    <a:pt x="17" y="185"/>
                  </a:cubicBezTo>
                  <a:cubicBezTo>
                    <a:pt x="12" y="179"/>
                    <a:pt x="8" y="171"/>
                    <a:pt x="5" y="163"/>
                  </a:cubicBezTo>
                  <a:cubicBezTo>
                    <a:pt x="2" y="155"/>
                    <a:pt x="0" y="146"/>
                    <a:pt x="0" y="137"/>
                  </a:cubicBezTo>
                  <a:cubicBezTo>
                    <a:pt x="0" y="128"/>
                    <a:pt x="2" y="119"/>
                    <a:pt x="6" y="110"/>
                  </a:cubicBezTo>
                  <a:cubicBezTo>
                    <a:pt x="10" y="102"/>
                    <a:pt x="15" y="94"/>
                    <a:pt x="21" y="88"/>
                  </a:cubicBezTo>
                  <a:cubicBezTo>
                    <a:pt x="27" y="81"/>
                    <a:pt x="35" y="76"/>
                    <a:pt x="43" y="72"/>
                  </a:cubicBezTo>
                  <a:cubicBezTo>
                    <a:pt x="52" y="68"/>
                    <a:pt x="61" y="66"/>
                    <a:pt x="71" y="66"/>
                  </a:cubicBezTo>
                  <a:cubicBezTo>
                    <a:pt x="77" y="66"/>
                    <a:pt x="83" y="67"/>
                    <a:pt x="88" y="69"/>
                  </a:cubicBezTo>
                  <a:cubicBezTo>
                    <a:pt x="93" y="71"/>
                    <a:pt x="97" y="74"/>
                    <a:pt x="101" y="7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8" y="205"/>
                    <a:pt x="128" y="205"/>
                    <a:pt x="128" y="205"/>
                  </a:cubicBezTo>
                  <a:cubicBezTo>
                    <a:pt x="101" y="205"/>
                    <a:pt x="101" y="205"/>
                    <a:pt x="101" y="205"/>
                  </a:cubicBezTo>
                  <a:lnTo>
                    <a:pt x="101" y="189"/>
                  </a:lnTo>
                  <a:close/>
                  <a:moveTo>
                    <a:pt x="101" y="111"/>
                  </a:moveTo>
                  <a:cubicBezTo>
                    <a:pt x="101" y="106"/>
                    <a:pt x="100" y="101"/>
                    <a:pt x="98" y="96"/>
                  </a:cubicBezTo>
                  <a:cubicBezTo>
                    <a:pt x="96" y="92"/>
                    <a:pt x="94" y="88"/>
                    <a:pt x="91" y="85"/>
                  </a:cubicBezTo>
                  <a:cubicBezTo>
                    <a:pt x="87" y="82"/>
                    <a:pt x="84" y="80"/>
                    <a:pt x="80" y="78"/>
                  </a:cubicBezTo>
                  <a:cubicBezTo>
                    <a:pt x="76" y="76"/>
                    <a:pt x="72" y="76"/>
                    <a:pt x="68" y="76"/>
                  </a:cubicBezTo>
                  <a:cubicBezTo>
                    <a:pt x="63" y="76"/>
                    <a:pt x="58" y="77"/>
                    <a:pt x="53" y="80"/>
                  </a:cubicBezTo>
                  <a:cubicBezTo>
                    <a:pt x="48" y="82"/>
                    <a:pt x="44" y="86"/>
                    <a:pt x="41" y="91"/>
                  </a:cubicBezTo>
                  <a:cubicBezTo>
                    <a:pt x="37" y="95"/>
                    <a:pt x="35" y="101"/>
                    <a:pt x="33" y="108"/>
                  </a:cubicBezTo>
                  <a:cubicBezTo>
                    <a:pt x="31" y="114"/>
                    <a:pt x="30" y="122"/>
                    <a:pt x="30" y="129"/>
                  </a:cubicBezTo>
                  <a:cubicBezTo>
                    <a:pt x="30" y="138"/>
                    <a:pt x="31" y="146"/>
                    <a:pt x="33" y="153"/>
                  </a:cubicBezTo>
                  <a:cubicBezTo>
                    <a:pt x="35" y="161"/>
                    <a:pt x="38" y="167"/>
                    <a:pt x="42" y="173"/>
                  </a:cubicBezTo>
                  <a:cubicBezTo>
                    <a:pt x="46" y="178"/>
                    <a:pt x="50" y="183"/>
                    <a:pt x="55" y="186"/>
                  </a:cubicBezTo>
                  <a:cubicBezTo>
                    <a:pt x="61" y="189"/>
                    <a:pt x="66" y="191"/>
                    <a:pt x="72" y="191"/>
                  </a:cubicBezTo>
                  <a:cubicBezTo>
                    <a:pt x="75" y="191"/>
                    <a:pt x="77" y="190"/>
                    <a:pt x="80" y="189"/>
                  </a:cubicBezTo>
                  <a:cubicBezTo>
                    <a:pt x="83" y="189"/>
                    <a:pt x="86" y="188"/>
                    <a:pt x="88" y="186"/>
                  </a:cubicBezTo>
                  <a:cubicBezTo>
                    <a:pt x="91" y="185"/>
                    <a:pt x="93" y="184"/>
                    <a:pt x="95" y="182"/>
                  </a:cubicBezTo>
                  <a:cubicBezTo>
                    <a:pt x="98" y="180"/>
                    <a:pt x="99" y="179"/>
                    <a:pt x="101" y="177"/>
                  </a:cubicBezTo>
                  <a:lnTo>
                    <a:pt x="101" y="111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20"/>
            <p:cNvSpPr>
              <a:spLocks noEditPoints="1"/>
            </p:cNvSpPr>
            <p:nvPr/>
          </p:nvSpPr>
          <p:spPr bwMode="auto">
            <a:xfrm>
              <a:off x="4431" y="3006"/>
              <a:ext cx="304" cy="330"/>
            </a:xfrm>
            <a:custGeom>
              <a:avLst/>
              <a:gdLst>
                <a:gd name="T0" fmla="*/ 65 w 128"/>
                <a:gd name="T1" fmla="*/ 139 h 139"/>
                <a:gd name="T2" fmla="*/ 40 w 128"/>
                <a:gd name="T3" fmla="*/ 134 h 139"/>
                <a:gd name="T4" fmla="*/ 19 w 128"/>
                <a:gd name="T5" fmla="*/ 120 h 139"/>
                <a:gd name="T6" fmla="*/ 5 w 128"/>
                <a:gd name="T7" fmla="*/ 100 h 139"/>
                <a:gd name="T8" fmla="*/ 0 w 128"/>
                <a:gd name="T9" fmla="*/ 74 h 139"/>
                <a:gd name="T10" fmla="*/ 4 w 128"/>
                <a:gd name="T11" fmla="*/ 44 h 139"/>
                <a:gd name="T12" fmla="*/ 18 w 128"/>
                <a:gd name="T13" fmla="*/ 21 h 139"/>
                <a:gd name="T14" fmla="*/ 38 w 128"/>
                <a:gd name="T15" fmla="*/ 5 h 139"/>
                <a:gd name="T16" fmla="*/ 65 w 128"/>
                <a:gd name="T17" fmla="*/ 0 h 139"/>
                <a:gd name="T18" fmla="*/ 89 w 128"/>
                <a:gd name="T19" fmla="*/ 4 h 139"/>
                <a:gd name="T20" fmla="*/ 108 w 128"/>
                <a:gd name="T21" fmla="*/ 17 h 139"/>
                <a:gd name="T22" fmla="*/ 120 w 128"/>
                <a:gd name="T23" fmla="*/ 35 h 139"/>
                <a:gd name="T24" fmla="*/ 125 w 128"/>
                <a:gd name="T25" fmla="*/ 56 h 139"/>
                <a:gd name="T26" fmla="*/ 25 w 128"/>
                <a:gd name="T27" fmla="*/ 56 h 139"/>
                <a:gd name="T28" fmla="*/ 28 w 128"/>
                <a:gd name="T29" fmla="*/ 81 h 139"/>
                <a:gd name="T30" fmla="*/ 38 w 128"/>
                <a:gd name="T31" fmla="*/ 101 h 139"/>
                <a:gd name="T32" fmla="*/ 53 w 128"/>
                <a:gd name="T33" fmla="*/ 114 h 139"/>
                <a:gd name="T34" fmla="*/ 72 w 128"/>
                <a:gd name="T35" fmla="*/ 119 h 139"/>
                <a:gd name="T36" fmla="*/ 89 w 128"/>
                <a:gd name="T37" fmla="*/ 116 h 139"/>
                <a:gd name="T38" fmla="*/ 103 w 128"/>
                <a:gd name="T39" fmla="*/ 108 h 139"/>
                <a:gd name="T40" fmla="*/ 114 w 128"/>
                <a:gd name="T41" fmla="*/ 98 h 139"/>
                <a:gd name="T42" fmla="*/ 121 w 128"/>
                <a:gd name="T43" fmla="*/ 86 h 139"/>
                <a:gd name="T44" fmla="*/ 128 w 128"/>
                <a:gd name="T45" fmla="*/ 89 h 139"/>
                <a:gd name="T46" fmla="*/ 119 w 128"/>
                <a:gd name="T47" fmla="*/ 109 h 139"/>
                <a:gd name="T48" fmla="*/ 104 w 128"/>
                <a:gd name="T49" fmla="*/ 124 h 139"/>
                <a:gd name="T50" fmla="*/ 86 w 128"/>
                <a:gd name="T51" fmla="*/ 135 h 139"/>
                <a:gd name="T52" fmla="*/ 65 w 128"/>
                <a:gd name="T53" fmla="*/ 139 h 139"/>
                <a:gd name="T54" fmla="*/ 92 w 128"/>
                <a:gd name="T55" fmla="*/ 45 h 139"/>
                <a:gd name="T56" fmla="*/ 89 w 128"/>
                <a:gd name="T57" fmla="*/ 31 h 139"/>
                <a:gd name="T58" fmla="*/ 81 w 128"/>
                <a:gd name="T59" fmla="*/ 20 h 139"/>
                <a:gd name="T60" fmla="*/ 70 w 128"/>
                <a:gd name="T61" fmla="*/ 12 h 139"/>
                <a:gd name="T62" fmla="*/ 57 w 128"/>
                <a:gd name="T63" fmla="*/ 10 h 139"/>
                <a:gd name="T64" fmla="*/ 45 w 128"/>
                <a:gd name="T65" fmla="*/ 12 h 139"/>
                <a:gd name="T66" fmla="*/ 36 w 128"/>
                <a:gd name="T67" fmla="*/ 20 h 139"/>
                <a:gd name="T68" fmla="*/ 29 w 128"/>
                <a:gd name="T69" fmla="*/ 31 h 139"/>
                <a:gd name="T70" fmla="*/ 25 w 128"/>
                <a:gd name="T71" fmla="*/ 45 h 139"/>
                <a:gd name="T72" fmla="*/ 92 w 128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8" h="139">
                  <a:moveTo>
                    <a:pt x="65" y="139"/>
                  </a:moveTo>
                  <a:cubicBezTo>
                    <a:pt x="56" y="139"/>
                    <a:pt x="47" y="137"/>
                    <a:pt x="40" y="134"/>
                  </a:cubicBezTo>
                  <a:cubicBezTo>
                    <a:pt x="32" y="131"/>
                    <a:pt x="25" y="126"/>
                    <a:pt x="19" y="120"/>
                  </a:cubicBezTo>
                  <a:cubicBezTo>
                    <a:pt x="13" y="114"/>
                    <a:pt x="8" y="107"/>
                    <a:pt x="5" y="100"/>
                  </a:cubicBezTo>
                  <a:cubicBezTo>
                    <a:pt x="1" y="92"/>
                    <a:pt x="0" y="83"/>
                    <a:pt x="0" y="74"/>
                  </a:cubicBezTo>
                  <a:cubicBezTo>
                    <a:pt x="0" y="64"/>
                    <a:pt x="1" y="54"/>
                    <a:pt x="4" y="44"/>
                  </a:cubicBezTo>
                  <a:cubicBezTo>
                    <a:pt x="7" y="35"/>
                    <a:pt x="12" y="27"/>
                    <a:pt x="18" y="21"/>
                  </a:cubicBezTo>
                  <a:cubicBezTo>
                    <a:pt x="23" y="14"/>
                    <a:pt x="30" y="9"/>
                    <a:pt x="38" y="5"/>
                  </a:cubicBezTo>
                  <a:cubicBezTo>
                    <a:pt x="46" y="1"/>
                    <a:pt x="55" y="0"/>
                    <a:pt x="65" y="0"/>
                  </a:cubicBezTo>
                  <a:cubicBezTo>
                    <a:pt x="74" y="0"/>
                    <a:pt x="82" y="1"/>
                    <a:pt x="89" y="4"/>
                  </a:cubicBezTo>
                  <a:cubicBezTo>
                    <a:pt x="97" y="7"/>
                    <a:pt x="103" y="11"/>
                    <a:pt x="108" y="17"/>
                  </a:cubicBezTo>
                  <a:cubicBezTo>
                    <a:pt x="113" y="22"/>
                    <a:pt x="117" y="28"/>
                    <a:pt x="120" y="35"/>
                  </a:cubicBezTo>
                  <a:cubicBezTo>
                    <a:pt x="123" y="41"/>
                    <a:pt x="125" y="49"/>
                    <a:pt x="1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65"/>
                    <a:pt x="26" y="73"/>
                    <a:pt x="28" y="81"/>
                  </a:cubicBezTo>
                  <a:cubicBezTo>
                    <a:pt x="31" y="89"/>
                    <a:pt x="34" y="95"/>
                    <a:pt x="38" y="101"/>
                  </a:cubicBezTo>
                  <a:cubicBezTo>
                    <a:pt x="42" y="106"/>
                    <a:pt x="47" y="111"/>
                    <a:pt x="53" y="114"/>
                  </a:cubicBezTo>
                  <a:cubicBezTo>
                    <a:pt x="59" y="117"/>
                    <a:pt x="65" y="119"/>
                    <a:pt x="72" y="119"/>
                  </a:cubicBezTo>
                  <a:cubicBezTo>
                    <a:pt x="78" y="119"/>
                    <a:pt x="83" y="118"/>
                    <a:pt x="89" y="116"/>
                  </a:cubicBezTo>
                  <a:cubicBezTo>
                    <a:pt x="94" y="114"/>
                    <a:pt x="99" y="112"/>
                    <a:pt x="103" y="108"/>
                  </a:cubicBezTo>
                  <a:cubicBezTo>
                    <a:pt x="108" y="105"/>
                    <a:pt x="111" y="102"/>
                    <a:pt x="114" y="98"/>
                  </a:cubicBezTo>
                  <a:cubicBezTo>
                    <a:pt x="117" y="94"/>
                    <a:pt x="120" y="90"/>
                    <a:pt x="121" y="86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6" y="96"/>
                    <a:pt x="123" y="103"/>
                    <a:pt x="119" y="109"/>
                  </a:cubicBezTo>
                  <a:cubicBezTo>
                    <a:pt x="115" y="115"/>
                    <a:pt x="110" y="120"/>
                    <a:pt x="104" y="124"/>
                  </a:cubicBezTo>
                  <a:cubicBezTo>
                    <a:pt x="98" y="129"/>
                    <a:pt x="92" y="132"/>
                    <a:pt x="86" y="135"/>
                  </a:cubicBezTo>
                  <a:cubicBezTo>
                    <a:pt x="79" y="138"/>
                    <a:pt x="72" y="139"/>
                    <a:pt x="65" y="139"/>
                  </a:cubicBezTo>
                  <a:moveTo>
                    <a:pt x="92" y="45"/>
                  </a:moveTo>
                  <a:cubicBezTo>
                    <a:pt x="92" y="40"/>
                    <a:pt x="91" y="36"/>
                    <a:pt x="89" y="31"/>
                  </a:cubicBezTo>
                  <a:cubicBezTo>
                    <a:pt x="87" y="27"/>
                    <a:pt x="85" y="23"/>
                    <a:pt x="81" y="20"/>
                  </a:cubicBezTo>
                  <a:cubicBezTo>
                    <a:pt x="78" y="17"/>
                    <a:pt x="75" y="14"/>
                    <a:pt x="70" y="12"/>
                  </a:cubicBezTo>
                  <a:cubicBezTo>
                    <a:pt x="66" y="10"/>
                    <a:pt x="62" y="10"/>
                    <a:pt x="57" y="10"/>
                  </a:cubicBezTo>
                  <a:cubicBezTo>
                    <a:pt x="53" y="10"/>
                    <a:pt x="49" y="10"/>
                    <a:pt x="45" y="12"/>
                  </a:cubicBezTo>
                  <a:cubicBezTo>
                    <a:pt x="42" y="14"/>
                    <a:pt x="39" y="17"/>
                    <a:pt x="36" y="20"/>
                  </a:cubicBezTo>
                  <a:cubicBezTo>
                    <a:pt x="33" y="23"/>
                    <a:pt x="31" y="27"/>
                    <a:pt x="29" y="31"/>
                  </a:cubicBezTo>
                  <a:cubicBezTo>
                    <a:pt x="27" y="36"/>
                    <a:pt x="26" y="40"/>
                    <a:pt x="25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21"/>
            <p:cNvSpPr>
              <a:spLocks noEditPoints="1"/>
            </p:cNvSpPr>
            <p:nvPr/>
          </p:nvSpPr>
          <p:spPr bwMode="auto">
            <a:xfrm>
              <a:off x="4780" y="2849"/>
              <a:ext cx="301" cy="487"/>
            </a:xfrm>
            <a:custGeom>
              <a:avLst/>
              <a:gdLst>
                <a:gd name="T0" fmla="*/ 101 w 127"/>
                <a:gd name="T1" fmla="*/ 189 h 205"/>
                <a:gd name="T2" fmla="*/ 91 w 127"/>
                <a:gd name="T3" fmla="*/ 196 h 205"/>
                <a:gd name="T4" fmla="*/ 80 w 127"/>
                <a:gd name="T5" fmla="*/ 201 h 205"/>
                <a:gd name="T6" fmla="*/ 68 w 127"/>
                <a:gd name="T7" fmla="*/ 204 h 205"/>
                <a:gd name="T8" fmla="*/ 57 w 127"/>
                <a:gd name="T9" fmla="*/ 205 h 205"/>
                <a:gd name="T10" fmla="*/ 34 w 127"/>
                <a:gd name="T11" fmla="*/ 200 h 205"/>
                <a:gd name="T12" fmla="*/ 16 w 127"/>
                <a:gd name="T13" fmla="*/ 185 h 205"/>
                <a:gd name="T14" fmla="*/ 4 w 127"/>
                <a:gd name="T15" fmla="*/ 163 h 205"/>
                <a:gd name="T16" fmla="*/ 0 w 127"/>
                <a:gd name="T17" fmla="*/ 137 h 205"/>
                <a:gd name="T18" fmla="*/ 6 w 127"/>
                <a:gd name="T19" fmla="*/ 110 h 205"/>
                <a:gd name="T20" fmla="*/ 21 w 127"/>
                <a:gd name="T21" fmla="*/ 88 h 205"/>
                <a:gd name="T22" fmla="*/ 43 w 127"/>
                <a:gd name="T23" fmla="*/ 72 h 205"/>
                <a:gd name="T24" fmla="*/ 70 w 127"/>
                <a:gd name="T25" fmla="*/ 66 h 205"/>
                <a:gd name="T26" fmla="*/ 87 w 127"/>
                <a:gd name="T27" fmla="*/ 69 h 205"/>
                <a:gd name="T28" fmla="*/ 101 w 127"/>
                <a:gd name="T29" fmla="*/ 78 h 205"/>
                <a:gd name="T30" fmla="*/ 101 w 127"/>
                <a:gd name="T31" fmla="*/ 7 h 205"/>
                <a:gd name="T32" fmla="*/ 119 w 127"/>
                <a:gd name="T33" fmla="*/ 0 h 205"/>
                <a:gd name="T34" fmla="*/ 127 w 127"/>
                <a:gd name="T35" fmla="*/ 0 h 205"/>
                <a:gd name="T36" fmla="*/ 127 w 127"/>
                <a:gd name="T37" fmla="*/ 205 h 205"/>
                <a:gd name="T38" fmla="*/ 101 w 127"/>
                <a:gd name="T39" fmla="*/ 205 h 205"/>
                <a:gd name="T40" fmla="*/ 101 w 127"/>
                <a:gd name="T41" fmla="*/ 189 h 205"/>
                <a:gd name="T42" fmla="*/ 101 w 127"/>
                <a:gd name="T43" fmla="*/ 111 h 205"/>
                <a:gd name="T44" fmla="*/ 98 w 127"/>
                <a:gd name="T45" fmla="*/ 96 h 205"/>
                <a:gd name="T46" fmla="*/ 90 w 127"/>
                <a:gd name="T47" fmla="*/ 85 h 205"/>
                <a:gd name="T48" fmla="*/ 79 w 127"/>
                <a:gd name="T49" fmla="*/ 78 h 205"/>
                <a:gd name="T50" fmla="*/ 67 w 127"/>
                <a:gd name="T51" fmla="*/ 76 h 205"/>
                <a:gd name="T52" fmla="*/ 53 w 127"/>
                <a:gd name="T53" fmla="*/ 80 h 205"/>
                <a:gd name="T54" fmla="*/ 40 w 127"/>
                <a:gd name="T55" fmla="*/ 91 h 205"/>
                <a:gd name="T56" fmla="*/ 32 w 127"/>
                <a:gd name="T57" fmla="*/ 108 h 205"/>
                <a:gd name="T58" fmla="*/ 29 w 127"/>
                <a:gd name="T59" fmla="*/ 129 h 205"/>
                <a:gd name="T60" fmla="*/ 33 w 127"/>
                <a:gd name="T61" fmla="*/ 153 h 205"/>
                <a:gd name="T62" fmla="*/ 42 w 127"/>
                <a:gd name="T63" fmla="*/ 173 h 205"/>
                <a:gd name="T64" fmla="*/ 55 w 127"/>
                <a:gd name="T65" fmla="*/ 186 h 205"/>
                <a:gd name="T66" fmla="*/ 71 w 127"/>
                <a:gd name="T67" fmla="*/ 191 h 205"/>
                <a:gd name="T68" fmla="*/ 80 w 127"/>
                <a:gd name="T69" fmla="*/ 189 h 205"/>
                <a:gd name="T70" fmla="*/ 88 w 127"/>
                <a:gd name="T71" fmla="*/ 186 h 205"/>
                <a:gd name="T72" fmla="*/ 95 w 127"/>
                <a:gd name="T73" fmla="*/ 182 h 205"/>
                <a:gd name="T74" fmla="*/ 101 w 127"/>
                <a:gd name="T75" fmla="*/ 177 h 205"/>
                <a:gd name="T76" fmla="*/ 101 w 127"/>
                <a:gd name="T77" fmla="*/ 1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7" h="205">
                  <a:moveTo>
                    <a:pt x="101" y="189"/>
                  </a:moveTo>
                  <a:cubicBezTo>
                    <a:pt x="98" y="191"/>
                    <a:pt x="94" y="194"/>
                    <a:pt x="91" y="196"/>
                  </a:cubicBezTo>
                  <a:cubicBezTo>
                    <a:pt x="87" y="198"/>
                    <a:pt x="83" y="199"/>
                    <a:pt x="80" y="201"/>
                  </a:cubicBezTo>
                  <a:cubicBezTo>
                    <a:pt x="76" y="202"/>
                    <a:pt x="72" y="203"/>
                    <a:pt x="68" y="204"/>
                  </a:cubicBezTo>
                  <a:cubicBezTo>
                    <a:pt x="64" y="205"/>
                    <a:pt x="60" y="205"/>
                    <a:pt x="57" y="205"/>
                  </a:cubicBezTo>
                  <a:cubicBezTo>
                    <a:pt x="49" y="205"/>
                    <a:pt x="41" y="203"/>
                    <a:pt x="34" y="200"/>
                  </a:cubicBezTo>
                  <a:cubicBezTo>
                    <a:pt x="28" y="196"/>
                    <a:pt x="22" y="191"/>
                    <a:pt x="16" y="185"/>
                  </a:cubicBezTo>
                  <a:cubicBezTo>
                    <a:pt x="11" y="179"/>
                    <a:pt x="7" y="171"/>
                    <a:pt x="4" y="163"/>
                  </a:cubicBezTo>
                  <a:cubicBezTo>
                    <a:pt x="1" y="155"/>
                    <a:pt x="0" y="146"/>
                    <a:pt x="0" y="137"/>
                  </a:cubicBezTo>
                  <a:cubicBezTo>
                    <a:pt x="0" y="128"/>
                    <a:pt x="2" y="119"/>
                    <a:pt x="6" y="110"/>
                  </a:cubicBezTo>
                  <a:cubicBezTo>
                    <a:pt x="9" y="102"/>
                    <a:pt x="14" y="94"/>
                    <a:pt x="21" y="88"/>
                  </a:cubicBezTo>
                  <a:cubicBezTo>
                    <a:pt x="27" y="81"/>
                    <a:pt x="34" y="76"/>
                    <a:pt x="43" y="72"/>
                  </a:cubicBezTo>
                  <a:cubicBezTo>
                    <a:pt x="51" y="68"/>
                    <a:pt x="60" y="66"/>
                    <a:pt x="70" y="66"/>
                  </a:cubicBezTo>
                  <a:cubicBezTo>
                    <a:pt x="77" y="66"/>
                    <a:pt x="82" y="67"/>
                    <a:pt x="87" y="69"/>
                  </a:cubicBezTo>
                  <a:cubicBezTo>
                    <a:pt x="92" y="71"/>
                    <a:pt x="97" y="74"/>
                    <a:pt x="101" y="7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7" y="205"/>
                    <a:pt x="127" y="205"/>
                    <a:pt x="127" y="205"/>
                  </a:cubicBezTo>
                  <a:cubicBezTo>
                    <a:pt x="101" y="205"/>
                    <a:pt x="101" y="205"/>
                    <a:pt x="101" y="205"/>
                  </a:cubicBezTo>
                  <a:lnTo>
                    <a:pt x="101" y="189"/>
                  </a:lnTo>
                  <a:close/>
                  <a:moveTo>
                    <a:pt x="101" y="111"/>
                  </a:moveTo>
                  <a:cubicBezTo>
                    <a:pt x="101" y="106"/>
                    <a:pt x="100" y="101"/>
                    <a:pt x="98" y="96"/>
                  </a:cubicBezTo>
                  <a:cubicBezTo>
                    <a:pt x="96" y="92"/>
                    <a:pt x="93" y="88"/>
                    <a:pt x="90" y="85"/>
                  </a:cubicBezTo>
                  <a:cubicBezTo>
                    <a:pt x="87" y="82"/>
                    <a:pt x="83" y="80"/>
                    <a:pt x="79" y="78"/>
                  </a:cubicBezTo>
                  <a:cubicBezTo>
                    <a:pt x="76" y="76"/>
                    <a:pt x="71" y="76"/>
                    <a:pt x="67" y="76"/>
                  </a:cubicBezTo>
                  <a:cubicBezTo>
                    <a:pt x="62" y="76"/>
                    <a:pt x="57" y="77"/>
                    <a:pt x="53" y="80"/>
                  </a:cubicBezTo>
                  <a:cubicBezTo>
                    <a:pt x="48" y="82"/>
                    <a:pt x="44" y="86"/>
                    <a:pt x="40" y="91"/>
                  </a:cubicBezTo>
                  <a:cubicBezTo>
                    <a:pt x="37" y="95"/>
                    <a:pt x="34" y="101"/>
                    <a:pt x="32" y="108"/>
                  </a:cubicBezTo>
                  <a:cubicBezTo>
                    <a:pt x="30" y="114"/>
                    <a:pt x="29" y="122"/>
                    <a:pt x="29" y="129"/>
                  </a:cubicBezTo>
                  <a:cubicBezTo>
                    <a:pt x="29" y="138"/>
                    <a:pt x="30" y="146"/>
                    <a:pt x="33" y="153"/>
                  </a:cubicBezTo>
                  <a:cubicBezTo>
                    <a:pt x="35" y="161"/>
                    <a:pt x="38" y="167"/>
                    <a:pt x="42" y="173"/>
                  </a:cubicBezTo>
                  <a:cubicBezTo>
                    <a:pt x="45" y="178"/>
                    <a:pt x="50" y="183"/>
                    <a:pt x="55" y="186"/>
                  </a:cubicBezTo>
                  <a:cubicBezTo>
                    <a:pt x="60" y="189"/>
                    <a:pt x="66" y="191"/>
                    <a:pt x="71" y="191"/>
                  </a:cubicBezTo>
                  <a:cubicBezTo>
                    <a:pt x="74" y="191"/>
                    <a:pt x="77" y="190"/>
                    <a:pt x="80" y="189"/>
                  </a:cubicBezTo>
                  <a:cubicBezTo>
                    <a:pt x="83" y="189"/>
                    <a:pt x="85" y="188"/>
                    <a:pt x="88" y="186"/>
                  </a:cubicBezTo>
                  <a:cubicBezTo>
                    <a:pt x="90" y="185"/>
                    <a:pt x="93" y="184"/>
                    <a:pt x="95" y="182"/>
                  </a:cubicBezTo>
                  <a:cubicBezTo>
                    <a:pt x="97" y="180"/>
                    <a:pt x="99" y="179"/>
                    <a:pt x="101" y="177"/>
                  </a:cubicBezTo>
                  <a:lnTo>
                    <a:pt x="101" y="111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22"/>
            <p:cNvSpPr>
              <a:spLocks/>
            </p:cNvSpPr>
            <p:nvPr/>
          </p:nvSpPr>
          <p:spPr bwMode="auto">
            <a:xfrm>
              <a:off x="2515" y="3463"/>
              <a:ext cx="201" cy="432"/>
            </a:xfrm>
            <a:custGeom>
              <a:avLst/>
              <a:gdLst>
                <a:gd name="T0" fmla="*/ 85 w 85"/>
                <a:gd name="T1" fmla="*/ 163 h 182"/>
                <a:gd name="T2" fmla="*/ 71 w 85"/>
                <a:gd name="T3" fmla="*/ 177 h 182"/>
                <a:gd name="T4" fmla="*/ 50 w 85"/>
                <a:gd name="T5" fmla="*/ 182 h 182"/>
                <a:gd name="T6" fmla="*/ 38 w 85"/>
                <a:gd name="T7" fmla="*/ 180 h 182"/>
                <a:gd name="T8" fmla="*/ 30 w 85"/>
                <a:gd name="T9" fmla="*/ 174 h 182"/>
                <a:gd name="T10" fmla="*/ 25 w 85"/>
                <a:gd name="T11" fmla="*/ 164 h 182"/>
                <a:gd name="T12" fmla="*/ 23 w 85"/>
                <a:gd name="T13" fmla="*/ 151 h 182"/>
                <a:gd name="T14" fmla="*/ 23 w 85"/>
                <a:gd name="T15" fmla="*/ 57 h 182"/>
                <a:gd name="T16" fmla="*/ 0 w 85"/>
                <a:gd name="T17" fmla="*/ 57 h 182"/>
                <a:gd name="T18" fmla="*/ 0 w 85"/>
                <a:gd name="T19" fmla="*/ 51 h 182"/>
                <a:gd name="T20" fmla="*/ 19 w 85"/>
                <a:gd name="T21" fmla="*/ 46 h 182"/>
                <a:gd name="T22" fmla="*/ 30 w 85"/>
                <a:gd name="T23" fmla="*/ 36 h 182"/>
                <a:gd name="T24" fmla="*/ 38 w 85"/>
                <a:gd name="T25" fmla="*/ 19 h 182"/>
                <a:gd name="T26" fmla="*/ 42 w 85"/>
                <a:gd name="T27" fmla="*/ 0 h 182"/>
                <a:gd name="T28" fmla="*/ 50 w 85"/>
                <a:gd name="T29" fmla="*/ 0 h 182"/>
                <a:gd name="T30" fmla="*/ 50 w 85"/>
                <a:gd name="T31" fmla="*/ 46 h 182"/>
                <a:gd name="T32" fmla="*/ 80 w 85"/>
                <a:gd name="T33" fmla="*/ 46 h 182"/>
                <a:gd name="T34" fmla="*/ 80 w 85"/>
                <a:gd name="T35" fmla="*/ 57 h 182"/>
                <a:gd name="T36" fmla="*/ 50 w 85"/>
                <a:gd name="T37" fmla="*/ 57 h 182"/>
                <a:gd name="T38" fmla="*/ 50 w 85"/>
                <a:gd name="T39" fmla="*/ 151 h 182"/>
                <a:gd name="T40" fmla="*/ 54 w 85"/>
                <a:gd name="T41" fmla="*/ 161 h 182"/>
                <a:gd name="T42" fmla="*/ 64 w 85"/>
                <a:gd name="T43" fmla="*/ 166 h 182"/>
                <a:gd name="T44" fmla="*/ 73 w 85"/>
                <a:gd name="T45" fmla="*/ 163 h 182"/>
                <a:gd name="T46" fmla="*/ 79 w 85"/>
                <a:gd name="T47" fmla="*/ 158 h 182"/>
                <a:gd name="T48" fmla="*/ 85 w 85"/>
                <a:gd name="T49" fmla="*/ 16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5" h="182">
                  <a:moveTo>
                    <a:pt x="85" y="163"/>
                  </a:moveTo>
                  <a:cubicBezTo>
                    <a:pt x="82" y="169"/>
                    <a:pt x="77" y="174"/>
                    <a:pt x="71" y="177"/>
                  </a:cubicBezTo>
                  <a:cubicBezTo>
                    <a:pt x="65" y="181"/>
                    <a:pt x="58" y="182"/>
                    <a:pt x="50" y="182"/>
                  </a:cubicBezTo>
                  <a:cubicBezTo>
                    <a:pt x="45" y="182"/>
                    <a:pt x="41" y="182"/>
                    <a:pt x="38" y="180"/>
                  </a:cubicBezTo>
                  <a:cubicBezTo>
                    <a:pt x="35" y="179"/>
                    <a:pt x="32" y="177"/>
                    <a:pt x="30" y="174"/>
                  </a:cubicBezTo>
                  <a:cubicBezTo>
                    <a:pt x="28" y="171"/>
                    <a:pt x="26" y="168"/>
                    <a:pt x="25" y="164"/>
                  </a:cubicBezTo>
                  <a:cubicBezTo>
                    <a:pt x="24" y="160"/>
                    <a:pt x="23" y="156"/>
                    <a:pt x="23" y="151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8" y="51"/>
                    <a:pt x="14" y="49"/>
                    <a:pt x="19" y="46"/>
                  </a:cubicBezTo>
                  <a:cubicBezTo>
                    <a:pt x="23" y="44"/>
                    <a:pt x="27" y="40"/>
                    <a:pt x="30" y="36"/>
                  </a:cubicBezTo>
                  <a:cubicBezTo>
                    <a:pt x="34" y="31"/>
                    <a:pt x="36" y="25"/>
                    <a:pt x="38" y="19"/>
                  </a:cubicBezTo>
                  <a:cubicBezTo>
                    <a:pt x="39" y="13"/>
                    <a:pt x="41" y="7"/>
                    <a:pt x="4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50" y="155"/>
                    <a:pt x="51" y="159"/>
                    <a:pt x="54" y="161"/>
                  </a:cubicBezTo>
                  <a:cubicBezTo>
                    <a:pt x="57" y="164"/>
                    <a:pt x="60" y="166"/>
                    <a:pt x="64" y="166"/>
                  </a:cubicBezTo>
                  <a:cubicBezTo>
                    <a:pt x="67" y="166"/>
                    <a:pt x="70" y="165"/>
                    <a:pt x="73" y="163"/>
                  </a:cubicBezTo>
                  <a:cubicBezTo>
                    <a:pt x="75" y="162"/>
                    <a:pt x="77" y="160"/>
                    <a:pt x="79" y="158"/>
                  </a:cubicBezTo>
                  <a:lnTo>
                    <a:pt x="85" y="163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7" name="Freeform 23"/>
            <p:cNvSpPr>
              <a:spLocks noEditPoints="1"/>
            </p:cNvSpPr>
            <p:nvPr/>
          </p:nvSpPr>
          <p:spPr bwMode="auto">
            <a:xfrm>
              <a:off x="2742" y="3565"/>
              <a:ext cx="334" cy="330"/>
            </a:xfrm>
            <a:custGeom>
              <a:avLst/>
              <a:gdLst>
                <a:gd name="T0" fmla="*/ 71 w 141"/>
                <a:gd name="T1" fmla="*/ 139 h 139"/>
                <a:gd name="T2" fmla="*/ 42 w 141"/>
                <a:gd name="T3" fmla="*/ 134 h 139"/>
                <a:gd name="T4" fmla="*/ 20 w 141"/>
                <a:gd name="T5" fmla="*/ 119 h 139"/>
                <a:gd name="T6" fmla="*/ 5 w 141"/>
                <a:gd name="T7" fmla="*/ 98 h 139"/>
                <a:gd name="T8" fmla="*/ 0 w 141"/>
                <a:gd name="T9" fmla="*/ 71 h 139"/>
                <a:gd name="T10" fmla="*/ 5 w 141"/>
                <a:gd name="T11" fmla="*/ 44 h 139"/>
                <a:gd name="T12" fmla="*/ 20 w 141"/>
                <a:gd name="T13" fmla="*/ 21 h 139"/>
                <a:gd name="T14" fmla="*/ 42 w 141"/>
                <a:gd name="T15" fmla="*/ 6 h 139"/>
                <a:gd name="T16" fmla="*/ 71 w 141"/>
                <a:gd name="T17" fmla="*/ 0 h 139"/>
                <a:gd name="T18" fmla="*/ 99 w 141"/>
                <a:gd name="T19" fmla="*/ 5 h 139"/>
                <a:gd name="T20" fmla="*/ 121 w 141"/>
                <a:gd name="T21" fmla="*/ 19 h 139"/>
                <a:gd name="T22" fmla="*/ 136 w 141"/>
                <a:gd name="T23" fmla="*/ 40 h 139"/>
                <a:gd name="T24" fmla="*/ 141 w 141"/>
                <a:gd name="T25" fmla="*/ 66 h 139"/>
                <a:gd name="T26" fmla="*/ 136 w 141"/>
                <a:gd name="T27" fmla="*/ 94 h 139"/>
                <a:gd name="T28" fmla="*/ 121 w 141"/>
                <a:gd name="T29" fmla="*/ 118 h 139"/>
                <a:gd name="T30" fmla="*/ 99 w 141"/>
                <a:gd name="T31" fmla="*/ 134 h 139"/>
                <a:gd name="T32" fmla="*/ 71 w 141"/>
                <a:gd name="T33" fmla="*/ 139 h 139"/>
                <a:gd name="T34" fmla="*/ 76 w 141"/>
                <a:gd name="T35" fmla="*/ 129 h 139"/>
                <a:gd name="T36" fmla="*/ 90 w 141"/>
                <a:gd name="T37" fmla="*/ 125 h 139"/>
                <a:gd name="T38" fmla="*/ 101 w 141"/>
                <a:gd name="T39" fmla="*/ 115 h 139"/>
                <a:gd name="T40" fmla="*/ 109 w 141"/>
                <a:gd name="T41" fmla="*/ 99 h 139"/>
                <a:gd name="T42" fmla="*/ 111 w 141"/>
                <a:gd name="T43" fmla="*/ 80 h 139"/>
                <a:gd name="T44" fmla="*/ 109 w 141"/>
                <a:gd name="T45" fmla="*/ 52 h 139"/>
                <a:gd name="T46" fmla="*/ 101 w 141"/>
                <a:gd name="T47" fmla="*/ 30 h 139"/>
                <a:gd name="T48" fmla="*/ 86 w 141"/>
                <a:gd name="T49" fmla="*/ 15 h 139"/>
                <a:gd name="T50" fmla="*/ 64 w 141"/>
                <a:gd name="T51" fmla="*/ 10 h 139"/>
                <a:gd name="T52" fmla="*/ 51 w 141"/>
                <a:gd name="T53" fmla="*/ 14 h 139"/>
                <a:gd name="T54" fmla="*/ 40 w 141"/>
                <a:gd name="T55" fmla="*/ 24 h 139"/>
                <a:gd name="T56" fmla="*/ 33 w 141"/>
                <a:gd name="T57" fmla="*/ 40 h 139"/>
                <a:gd name="T58" fmla="*/ 30 w 141"/>
                <a:gd name="T59" fmla="*/ 59 h 139"/>
                <a:gd name="T60" fmla="*/ 33 w 141"/>
                <a:gd name="T61" fmla="*/ 87 h 139"/>
                <a:gd name="T62" fmla="*/ 42 w 141"/>
                <a:gd name="T63" fmla="*/ 109 h 139"/>
                <a:gd name="T64" fmla="*/ 56 w 141"/>
                <a:gd name="T65" fmla="*/ 124 h 139"/>
                <a:gd name="T66" fmla="*/ 76 w 141"/>
                <a:gd name="T67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1" h="139">
                  <a:moveTo>
                    <a:pt x="71" y="139"/>
                  </a:moveTo>
                  <a:cubicBezTo>
                    <a:pt x="60" y="139"/>
                    <a:pt x="51" y="138"/>
                    <a:pt x="42" y="134"/>
                  </a:cubicBezTo>
                  <a:cubicBezTo>
                    <a:pt x="34" y="131"/>
                    <a:pt x="26" y="126"/>
                    <a:pt x="20" y="119"/>
                  </a:cubicBezTo>
                  <a:cubicBezTo>
                    <a:pt x="14" y="113"/>
                    <a:pt x="9" y="106"/>
                    <a:pt x="5" y="98"/>
                  </a:cubicBezTo>
                  <a:cubicBezTo>
                    <a:pt x="2" y="90"/>
                    <a:pt x="0" y="81"/>
                    <a:pt x="0" y="71"/>
                  </a:cubicBezTo>
                  <a:cubicBezTo>
                    <a:pt x="0" y="61"/>
                    <a:pt x="2" y="52"/>
                    <a:pt x="5" y="44"/>
                  </a:cubicBezTo>
                  <a:cubicBezTo>
                    <a:pt x="9" y="35"/>
                    <a:pt x="14" y="27"/>
                    <a:pt x="20" y="21"/>
                  </a:cubicBezTo>
                  <a:cubicBezTo>
                    <a:pt x="26" y="15"/>
                    <a:pt x="34" y="9"/>
                    <a:pt x="42" y="6"/>
                  </a:cubicBezTo>
                  <a:cubicBezTo>
                    <a:pt x="51" y="2"/>
                    <a:pt x="60" y="0"/>
                    <a:pt x="71" y="0"/>
                  </a:cubicBezTo>
                  <a:cubicBezTo>
                    <a:pt x="81" y="0"/>
                    <a:pt x="90" y="2"/>
                    <a:pt x="99" y="5"/>
                  </a:cubicBezTo>
                  <a:cubicBezTo>
                    <a:pt x="108" y="9"/>
                    <a:pt x="115" y="13"/>
                    <a:pt x="121" y="19"/>
                  </a:cubicBezTo>
                  <a:cubicBezTo>
                    <a:pt x="128" y="25"/>
                    <a:pt x="133" y="32"/>
                    <a:pt x="136" y="40"/>
                  </a:cubicBezTo>
                  <a:cubicBezTo>
                    <a:pt x="140" y="48"/>
                    <a:pt x="141" y="57"/>
                    <a:pt x="141" y="66"/>
                  </a:cubicBezTo>
                  <a:cubicBezTo>
                    <a:pt x="141" y="76"/>
                    <a:pt x="140" y="85"/>
                    <a:pt x="136" y="94"/>
                  </a:cubicBezTo>
                  <a:cubicBezTo>
                    <a:pt x="133" y="103"/>
                    <a:pt x="128" y="111"/>
                    <a:pt x="121" y="118"/>
                  </a:cubicBezTo>
                  <a:cubicBezTo>
                    <a:pt x="115" y="124"/>
                    <a:pt x="108" y="130"/>
                    <a:pt x="99" y="134"/>
                  </a:cubicBezTo>
                  <a:cubicBezTo>
                    <a:pt x="90" y="137"/>
                    <a:pt x="81" y="139"/>
                    <a:pt x="71" y="139"/>
                  </a:cubicBezTo>
                  <a:moveTo>
                    <a:pt x="76" y="129"/>
                  </a:moveTo>
                  <a:cubicBezTo>
                    <a:pt x="81" y="129"/>
                    <a:pt x="86" y="128"/>
                    <a:pt x="90" y="125"/>
                  </a:cubicBezTo>
                  <a:cubicBezTo>
                    <a:pt x="94" y="123"/>
                    <a:pt x="98" y="119"/>
                    <a:pt x="101" y="115"/>
                  </a:cubicBezTo>
                  <a:cubicBezTo>
                    <a:pt x="105" y="110"/>
                    <a:pt x="107" y="105"/>
                    <a:pt x="109" y="99"/>
                  </a:cubicBezTo>
                  <a:cubicBezTo>
                    <a:pt x="111" y="93"/>
                    <a:pt x="111" y="86"/>
                    <a:pt x="111" y="80"/>
                  </a:cubicBezTo>
                  <a:cubicBezTo>
                    <a:pt x="111" y="70"/>
                    <a:pt x="111" y="61"/>
                    <a:pt x="109" y="52"/>
                  </a:cubicBezTo>
                  <a:cubicBezTo>
                    <a:pt x="107" y="44"/>
                    <a:pt x="105" y="37"/>
                    <a:pt x="101" y="30"/>
                  </a:cubicBezTo>
                  <a:cubicBezTo>
                    <a:pt x="97" y="24"/>
                    <a:pt x="92" y="19"/>
                    <a:pt x="86" y="15"/>
                  </a:cubicBezTo>
                  <a:cubicBezTo>
                    <a:pt x="80" y="12"/>
                    <a:pt x="73" y="10"/>
                    <a:pt x="64" y="10"/>
                  </a:cubicBezTo>
                  <a:cubicBezTo>
                    <a:pt x="60" y="10"/>
                    <a:pt x="55" y="11"/>
                    <a:pt x="51" y="14"/>
                  </a:cubicBezTo>
                  <a:cubicBezTo>
                    <a:pt x="47" y="16"/>
                    <a:pt x="43" y="20"/>
                    <a:pt x="40" y="24"/>
                  </a:cubicBezTo>
                  <a:cubicBezTo>
                    <a:pt x="37" y="29"/>
                    <a:pt x="34" y="34"/>
                    <a:pt x="33" y="40"/>
                  </a:cubicBezTo>
                  <a:cubicBezTo>
                    <a:pt x="31" y="46"/>
                    <a:pt x="30" y="52"/>
                    <a:pt x="30" y="59"/>
                  </a:cubicBezTo>
                  <a:cubicBezTo>
                    <a:pt x="30" y="69"/>
                    <a:pt x="31" y="78"/>
                    <a:pt x="33" y="87"/>
                  </a:cubicBezTo>
                  <a:cubicBezTo>
                    <a:pt x="35" y="95"/>
                    <a:pt x="38" y="103"/>
                    <a:pt x="42" y="109"/>
                  </a:cubicBezTo>
                  <a:cubicBezTo>
                    <a:pt x="46" y="115"/>
                    <a:pt x="51" y="120"/>
                    <a:pt x="56" y="124"/>
                  </a:cubicBezTo>
                  <a:cubicBezTo>
                    <a:pt x="62" y="128"/>
                    <a:pt x="68" y="129"/>
                    <a:pt x="76" y="129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8" name="Freeform 24"/>
            <p:cNvSpPr>
              <a:spLocks noEditPoints="1"/>
            </p:cNvSpPr>
            <p:nvPr/>
          </p:nvSpPr>
          <p:spPr bwMode="auto">
            <a:xfrm>
              <a:off x="3123" y="3565"/>
              <a:ext cx="337" cy="330"/>
            </a:xfrm>
            <a:custGeom>
              <a:avLst/>
              <a:gdLst>
                <a:gd name="T0" fmla="*/ 71 w 142"/>
                <a:gd name="T1" fmla="*/ 139 h 139"/>
                <a:gd name="T2" fmla="*/ 43 w 142"/>
                <a:gd name="T3" fmla="*/ 134 h 139"/>
                <a:gd name="T4" fmla="*/ 20 w 142"/>
                <a:gd name="T5" fmla="*/ 119 h 139"/>
                <a:gd name="T6" fmla="*/ 6 w 142"/>
                <a:gd name="T7" fmla="*/ 98 h 139"/>
                <a:gd name="T8" fmla="*/ 0 w 142"/>
                <a:gd name="T9" fmla="*/ 71 h 139"/>
                <a:gd name="T10" fmla="*/ 6 w 142"/>
                <a:gd name="T11" fmla="*/ 44 h 139"/>
                <a:gd name="T12" fmla="*/ 20 w 142"/>
                <a:gd name="T13" fmla="*/ 21 h 139"/>
                <a:gd name="T14" fmla="*/ 43 w 142"/>
                <a:gd name="T15" fmla="*/ 6 h 139"/>
                <a:gd name="T16" fmla="*/ 71 w 142"/>
                <a:gd name="T17" fmla="*/ 0 h 139"/>
                <a:gd name="T18" fmla="*/ 99 w 142"/>
                <a:gd name="T19" fmla="*/ 5 h 139"/>
                <a:gd name="T20" fmla="*/ 122 w 142"/>
                <a:gd name="T21" fmla="*/ 19 h 139"/>
                <a:gd name="T22" fmla="*/ 136 w 142"/>
                <a:gd name="T23" fmla="*/ 40 h 139"/>
                <a:gd name="T24" fmla="*/ 142 w 142"/>
                <a:gd name="T25" fmla="*/ 66 h 139"/>
                <a:gd name="T26" fmla="*/ 136 w 142"/>
                <a:gd name="T27" fmla="*/ 94 h 139"/>
                <a:gd name="T28" fmla="*/ 122 w 142"/>
                <a:gd name="T29" fmla="*/ 118 h 139"/>
                <a:gd name="T30" fmla="*/ 99 w 142"/>
                <a:gd name="T31" fmla="*/ 134 h 139"/>
                <a:gd name="T32" fmla="*/ 71 w 142"/>
                <a:gd name="T33" fmla="*/ 139 h 139"/>
                <a:gd name="T34" fmla="*/ 76 w 142"/>
                <a:gd name="T35" fmla="*/ 129 h 139"/>
                <a:gd name="T36" fmla="*/ 90 w 142"/>
                <a:gd name="T37" fmla="*/ 125 h 139"/>
                <a:gd name="T38" fmla="*/ 102 w 142"/>
                <a:gd name="T39" fmla="*/ 115 h 139"/>
                <a:gd name="T40" fmla="*/ 109 w 142"/>
                <a:gd name="T41" fmla="*/ 99 h 139"/>
                <a:gd name="T42" fmla="*/ 112 w 142"/>
                <a:gd name="T43" fmla="*/ 80 h 139"/>
                <a:gd name="T44" fmla="*/ 109 w 142"/>
                <a:gd name="T45" fmla="*/ 52 h 139"/>
                <a:gd name="T46" fmla="*/ 101 w 142"/>
                <a:gd name="T47" fmla="*/ 30 h 139"/>
                <a:gd name="T48" fmla="*/ 87 w 142"/>
                <a:gd name="T49" fmla="*/ 15 h 139"/>
                <a:gd name="T50" fmla="*/ 65 w 142"/>
                <a:gd name="T51" fmla="*/ 10 h 139"/>
                <a:gd name="T52" fmla="*/ 52 w 142"/>
                <a:gd name="T53" fmla="*/ 14 h 139"/>
                <a:gd name="T54" fmla="*/ 41 w 142"/>
                <a:gd name="T55" fmla="*/ 24 h 139"/>
                <a:gd name="T56" fmla="*/ 33 w 142"/>
                <a:gd name="T57" fmla="*/ 40 h 139"/>
                <a:gd name="T58" fmla="*/ 30 w 142"/>
                <a:gd name="T59" fmla="*/ 59 h 139"/>
                <a:gd name="T60" fmla="*/ 33 w 142"/>
                <a:gd name="T61" fmla="*/ 87 h 139"/>
                <a:gd name="T62" fmla="*/ 42 w 142"/>
                <a:gd name="T63" fmla="*/ 109 h 139"/>
                <a:gd name="T64" fmla="*/ 57 w 142"/>
                <a:gd name="T65" fmla="*/ 124 h 139"/>
                <a:gd name="T66" fmla="*/ 76 w 142"/>
                <a:gd name="T67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2" h="139">
                  <a:moveTo>
                    <a:pt x="71" y="139"/>
                  </a:moveTo>
                  <a:cubicBezTo>
                    <a:pt x="61" y="139"/>
                    <a:pt x="51" y="138"/>
                    <a:pt x="43" y="134"/>
                  </a:cubicBezTo>
                  <a:cubicBezTo>
                    <a:pt x="34" y="131"/>
                    <a:pt x="27" y="126"/>
                    <a:pt x="20" y="119"/>
                  </a:cubicBezTo>
                  <a:cubicBezTo>
                    <a:pt x="14" y="113"/>
                    <a:pt x="9" y="106"/>
                    <a:pt x="6" y="98"/>
                  </a:cubicBezTo>
                  <a:cubicBezTo>
                    <a:pt x="2" y="90"/>
                    <a:pt x="0" y="81"/>
                    <a:pt x="0" y="71"/>
                  </a:cubicBezTo>
                  <a:cubicBezTo>
                    <a:pt x="0" y="61"/>
                    <a:pt x="2" y="52"/>
                    <a:pt x="6" y="44"/>
                  </a:cubicBezTo>
                  <a:cubicBezTo>
                    <a:pt x="9" y="35"/>
                    <a:pt x="14" y="27"/>
                    <a:pt x="20" y="21"/>
                  </a:cubicBezTo>
                  <a:cubicBezTo>
                    <a:pt x="27" y="15"/>
                    <a:pt x="34" y="9"/>
                    <a:pt x="43" y="6"/>
                  </a:cubicBezTo>
                  <a:cubicBezTo>
                    <a:pt x="51" y="2"/>
                    <a:pt x="61" y="0"/>
                    <a:pt x="71" y="0"/>
                  </a:cubicBezTo>
                  <a:cubicBezTo>
                    <a:pt x="81" y="0"/>
                    <a:pt x="91" y="2"/>
                    <a:pt x="99" y="5"/>
                  </a:cubicBezTo>
                  <a:cubicBezTo>
                    <a:pt x="108" y="9"/>
                    <a:pt x="115" y="13"/>
                    <a:pt x="122" y="19"/>
                  </a:cubicBezTo>
                  <a:cubicBezTo>
                    <a:pt x="128" y="25"/>
                    <a:pt x="133" y="32"/>
                    <a:pt x="136" y="40"/>
                  </a:cubicBezTo>
                  <a:cubicBezTo>
                    <a:pt x="140" y="48"/>
                    <a:pt x="142" y="57"/>
                    <a:pt x="142" y="66"/>
                  </a:cubicBezTo>
                  <a:cubicBezTo>
                    <a:pt x="142" y="76"/>
                    <a:pt x="140" y="85"/>
                    <a:pt x="136" y="94"/>
                  </a:cubicBezTo>
                  <a:cubicBezTo>
                    <a:pt x="133" y="103"/>
                    <a:pt x="128" y="111"/>
                    <a:pt x="122" y="118"/>
                  </a:cubicBezTo>
                  <a:cubicBezTo>
                    <a:pt x="115" y="124"/>
                    <a:pt x="108" y="130"/>
                    <a:pt x="99" y="134"/>
                  </a:cubicBezTo>
                  <a:cubicBezTo>
                    <a:pt x="91" y="137"/>
                    <a:pt x="81" y="139"/>
                    <a:pt x="71" y="139"/>
                  </a:cubicBezTo>
                  <a:moveTo>
                    <a:pt x="76" y="129"/>
                  </a:moveTo>
                  <a:cubicBezTo>
                    <a:pt x="81" y="129"/>
                    <a:pt x="86" y="128"/>
                    <a:pt x="90" y="125"/>
                  </a:cubicBezTo>
                  <a:cubicBezTo>
                    <a:pt x="95" y="123"/>
                    <a:pt x="98" y="119"/>
                    <a:pt x="102" y="115"/>
                  </a:cubicBezTo>
                  <a:cubicBezTo>
                    <a:pt x="105" y="110"/>
                    <a:pt x="107" y="105"/>
                    <a:pt x="109" y="99"/>
                  </a:cubicBezTo>
                  <a:cubicBezTo>
                    <a:pt x="111" y="93"/>
                    <a:pt x="112" y="86"/>
                    <a:pt x="112" y="80"/>
                  </a:cubicBezTo>
                  <a:cubicBezTo>
                    <a:pt x="112" y="70"/>
                    <a:pt x="111" y="61"/>
                    <a:pt x="109" y="52"/>
                  </a:cubicBezTo>
                  <a:cubicBezTo>
                    <a:pt x="108" y="44"/>
                    <a:pt x="105" y="37"/>
                    <a:pt x="101" y="30"/>
                  </a:cubicBezTo>
                  <a:cubicBezTo>
                    <a:pt x="97" y="24"/>
                    <a:pt x="93" y="19"/>
                    <a:pt x="87" y="15"/>
                  </a:cubicBezTo>
                  <a:cubicBezTo>
                    <a:pt x="81" y="12"/>
                    <a:pt x="73" y="10"/>
                    <a:pt x="65" y="10"/>
                  </a:cubicBezTo>
                  <a:cubicBezTo>
                    <a:pt x="60" y="10"/>
                    <a:pt x="56" y="11"/>
                    <a:pt x="52" y="14"/>
                  </a:cubicBezTo>
                  <a:cubicBezTo>
                    <a:pt x="47" y="16"/>
                    <a:pt x="44" y="20"/>
                    <a:pt x="41" y="24"/>
                  </a:cubicBezTo>
                  <a:cubicBezTo>
                    <a:pt x="37" y="29"/>
                    <a:pt x="35" y="34"/>
                    <a:pt x="33" y="40"/>
                  </a:cubicBezTo>
                  <a:cubicBezTo>
                    <a:pt x="31" y="46"/>
                    <a:pt x="30" y="52"/>
                    <a:pt x="30" y="59"/>
                  </a:cubicBezTo>
                  <a:cubicBezTo>
                    <a:pt x="30" y="69"/>
                    <a:pt x="31" y="78"/>
                    <a:pt x="33" y="87"/>
                  </a:cubicBezTo>
                  <a:cubicBezTo>
                    <a:pt x="35" y="95"/>
                    <a:pt x="38" y="103"/>
                    <a:pt x="42" y="109"/>
                  </a:cubicBezTo>
                  <a:cubicBezTo>
                    <a:pt x="46" y="115"/>
                    <a:pt x="51" y="120"/>
                    <a:pt x="57" y="124"/>
                  </a:cubicBezTo>
                  <a:cubicBezTo>
                    <a:pt x="62" y="128"/>
                    <a:pt x="69" y="129"/>
                    <a:pt x="76" y="129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9" name="Freeform 25"/>
            <p:cNvSpPr>
              <a:spLocks/>
            </p:cNvSpPr>
            <p:nvPr/>
          </p:nvSpPr>
          <p:spPr bwMode="auto">
            <a:xfrm>
              <a:off x="3522" y="3408"/>
              <a:ext cx="64" cy="483"/>
            </a:xfrm>
            <a:custGeom>
              <a:avLst/>
              <a:gdLst>
                <a:gd name="T0" fmla="*/ 64 w 64"/>
                <a:gd name="T1" fmla="*/ 483 h 483"/>
                <a:gd name="T2" fmla="*/ 0 w 64"/>
                <a:gd name="T3" fmla="*/ 483 h 483"/>
                <a:gd name="T4" fmla="*/ 0 w 64"/>
                <a:gd name="T5" fmla="*/ 19 h 483"/>
                <a:gd name="T6" fmla="*/ 45 w 64"/>
                <a:gd name="T7" fmla="*/ 0 h 483"/>
                <a:gd name="T8" fmla="*/ 64 w 64"/>
                <a:gd name="T9" fmla="*/ 0 h 483"/>
                <a:gd name="T10" fmla="*/ 64 w 64"/>
                <a:gd name="T11" fmla="*/ 483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483">
                  <a:moveTo>
                    <a:pt x="64" y="483"/>
                  </a:moveTo>
                  <a:lnTo>
                    <a:pt x="0" y="483"/>
                  </a:lnTo>
                  <a:lnTo>
                    <a:pt x="0" y="19"/>
                  </a:lnTo>
                  <a:lnTo>
                    <a:pt x="45" y="0"/>
                  </a:lnTo>
                  <a:lnTo>
                    <a:pt x="64" y="0"/>
                  </a:lnTo>
                  <a:lnTo>
                    <a:pt x="64" y="483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0" name="Freeform 26"/>
            <p:cNvSpPr>
              <a:spLocks/>
            </p:cNvSpPr>
            <p:nvPr/>
          </p:nvSpPr>
          <p:spPr bwMode="auto">
            <a:xfrm>
              <a:off x="3647" y="3565"/>
              <a:ext cx="237" cy="330"/>
            </a:xfrm>
            <a:custGeom>
              <a:avLst/>
              <a:gdLst>
                <a:gd name="T0" fmla="*/ 49 w 100"/>
                <a:gd name="T1" fmla="*/ 130 h 139"/>
                <a:gd name="T2" fmla="*/ 59 w 100"/>
                <a:gd name="T3" fmla="*/ 129 h 139"/>
                <a:gd name="T4" fmla="*/ 67 w 100"/>
                <a:gd name="T5" fmla="*/ 124 h 139"/>
                <a:gd name="T6" fmla="*/ 72 w 100"/>
                <a:gd name="T7" fmla="*/ 118 h 139"/>
                <a:gd name="T8" fmla="*/ 74 w 100"/>
                <a:gd name="T9" fmla="*/ 110 h 139"/>
                <a:gd name="T10" fmla="*/ 71 w 100"/>
                <a:gd name="T11" fmla="*/ 100 h 139"/>
                <a:gd name="T12" fmla="*/ 63 w 100"/>
                <a:gd name="T13" fmla="*/ 92 h 139"/>
                <a:gd name="T14" fmla="*/ 51 w 100"/>
                <a:gd name="T15" fmla="*/ 85 h 139"/>
                <a:gd name="T16" fmla="*/ 38 w 100"/>
                <a:gd name="T17" fmla="*/ 79 h 139"/>
                <a:gd name="T18" fmla="*/ 25 w 100"/>
                <a:gd name="T19" fmla="*/ 72 h 139"/>
                <a:gd name="T20" fmla="*/ 14 w 100"/>
                <a:gd name="T21" fmla="*/ 63 h 139"/>
                <a:gd name="T22" fmla="*/ 5 w 100"/>
                <a:gd name="T23" fmla="*/ 52 h 139"/>
                <a:gd name="T24" fmla="*/ 2 w 100"/>
                <a:gd name="T25" fmla="*/ 37 h 139"/>
                <a:gd name="T26" fmla="*/ 6 w 100"/>
                <a:gd name="T27" fmla="*/ 22 h 139"/>
                <a:gd name="T28" fmla="*/ 15 w 100"/>
                <a:gd name="T29" fmla="*/ 11 h 139"/>
                <a:gd name="T30" fmla="*/ 30 w 100"/>
                <a:gd name="T31" fmla="*/ 3 h 139"/>
                <a:gd name="T32" fmla="*/ 48 w 100"/>
                <a:gd name="T33" fmla="*/ 0 h 139"/>
                <a:gd name="T34" fmla="*/ 61 w 100"/>
                <a:gd name="T35" fmla="*/ 1 h 139"/>
                <a:gd name="T36" fmla="*/ 72 w 100"/>
                <a:gd name="T37" fmla="*/ 5 h 139"/>
                <a:gd name="T38" fmla="*/ 83 w 100"/>
                <a:gd name="T39" fmla="*/ 12 h 139"/>
                <a:gd name="T40" fmla="*/ 95 w 100"/>
                <a:gd name="T41" fmla="*/ 25 h 139"/>
                <a:gd name="T42" fmla="*/ 85 w 100"/>
                <a:gd name="T43" fmla="*/ 34 h 139"/>
                <a:gd name="T44" fmla="*/ 68 w 100"/>
                <a:gd name="T45" fmla="*/ 15 h 139"/>
                <a:gd name="T46" fmla="*/ 48 w 100"/>
                <a:gd name="T47" fmla="*/ 9 h 139"/>
                <a:gd name="T48" fmla="*/ 37 w 100"/>
                <a:gd name="T49" fmla="*/ 10 h 139"/>
                <a:gd name="T50" fmla="*/ 29 w 100"/>
                <a:gd name="T51" fmla="*/ 14 h 139"/>
                <a:gd name="T52" fmla="*/ 24 w 100"/>
                <a:gd name="T53" fmla="*/ 20 h 139"/>
                <a:gd name="T54" fmla="*/ 22 w 100"/>
                <a:gd name="T55" fmla="*/ 27 h 139"/>
                <a:gd name="T56" fmla="*/ 26 w 100"/>
                <a:gd name="T57" fmla="*/ 37 h 139"/>
                <a:gd name="T58" fmla="*/ 34 w 100"/>
                <a:gd name="T59" fmla="*/ 45 h 139"/>
                <a:gd name="T60" fmla="*/ 47 w 100"/>
                <a:gd name="T61" fmla="*/ 52 h 139"/>
                <a:gd name="T62" fmla="*/ 61 w 100"/>
                <a:gd name="T63" fmla="*/ 58 h 139"/>
                <a:gd name="T64" fmla="*/ 75 w 100"/>
                <a:gd name="T65" fmla="*/ 65 h 139"/>
                <a:gd name="T66" fmla="*/ 88 w 100"/>
                <a:gd name="T67" fmla="*/ 73 h 139"/>
                <a:gd name="T68" fmla="*/ 97 w 100"/>
                <a:gd name="T69" fmla="*/ 84 h 139"/>
                <a:gd name="T70" fmla="*/ 100 w 100"/>
                <a:gd name="T71" fmla="*/ 99 h 139"/>
                <a:gd name="T72" fmla="*/ 97 w 100"/>
                <a:gd name="T73" fmla="*/ 115 h 139"/>
                <a:gd name="T74" fmla="*/ 87 w 100"/>
                <a:gd name="T75" fmla="*/ 128 h 139"/>
                <a:gd name="T76" fmla="*/ 71 w 100"/>
                <a:gd name="T77" fmla="*/ 136 h 139"/>
                <a:gd name="T78" fmla="*/ 49 w 100"/>
                <a:gd name="T79" fmla="*/ 139 h 139"/>
                <a:gd name="T80" fmla="*/ 37 w 100"/>
                <a:gd name="T81" fmla="*/ 138 h 139"/>
                <a:gd name="T82" fmla="*/ 25 w 100"/>
                <a:gd name="T83" fmla="*/ 135 h 139"/>
                <a:gd name="T84" fmla="*/ 12 w 100"/>
                <a:gd name="T85" fmla="*/ 127 h 139"/>
                <a:gd name="T86" fmla="*/ 0 w 100"/>
                <a:gd name="T87" fmla="*/ 115 h 139"/>
                <a:gd name="T88" fmla="*/ 10 w 100"/>
                <a:gd name="T89" fmla="*/ 105 h 139"/>
                <a:gd name="T90" fmla="*/ 20 w 100"/>
                <a:gd name="T91" fmla="*/ 116 h 139"/>
                <a:gd name="T92" fmla="*/ 29 w 100"/>
                <a:gd name="T93" fmla="*/ 124 h 139"/>
                <a:gd name="T94" fmla="*/ 38 w 100"/>
                <a:gd name="T95" fmla="*/ 129 h 139"/>
                <a:gd name="T96" fmla="*/ 49 w 100"/>
                <a:gd name="T97" fmla="*/ 13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0" h="139">
                  <a:moveTo>
                    <a:pt x="49" y="130"/>
                  </a:moveTo>
                  <a:cubicBezTo>
                    <a:pt x="53" y="130"/>
                    <a:pt x="56" y="130"/>
                    <a:pt x="59" y="129"/>
                  </a:cubicBezTo>
                  <a:cubicBezTo>
                    <a:pt x="62" y="127"/>
                    <a:pt x="65" y="126"/>
                    <a:pt x="67" y="124"/>
                  </a:cubicBezTo>
                  <a:cubicBezTo>
                    <a:pt x="69" y="122"/>
                    <a:pt x="71" y="120"/>
                    <a:pt x="72" y="118"/>
                  </a:cubicBezTo>
                  <a:cubicBezTo>
                    <a:pt x="73" y="115"/>
                    <a:pt x="74" y="113"/>
                    <a:pt x="74" y="110"/>
                  </a:cubicBezTo>
                  <a:cubicBezTo>
                    <a:pt x="74" y="106"/>
                    <a:pt x="73" y="103"/>
                    <a:pt x="71" y="100"/>
                  </a:cubicBezTo>
                  <a:cubicBezTo>
                    <a:pt x="69" y="97"/>
                    <a:pt x="66" y="94"/>
                    <a:pt x="63" y="92"/>
                  </a:cubicBezTo>
                  <a:cubicBezTo>
                    <a:pt x="59" y="89"/>
                    <a:pt x="56" y="87"/>
                    <a:pt x="51" y="85"/>
                  </a:cubicBezTo>
                  <a:cubicBezTo>
                    <a:pt x="47" y="83"/>
                    <a:pt x="43" y="81"/>
                    <a:pt x="38" y="79"/>
                  </a:cubicBezTo>
                  <a:cubicBezTo>
                    <a:pt x="34" y="77"/>
                    <a:pt x="29" y="74"/>
                    <a:pt x="25" y="72"/>
                  </a:cubicBezTo>
                  <a:cubicBezTo>
                    <a:pt x="21" y="70"/>
                    <a:pt x="17" y="67"/>
                    <a:pt x="14" y="63"/>
                  </a:cubicBezTo>
                  <a:cubicBezTo>
                    <a:pt x="10" y="60"/>
                    <a:pt x="8" y="57"/>
                    <a:pt x="5" y="52"/>
                  </a:cubicBezTo>
                  <a:cubicBezTo>
                    <a:pt x="3" y="48"/>
                    <a:pt x="2" y="43"/>
                    <a:pt x="2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5" y="11"/>
                  </a:cubicBezTo>
                  <a:cubicBezTo>
                    <a:pt x="19" y="7"/>
                    <a:pt x="24" y="5"/>
                    <a:pt x="30" y="3"/>
                  </a:cubicBezTo>
                  <a:cubicBezTo>
                    <a:pt x="35" y="1"/>
                    <a:pt x="41" y="0"/>
                    <a:pt x="48" y="0"/>
                  </a:cubicBezTo>
                  <a:cubicBezTo>
                    <a:pt x="52" y="0"/>
                    <a:pt x="57" y="0"/>
                    <a:pt x="61" y="1"/>
                  </a:cubicBezTo>
                  <a:cubicBezTo>
                    <a:pt x="64" y="2"/>
                    <a:pt x="68" y="3"/>
                    <a:pt x="72" y="5"/>
                  </a:cubicBezTo>
                  <a:cubicBezTo>
                    <a:pt x="76" y="6"/>
                    <a:pt x="79" y="9"/>
                    <a:pt x="83" y="12"/>
                  </a:cubicBezTo>
                  <a:cubicBezTo>
                    <a:pt x="87" y="15"/>
                    <a:pt x="90" y="20"/>
                    <a:pt x="95" y="25"/>
                  </a:cubicBezTo>
                  <a:cubicBezTo>
                    <a:pt x="85" y="34"/>
                    <a:pt x="85" y="34"/>
                    <a:pt x="85" y="34"/>
                  </a:cubicBezTo>
                  <a:cubicBezTo>
                    <a:pt x="80" y="25"/>
                    <a:pt x="74" y="19"/>
                    <a:pt x="68" y="15"/>
                  </a:cubicBezTo>
                  <a:cubicBezTo>
                    <a:pt x="61" y="11"/>
                    <a:pt x="55" y="9"/>
                    <a:pt x="48" y="9"/>
                  </a:cubicBezTo>
                  <a:cubicBezTo>
                    <a:pt x="44" y="9"/>
                    <a:pt x="40" y="9"/>
                    <a:pt x="37" y="10"/>
                  </a:cubicBezTo>
                  <a:cubicBezTo>
                    <a:pt x="34" y="11"/>
                    <a:pt x="31" y="13"/>
                    <a:pt x="29" y="14"/>
                  </a:cubicBezTo>
                  <a:cubicBezTo>
                    <a:pt x="27" y="16"/>
                    <a:pt x="25" y="18"/>
                    <a:pt x="24" y="20"/>
                  </a:cubicBezTo>
                  <a:cubicBezTo>
                    <a:pt x="23" y="22"/>
                    <a:pt x="22" y="24"/>
                    <a:pt x="22" y="27"/>
                  </a:cubicBezTo>
                  <a:cubicBezTo>
                    <a:pt x="22" y="31"/>
                    <a:pt x="23" y="34"/>
                    <a:pt x="26" y="37"/>
                  </a:cubicBezTo>
                  <a:cubicBezTo>
                    <a:pt x="28" y="40"/>
                    <a:pt x="31" y="43"/>
                    <a:pt x="34" y="45"/>
                  </a:cubicBezTo>
                  <a:cubicBezTo>
                    <a:pt x="38" y="48"/>
                    <a:pt x="42" y="50"/>
                    <a:pt x="47" y="52"/>
                  </a:cubicBezTo>
                  <a:cubicBezTo>
                    <a:pt x="51" y="54"/>
                    <a:pt x="56" y="56"/>
                    <a:pt x="61" y="58"/>
                  </a:cubicBezTo>
                  <a:cubicBezTo>
                    <a:pt x="66" y="60"/>
                    <a:pt x="71" y="62"/>
                    <a:pt x="75" y="65"/>
                  </a:cubicBezTo>
                  <a:cubicBezTo>
                    <a:pt x="80" y="67"/>
                    <a:pt x="84" y="70"/>
                    <a:pt x="88" y="73"/>
                  </a:cubicBezTo>
                  <a:cubicBezTo>
                    <a:pt x="91" y="77"/>
                    <a:pt x="94" y="80"/>
                    <a:pt x="97" y="84"/>
                  </a:cubicBezTo>
                  <a:cubicBezTo>
                    <a:pt x="99" y="89"/>
                    <a:pt x="100" y="93"/>
                    <a:pt x="100" y="99"/>
                  </a:cubicBezTo>
                  <a:cubicBezTo>
                    <a:pt x="100" y="105"/>
                    <a:pt x="99" y="110"/>
                    <a:pt x="97" y="115"/>
                  </a:cubicBezTo>
                  <a:cubicBezTo>
                    <a:pt x="95" y="120"/>
                    <a:pt x="92" y="124"/>
                    <a:pt x="87" y="128"/>
                  </a:cubicBezTo>
                  <a:cubicBezTo>
                    <a:pt x="83" y="131"/>
                    <a:pt x="78" y="134"/>
                    <a:pt x="71" y="136"/>
                  </a:cubicBezTo>
                  <a:cubicBezTo>
                    <a:pt x="65" y="138"/>
                    <a:pt x="58" y="139"/>
                    <a:pt x="49" y="139"/>
                  </a:cubicBezTo>
                  <a:cubicBezTo>
                    <a:pt x="45" y="139"/>
                    <a:pt x="41" y="139"/>
                    <a:pt x="37" y="138"/>
                  </a:cubicBezTo>
                  <a:cubicBezTo>
                    <a:pt x="33" y="138"/>
                    <a:pt x="29" y="137"/>
                    <a:pt x="25" y="135"/>
                  </a:cubicBezTo>
                  <a:cubicBezTo>
                    <a:pt x="20" y="133"/>
                    <a:pt x="16" y="131"/>
                    <a:pt x="12" y="127"/>
                  </a:cubicBezTo>
                  <a:cubicBezTo>
                    <a:pt x="8" y="124"/>
                    <a:pt x="4" y="120"/>
                    <a:pt x="0" y="115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14" y="109"/>
                    <a:pt x="17" y="113"/>
                    <a:pt x="20" y="116"/>
                  </a:cubicBezTo>
                  <a:cubicBezTo>
                    <a:pt x="23" y="120"/>
                    <a:pt x="26" y="122"/>
                    <a:pt x="29" y="124"/>
                  </a:cubicBezTo>
                  <a:cubicBezTo>
                    <a:pt x="32" y="126"/>
                    <a:pt x="35" y="128"/>
                    <a:pt x="38" y="129"/>
                  </a:cubicBezTo>
                  <a:cubicBezTo>
                    <a:pt x="42" y="130"/>
                    <a:pt x="45" y="130"/>
                    <a:pt x="49" y="130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3826987" y="359266"/>
            <a:ext cx="660852" cy="673216"/>
            <a:chOff x="-1350" y="3305"/>
            <a:chExt cx="1176" cy="1198"/>
          </a:xfrm>
        </p:grpSpPr>
        <p:sp>
          <p:nvSpPr>
            <p:cNvPr id="22" name="Freeform 5"/>
            <p:cNvSpPr>
              <a:spLocks noEditPoints="1"/>
            </p:cNvSpPr>
            <p:nvPr/>
          </p:nvSpPr>
          <p:spPr bwMode="auto">
            <a:xfrm>
              <a:off x="-1246" y="3517"/>
              <a:ext cx="967" cy="986"/>
            </a:xfrm>
            <a:custGeom>
              <a:avLst/>
              <a:gdLst>
                <a:gd name="T0" fmla="*/ 967 w 967"/>
                <a:gd name="T1" fmla="*/ 986 h 986"/>
                <a:gd name="T2" fmla="*/ 0 w 967"/>
                <a:gd name="T3" fmla="*/ 986 h 986"/>
                <a:gd name="T4" fmla="*/ 0 w 967"/>
                <a:gd name="T5" fmla="*/ 0 h 986"/>
                <a:gd name="T6" fmla="*/ 967 w 967"/>
                <a:gd name="T7" fmla="*/ 0 h 986"/>
                <a:gd name="T8" fmla="*/ 967 w 967"/>
                <a:gd name="T9" fmla="*/ 986 h 986"/>
                <a:gd name="T10" fmla="*/ 12 w 967"/>
                <a:gd name="T11" fmla="*/ 974 h 986"/>
                <a:gd name="T12" fmla="*/ 953 w 967"/>
                <a:gd name="T13" fmla="*/ 974 h 986"/>
                <a:gd name="T14" fmla="*/ 953 w 967"/>
                <a:gd name="T15" fmla="*/ 14 h 986"/>
                <a:gd name="T16" fmla="*/ 12 w 967"/>
                <a:gd name="T17" fmla="*/ 14 h 986"/>
                <a:gd name="T18" fmla="*/ 12 w 967"/>
                <a:gd name="T19" fmla="*/ 974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7" h="986">
                  <a:moveTo>
                    <a:pt x="967" y="986"/>
                  </a:moveTo>
                  <a:lnTo>
                    <a:pt x="0" y="986"/>
                  </a:lnTo>
                  <a:lnTo>
                    <a:pt x="0" y="0"/>
                  </a:lnTo>
                  <a:lnTo>
                    <a:pt x="967" y="0"/>
                  </a:lnTo>
                  <a:lnTo>
                    <a:pt x="967" y="986"/>
                  </a:lnTo>
                  <a:close/>
                  <a:moveTo>
                    <a:pt x="12" y="974"/>
                  </a:moveTo>
                  <a:lnTo>
                    <a:pt x="953" y="974"/>
                  </a:lnTo>
                  <a:lnTo>
                    <a:pt x="953" y="14"/>
                  </a:lnTo>
                  <a:lnTo>
                    <a:pt x="12" y="14"/>
                  </a:lnTo>
                  <a:lnTo>
                    <a:pt x="12" y="974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3" name="Freeform 6"/>
            <p:cNvSpPr>
              <a:spLocks noEditPoints="1"/>
            </p:cNvSpPr>
            <p:nvPr/>
          </p:nvSpPr>
          <p:spPr bwMode="auto">
            <a:xfrm>
              <a:off x="-1350" y="3305"/>
              <a:ext cx="1176" cy="1179"/>
            </a:xfrm>
            <a:custGeom>
              <a:avLst/>
              <a:gdLst>
                <a:gd name="T0" fmla="*/ 248 w 495"/>
                <a:gd name="T1" fmla="*/ 496 h 496"/>
                <a:gd name="T2" fmla="*/ 0 w 495"/>
                <a:gd name="T3" fmla="*/ 248 h 496"/>
                <a:gd name="T4" fmla="*/ 248 w 495"/>
                <a:gd name="T5" fmla="*/ 0 h 496"/>
                <a:gd name="T6" fmla="*/ 495 w 495"/>
                <a:gd name="T7" fmla="*/ 248 h 496"/>
                <a:gd name="T8" fmla="*/ 248 w 495"/>
                <a:gd name="T9" fmla="*/ 496 h 496"/>
                <a:gd name="T10" fmla="*/ 248 w 495"/>
                <a:gd name="T11" fmla="*/ 6 h 496"/>
                <a:gd name="T12" fmla="*/ 5 w 495"/>
                <a:gd name="T13" fmla="*/ 248 h 496"/>
                <a:gd name="T14" fmla="*/ 248 w 495"/>
                <a:gd name="T15" fmla="*/ 490 h 496"/>
                <a:gd name="T16" fmla="*/ 490 w 495"/>
                <a:gd name="T17" fmla="*/ 248 h 496"/>
                <a:gd name="T18" fmla="*/ 248 w 495"/>
                <a:gd name="T19" fmla="*/ 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5" h="496">
                  <a:moveTo>
                    <a:pt x="248" y="496"/>
                  </a:moveTo>
                  <a:cubicBezTo>
                    <a:pt x="111" y="496"/>
                    <a:pt x="0" y="385"/>
                    <a:pt x="0" y="248"/>
                  </a:cubicBezTo>
                  <a:cubicBezTo>
                    <a:pt x="0" y="111"/>
                    <a:pt x="111" y="0"/>
                    <a:pt x="248" y="0"/>
                  </a:cubicBezTo>
                  <a:cubicBezTo>
                    <a:pt x="384" y="0"/>
                    <a:pt x="495" y="111"/>
                    <a:pt x="495" y="248"/>
                  </a:cubicBezTo>
                  <a:cubicBezTo>
                    <a:pt x="495" y="385"/>
                    <a:pt x="384" y="496"/>
                    <a:pt x="248" y="496"/>
                  </a:cubicBezTo>
                  <a:moveTo>
                    <a:pt x="248" y="6"/>
                  </a:moveTo>
                  <a:cubicBezTo>
                    <a:pt x="114" y="6"/>
                    <a:pt x="5" y="114"/>
                    <a:pt x="5" y="248"/>
                  </a:cubicBezTo>
                  <a:cubicBezTo>
                    <a:pt x="5" y="382"/>
                    <a:pt x="114" y="490"/>
                    <a:pt x="248" y="490"/>
                  </a:cubicBezTo>
                  <a:cubicBezTo>
                    <a:pt x="381" y="490"/>
                    <a:pt x="490" y="382"/>
                    <a:pt x="490" y="248"/>
                  </a:cubicBezTo>
                  <a:cubicBezTo>
                    <a:pt x="490" y="114"/>
                    <a:pt x="381" y="6"/>
                    <a:pt x="248" y="6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auto">
            <a:xfrm>
              <a:off x="-1241" y="3688"/>
              <a:ext cx="955" cy="14"/>
            </a:xfrm>
            <a:prstGeom prst="rect">
              <a:avLst/>
            </a:pr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5" name="Rectangle 8"/>
            <p:cNvSpPr>
              <a:spLocks noChangeArrowheads="1"/>
            </p:cNvSpPr>
            <p:nvPr/>
          </p:nvSpPr>
          <p:spPr bwMode="auto">
            <a:xfrm>
              <a:off x="-768" y="3312"/>
              <a:ext cx="12" cy="668"/>
            </a:xfrm>
            <a:prstGeom prst="rect">
              <a:avLst/>
            </a:pr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6" name="Freeform 9"/>
            <p:cNvSpPr>
              <a:spLocks/>
            </p:cNvSpPr>
            <p:nvPr/>
          </p:nvSpPr>
          <p:spPr bwMode="auto">
            <a:xfrm>
              <a:off x="-1034" y="3966"/>
              <a:ext cx="546" cy="449"/>
            </a:xfrm>
            <a:custGeom>
              <a:avLst/>
              <a:gdLst>
                <a:gd name="T0" fmla="*/ 534 w 546"/>
                <a:gd name="T1" fmla="*/ 449 h 449"/>
                <a:gd name="T2" fmla="*/ 270 w 546"/>
                <a:gd name="T3" fmla="*/ 26 h 449"/>
                <a:gd name="T4" fmla="*/ 9 w 546"/>
                <a:gd name="T5" fmla="*/ 449 h 449"/>
                <a:gd name="T6" fmla="*/ 0 w 546"/>
                <a:gd name="T7" fmla="*/ 442 h 449"/>
                <a:gd name="T8" fmla="*/ 270 w 546"/>
                <a:gd name="T9" fmla="*/ 0 h 449"/>
                <a:gd name="T10" fmla="*/ 546 w 546"/>
                <a:gd name="T11" fmla="*/ 442 h 449"/>
                <a:gd name="T12" fmla="*/ 534 w 546"/>
                <a:gd name="T13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6" h="449">
                  <a:moveTo>
                    <a:pt x="534" y="449"/>
                  </a:moveTo>
                  <a:lnTo>
                    <a:pt x="270" y="26"/>
                  </a:lnTo>
                  <a:lnTo>
                    <a:pt x="9" y="449"/>
                  </a:lnTo>
                  <a:lnTo>
                    <a:pt x="0" y="442"/>
                  </a:lnTo>
                  <a:lnTo>
                    <a:pt x="270" y="0"/>
                  </a:lnTo>
                  <a:lnTo>
                    <a:pt x="546" y="442"/>
                  </a:lnTo>
                  <a:lnTo>
                    <a:pt x="534" y="449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7" name="Freeform 10"/>
            <p:cNvSpPr>
              <a:spLocks/>
            </p:cNvSpPr>
            <p:nvPr/>
          </p:nvSpPr>
          <p:spPr bwMode="auto">
            <a:xfrm>
              <a:off x="-1244" y="3517"/>
              <a:ext cx="960" cy="254"/>
            </a:xfrm>
            <a:custGeom>
              <a:avLst/>
              <a:gdLst>
                <a:gd name="T0" fmla="*/ 483 w 960"/>
                <a:gd name="T1" fmla="*/ 254 h 254"/>
                <a:gd name="T2" fmla="*/ 0 w 960"/>
                <a:gd name="T3" fmla="*/ 11 h 254"/>
                <a:gd name="T4" fmla="*/ 8 w 960"/>
                <a:gd name="T5" fmla="*/ 0 h 254"/>
                <a:gd name="T6" fmla="*/ 483 w 960"/>
                <a:gd name="T7" fmla="*/ 237 h 254"/>
                <a:gd name="T8" fmla="*/ 956 w 960"/>
                <a:gd name="T9" fmla="*/ 0 h 254"/>
                <a:gd name="T10" fmla="*/ 960 w 960"/>
                <a:gd name="T11" fmla="*/ 11 h 254"/>
                <a:gd name="T12" fmla="*/ 483 w 960"/>
                <a:gd name="T13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0" h="254">
                  <a:moveTo>
                    <a:pt x="483" y="254"/>
                  </a:moveTo>
                  <a:lnTo>
                    <a:pt x="0" y="11"/>
                  </a:lnTo>
                  <a:lnTo>
                    <a:pt x="8" y="0"/>
                  </a:lnTo>
                  <a:lnTo>
                    <a:pt x="483" y="237"/>
                  </a:lnTo>
                  <a:lnTo>
                    <a:pt x="956" y="0"/>
                  </a:lnTo>
                  <a:lnTo>
                    <a:pt x="960" y="11"/>
                  </a:lnTo>
                  <a:lnTo>
                    <a:pt x="483" y="254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136351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750"/>
                            </p:stCondLst>
                            <p:childTnLst>
                              <p:par>
                                <p:cTn id="24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25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10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250"/>
                            </p:stCondLst>
                            <p:childTnLst>
                              <p:par>
                                <p:cTn id="3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10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- opis i 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lipsa 7"/>
          <p:cNvSpPr/>
          <p:nvPr userDrawn="1"/>
        </p:nvSpPr>
        <p:spPr>
          <a:xfrm>
            <a:off x="-137427" y="5924283"/>
            <a:ext cx="8355222" cy="154546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4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8794082" cy="424732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pic>
        <p:nvPicPr>
          <p:cNvPr id="6" name="Obraz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058" y="1352947"/>
            <a:ext cx="7917341" cy="4621748"/>
          </a:xfrm>
          <a:prstGeom prst="rect">
            <a:avLst/>
          </a:prstGeom>
          <a:effectLst>
            <a:outerShdw blurRad="152400" dir="2700000" algn="tl" rotWithShape="0">
              <a:prstClr val="black">
                <a:alpha val="33000"/>
              </a:prstClr>
            </a:outerShdw>
            <a:reflection blurRad="6350" stA="52000" endA="300" endPos="35000" dir="5400000" sy="-100000" algn="bl" rotWithShape="0"/>
          </a:effectLst>
        </p:spPr>
      </p:pic>
      <p:sp>
        <p:nvSpPr>
          <p:cNvPr id="9" name="Symbol zastępczy tekstu 13"/>
          <p:cNvSpPr>
            <a:spLocks noGrp="1"/>
          </p:cNvSpPr>
          <p:nvPr>
            <p:ph type="body" sz="quarter" idx="15" hasCustomPrompt="1"/>
          </p:nvPr>
        </p:nvSpPr>
        <p:spPr>
          <a:xfrm>
            <a:off x="7910285" y="1558951"/>
            <a:ext cx="4018189" cy="1870049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6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10" name="Symbol zastępczy tekstu 13"/>
          <p:cNvSpPr>
            <a:spLocks noGrp="1"/>
          </p:cNvSpPr>
          <p:nvPr>
            <p:ph type="body" sz="quarter" idx="16" hasCustomPrompt="1"/>
          </p:nvPr>
        </p:nvSpPr>
        <p:spPr>
          <a:xfrm>
            <a:off x="7910285" y="3635004"/>
            <a:ext cx="4018189" cy="1888514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6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11" name="Symbol zastępczy obrazu 10"/>
          <p:cNvSpPr>
            <a:spLocks noGrp="1"/>
          </p:cNvSpPr>
          <p:nvPr>
            <p:ph type="pic" sz="quarter" idx="17"/>
          </p:nvPr>
        </p:nvSpPr>
        <p:spPr>
          <a:xfrm>
            <a:off x="1242061" y="1558925"/>
            <a:ext cx="5926454" cy="41259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endParaRPr lang="pl-PL"/>
          </a:p>
          <a:p>
            <a:endParaRPr lang="pl-PL"/>
          </a:p>
          <a:p>
            <a:endParaRPr lang="pl-PL"/>
          </a:p>
          <a:p>
            <a:r>
              <a:rPr lang="pl-PL"/>
              <a:t>Kliknij ikonę aby dodać zdjęcie</a:t>
            </a:r>
          </a:p>
        </p:txBody>
      </p:sp>
    </p:spTree>
    <p:extLst>
      <p:ext uri="{BB962C8B-B14F-4D97-AF65-F5344CB8AC3E}">
        <p14:creationId xmlns:p14="http://schemas.microsoft.com/office/powerpoint/2010/main" val="3906779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uiExpand="1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- opis i 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8794082" cy="424732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1022" y="6356350"/>
            <a:ext cx="2743200" cy="365125"/>
          </a:xfrm>
        </p:spPr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0" y="6356350"/>
            <a:ext cx="4114800" cy="365125"/>
          </a:xfrm>
        </p:spPr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458"/>
          <a:stretch/>
        </p:blipFill>
        <p:spPr>
          <a:xfrm>
            <a:off x="1336382" y="1256061"/>
            <a:ext cx="4759618" cy="5899481"/>
          </a:xfrm>
          <a:prstGeom prst="rect">
            <a:avLst/>
          </a:prstGeom>
          <a:effectLst>
            <a:outerShdw blurRad="152400" dir="2700000" algn="tl" rotWithShape="0">
              <a:prstClr val="black">
                <a:alpha val="33000"/>
              </a:prstClr>
            </a:outerShdw>
          </a:effectLst>
        </p:spPr>
      </p:pic>
      <p:sp>
        <p:nvSpPr>
          <p:cNvPr id="9" name="Symbol zastępczy tekstu 13"/>
          <p:cNvSpPr>
            <a:spLocks noGrp="1"/>
          </p:cNvSpPr>
          <p:nvPr>
            <p:ph type="body" sz="quarter" idx="15" hasCustomPrompt="1"/>
          </p:nvPr>
        </p:nvSpPr>
        <p:spPr>
          <a:xfrm>
            <a:off x="6516915" y="2001258"/>
            <a:ext cx="5411560" cy="1870049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6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10" name="Symbol zastępczy tekstu 13"/>
          <p:cNvSpPr>
            <a:spLocks noGrp="1"/>
          </p:cNvSpPr>
          <p:nvPr>
            <p:ph type="body" sz="quarter" idx="16" hasCustomPrompt="1"/>
          </p:nvPr>
        </p:nvSpPr>
        <p:spPr>
          <a:xfrm>
            <a:off x="6516915" y="4077311"/>
            <a:ext cx="5411560" cy="1888514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6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11" name="Symbol zastępczy obrazu 10"/>
          <p:cNvSpPr>
            <a:spLocks noGrp="1"/>
          </p:cNvSpPr>
          <p:nvPr>
            <p:ph type="pic" sz="quarter" idx="17"/>
          </p:nvPr>
        </p:nvSpPr>
        <p:spPr>
          <a:xfrm>
            <a:off x="1569720" y="1935480"/>
            <a:ext cx="4309830" cy="442087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endParaRPr lang="pl-PL"/>
          </a:p>
          <a:p>
            <a:endParaRPr lang="pl-PL"/>
          </a:p>
          <a:p>
            <a:endParaRPr lang="pl-PL"/>
          </a:p>
          <a:p>
            <a:r>
              <a:rPr lang="pl-PL"/>
              <a:t>Kliknij ikonę aby dodać zdjęcie</a:t>
            </a:r>
          </a:p>
        </p:txBody>
      </p:sp>
    </p:spTree>
    <p:extLst>
      <p:ext uri="{BB962C8B-B14F-4D97-AF65-F5344CB8AC3E}">
        <p14:creationId xmlns:p14="http://schemas.microsoft.com/office/powerpoint/2010/main" val="137606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uiExpand="1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a/Pro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68892" y="0"/>
            <a:ext cx="3123108" cy="270827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59043"/>
            <a:ext cx="3339360" cy="299895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6480064" cy="424732"/>
          </a:xfrm>
        </p:spPr>
        <p:txBody>
          <a:bodyPr anchor="ctr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graphicFrame>
        <p:nvGraphicFramePr>
          <p:cNvPr id="9" name="Tabela 8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14277522"/>
              </p:ext>
            </p:extLst>
          </p:nvPr>
        </p:nvGraphicFramePr>
        <p:xfrm>
          <a:off x="1819945" y="1234230"/>
          <a:ext cx="9360000" cy="500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4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4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4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25392">
                <a:tc>
                  <a:txBody>
                    <a:bodyPr/>
                    <a:lstStyle/>
                    <a:p>
                      <a:endParaRPr lang="pl-PL"/>
                    </a:p>
                  </a:txBody>
                  <a:tcPr marR="90000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 marR="90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 marR="90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 marR="90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78608">
                <a:tc>
                  <a:txBody>
                    <a:bodyPr/>
                    <a:lstStyle/>
                    <a:p>
                      <a:endParaRPr lang="pl-PL"/>
                    </a:p>
                  </a:txBody>
                  <a:tcPr marR="90000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 marR="90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 marR="90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 marR="90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Symbol zastępczy tekstu 13"/>
          <p:cNvSpPr>
            <a:spLocks noGrp="1"/>
          </p:cNvSpPr>
          <p:nvPr>
            <p:ph type="body" sz="quarter" idx="16" hasCustomPrompt="1"/>
          </p:nvPr>
        </p:nvSpPr>
        <p:spPr>
          <a:xfrm>
            <a:off x="1872505" y="1900004"/>
            <a:ext cx="1899104" cy="3017093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4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11" name="Symbol zastępczy tekstu 13"/>
          <p:cNvSpPr>
            <a:spLocks noGrp="1"/>
          </p:cNvSpPr>
          <p:nvPr>
            <p:ph type="body" sz="quarter" idx="17" hasCustomPrompt="1"/>
          </p:nvPr>
        </p:nvSpPr>
        <p:spPr>
          <a:xfrm>
            <a:off x="3829528" y="1900004"/>
            <a:ext cx="1899104" cy="3017093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4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12" name="Symbol zastępczy tekstu 13"/>
          <p:cNvSpPr>
            <a:spLocks noGrp="1"/>
          </p:cNvSpPr>
          <p:nvPr>
            <p:ph type="body" sz="quarter" idx="18" hasCustomPrompt="1"/>
          </p:nvPr>
        </p:nvSpPr>
        <p:spPr>
          <a:xfrm>
            <a:off x="5786551" y="1900004"/>
            <a:ext cx="1899104" cy="3017093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4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13" name="Symbol zastępczy tekstu 13"/>
          <p:cNvSpPr>
            <a:spLocks noGrp="1"/>
          </p:cNvSpPr>
          <p:nvPr>
            <p:ph type="body" sz="quarter" idx="19" hasCustomPrompt="1"/>
          </p:nvPr>
        </p:nvSpPr>
        <p:spPr>
          <a:xfrm>
            <a:off x="7714546" y="1900004"/>
            <a:ext cx="1899104" cy="3017093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4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14" name="Symbol zastępczy tekstu 13"/>
          <p:cNvSpPr>
            <a:spLocks noGrp="1"/>
          </p:cNvSpPr>
          <p:nvPr>
            <p:ph type="body" sz="quarter" idx="20" hasCustomPrompt="1"/>
          </p:nvPr>
        </p:nvSpPr>
        <p:spPr>
          <a:xfrm>
            <a:off x="7610269" y="1896426"/>
            <a:ext cx="1899104" cy="3017093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4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15" name="Symbol zastępczy tekstu 13"/>
          <p:cNvSpPr>
            <a:spLocks noGrp="1"/>
          </p:cNvSpPr>
          <p:nvPr>
            <p:ph type="body" sz="quarter" idx="21" hasCustomPrompt="1"/>
          </p:nvPr>
        </p:nvSpPr>
        <p:spPr>
          <a:xfrm>
            <a:off x="9555387" y="1896426"/>
            <a:ext cx="1899104" cy="3017093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4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16" name="Symbol zastępczy tekstu 11"/>
          <p:cNvSpPr>
            <a:spLocks noGrp="1"/>
          </p:cNvSpPr>
          <p:nvPr>
            <p:ph type="body" sz="quarter" idx="14" hasCustomPrompt="1"/>
          </p:nvPr>
        </p:nvSpPr>
        <p:spPr>
          <a:xfrm>
            <a:off x="1936004" y="1264187"/>
            <a:ext cx="1781175" cy="406156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l-PL"/>
              <a:t>Nagłówek</a:t>
            </a:r>
          </a:p>
        </p:txBody>
      </p:sp>
      <p:sp>
        <p:nvSpPr>
          <p:cNvPr id="22" name="Symbol zastępczy tekstu 11"/>
          <p:cNvSpPr>
            <a:spLocks noGrp="1"/>
          </p:cNvSpPr>
          <p:nvPr>
            <p:ph type="body" sz="quarter" idx="22" hasCustomPrompt="1"/>
          </p:nvPr>
        </p:nvSpPr>
        <p:spPr>
          <a:xfrm>
            <a:off x="3901192" y="1264187"/>
            <a:ext cx="1781175" cy="406156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l-PL"/>
              <a:t>Nagłówek</a:t>
            </a:r>
          </a:p>
        </p:txBody>
      </p:sp>
      <p:sp>
        <p:nvSpPr>
          <p:cNvPr id="23" name="Symbol zastępczy tekstu 11"/>
          <p:cNvSpPr>
            <a:spLocks noGrp="1"/>
          </p:cNvSpPr>
          <p:nvPr>
            <p:ph type="body" sz="quarter" idx="23" hasCustomPrompt="1"/>
          </p:nvPr>
        </p:nvSpPr>
        <p:spPr>
          <a:xfrm>
            <a:off x="5839361" y="1264187"/>
            <a:ext cx="1781175" cy="406156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l-PL"/>
              <a:t>Nagłówek</a:t>
            </a:r>
          </a:p>
        </p:txBody>
      </p:sp>
      <p:sp>
        <p:nvSpPr>
          <p:cNvPr id="24" name="Symbol zastępczy tekstu 11"/>
          <p:cNvSpPr>
            <a:spLocks noGrp="1"/>
          </p:cNvSpPr>
          <p:nvPr>
            <p:ph type="body" sz="quarter" idx="24" hasCustomPrompt="1"/>
          </p:nvPr>
        </p:nvSpPr>
        <p:spPr>
          <a:xfrm>
            <a:off x="7794169" y="1264187"/>
            <a:ext cx="1781175" cy="406156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l-PL"/>
              <a:t>Nagłówek</a:t>
            </a:r>
          </a:p>
        </p:txBody>
      </p:sp>
      <p:sp>
        <p:nvSpPr>
          <p:cNvPr id="25" name="Symbol zastępczy tekstu 11"/>
          <p:cNvSpPr>
            <a:spLocks noGrp="1"/>
          </p:cNvSpPr>
          <p:nvPr>
            <p:ph type="body" sz="quarter" idx="25" hasCustomPrompt="1"/>
          </p:nvPr>
        </p:nvSpPr>
        <p:spPr>
          <a:xfrm>
            <a:off x="7669233" y="1260609"/>
            <a:ext cx="1781175" cy="406156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l-PL"/>
              <a:t>Nagłówek</a:t>
            </a:r>
          </a:p>
        </p:txBody>
      </p:sp>
      <p:sp>
        <p:nvSpPr>
          <p:cNvPr id="26" name="Symbol zastępczy tekstu 11"/>
          <p:cNvSpPr>
            <a:spLocks noGrp="1"/>
          </p:cNvSpPr>
          <p:nvPr>
            <p:ph type="body" sz="quarter" idx="26" hasCustomPrompt="1"/>
          </p:nvPr>
        </p:nvSpPr>
        <p:spPr>
          <a:xfrm>
            <a:off x="9613650" y="1260609"/>
            <a:ext cx="1781175" cy="406156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l-PL"/>
              <a:t>Nagłówek</a:t>
            </a:r>
          </a:p>
        </p:txBody>
      </p:sp>
    </p:spTree>
    <p:extLst>
      <p:ext uri="{BB962C8B-B14F-4D97-AF65-F5344CB8AC3E}">
        <p14:creationId xmlns:p14="http://schemas.microsoft.com/office/powerpoint/2010/main" val="195026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5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7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7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7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7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75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75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n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68892" y="0"/>
            <a:ext cx="3123108" cy="270827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59043"/>
            <a:ext cx="3339360" cy="299895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6480064" cy="424732"/>
          </a:xfrm>
        </p:spPr>
        <p:txBody>
          <a:bodyPr anchor="ctr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5274" y="6356350"/>
            <a:ext cx="2743200" cy="365125"/>
          </a:xfrm>
        </p:spPr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19" name="Symbol zastępczy tekstu 18"/>
          <p:cNvSpPr>
            <a:spLocks noGrp="1"/>
          </p:cNvSpPr>
          <p:nvPr>
            <p:ph type="body" sz="quarter" idx="13" hasCustomPrompt="1"/>
          </p:nvPr>
        </p:nvSpPr>
        <p:spPr>
          <a:xfrm>
            <a:off x="351344" y="1573844"/>
            <a:ext cx="3468816" cy="52274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l-PL"/>
              <a:t>PRODUKT </a:t>
            </a:r>
          </a:p>
        </p:txBody>
      </p:sp>
      <p:sp>
        <p:nvSpPr>
          <p:cNvPr id="27" name="Symbol zastępczy tekstu 18"/>
          <p:cNvSpPr>
            <a:spLocks noGrp="1"/>
          </p:cNvSpPr>
          <p:nvPr>
            <p:ph type="body" sz="quarter" idx="14" hasCustomPrompt="1"/>
          </p:nvPr>
        </p:nvSpPr>
        <p:spPr>
          <a:xfrm>
            <a:off x="351344" y="2091640"/>
            <a:ext cx="3468816" cy="972456"/>
          </a:xfrm>
          <a:solidFill>
            <a:schemeClr val="accent1">
              <a:lumMod val="40000"/>
              <a:lumOff val="60000"/>
            </a:schemeClr>
          </a:solidFill>
          <a:ln>
            <a:solidFill>
              <a:srgbClr val="F39FC3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pl-PL"/>
              <a:t>X XXX zł + VAT</a:t>
            </a:r>
          </a:p>
        </p:txBody>
      </p:sp>
      <p:sp>
        <p:nvSpPr>
          <p:cNvPr id="29" name="Symbol zastępczy tekstu 18"/>
          <p:cNvSpPr>
            <a:spLocks noGrp="1"/>
          </p:cNvSpPr>
          <p:nvPr>
            <p:ph type="body" sz="quarter" idx="16" hasCustomPrompt="1"/>
          </p:nvPr>
        </p:nvSpPr>
        <p:spPr>
          <a:xfrm>
            <a:off x="4125762" y="1573844"/>
            <a:ext cx="3366859" cy="522741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l-PL"/>
              <a:t>PRODUKT </a:t>
            </a:r>
          </a:p>
        </p:txBody>
      </p:sp>
      <p:sp>
        <p:nvSpPr>
          <p:cNvPr id="30" name="Symbol zastępczy tekstu 18"/>
          <p:cNvSpPr>
            <a:spLocks noGrp="1"/>
          </p:cNvSpPr>
          <p:nvPr>
            <p:ph type="body" sz="quarter" idx="17" hasCustomPrompt="1"/>
          </p:nvPr>
        </p:nvSpPr>
        <p:spPr>
          <a:xfrm>
            <a:off x="4125762" y="2091640"/>
            <a:ext cx="3366859" cy="972456"/>
          </a:xfrm>
          <a:solidFill>
            <a:schemeClr val="tx2">
              <a:lumMod val="40000"/>
              <a:lumOff val="60000"/>
            </a:schemeClr>
          </a:solidFill>
          <a:ln>
            <a:solidFill>
              <a:srgbClr val="ADB9CA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pl-PL"/>
              <a:t>X XXX zł + VAT</a:t>
            </a:r>
          </a:p>
        </p:txBody>
      </p:sp>
      <p:sp>
        <p:nvSpPr>
          <p:cNvPr id="31" name="Symbol zastępczy tekstu 18"/>
          <p:cNvSpPr>
            <a:spLocks noGrp="1"/>
          </p:cNvSpPr>
          <p:nvPr>
            <p:ph type="body" sz="quarter" idx="18" hasCustomPrompt="1"/>
          </p:nvPr>
        </p:nvSpPr>
        <p:spPr>
          <a:xfrm>
            <a:off x="4125762" y="3062745"/>
            <a:ext cx="3366859" cy="2880856"/>
          </a:xfrm>
          <a:solidFill>
            <a:schemeClr val="bg1"/>
          </a:solidFill>
          <a:ln>
            <a:solidFill>
              <a:srgbClr val="ADB9CA"/>
            </a:solidFill>
          </a:ln>
        </p:spPr>
        <p:txBody>
          <a:bodyPr lIns="180000" tIns="252000" anchor="t">
            <a:normAutofit/>
          </a:bodyPr>
          <a:lstStyle>
            <a:lvl1pPr marL="342900" indent="-342900" algn="l">
              <a:buClr>
                <a:schemeClr val="tx2"/>
              </a:buClr>
              <a:buFont typeface="Symbol" panose="05050102010706020507" pitchFamily="18" charset="2"/>
              <a:buChar char="¨"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pl-PL"/>
              <a:t>Punkt</a:t>
            </a:r>
          </a:p>
          <a:p>
            <a:pPr lvl="0"/>
            <a:r>
              <a:rPr lang="pl-PL"/>
              <a:t>Punkt</a:t>
            </a:r>
          </a:p>
          <a:p>
            <a:pPr lvl="0"/>
            <a:r>
              <a:rPr lang="pl-PL"/>
              <a:t>Punk</a:t>
            </a:r>
          </a:p>
        </p:txBody>
      </p:sp>
      <p:sp>
        <p:nvSpPr>
          <p:cNvPr id="32" name="Symbol zastępczy tekstu 13"/>
          <p:cNvSpPr>
            <a:spLocks noGrp="1"/>
          </p:cNvSpPr>
          <p:nvPr>
            <p:ph type="body" sz="quarter" idx="19" hasCustomPrompt="1"/>
          </p:nvPr>
        </p:nvSpPr>
        <p:spPr>
          <a:xfrm>
            <a:off x="3820160" y="6096000"/>
            <a:ext cx="7487647" cy="625475"/>
          </a:xfrm>
        </p:spPr>
        <p:txBody>
          <a:bodyPr anchor="b">
            <a:normAutofit/>
          </a:bodyPr>
          <a:lstStyle>
            <a:lvl1pPr marL="0" indent="0">
              <a:lnSpc>
                <a:spcPct val="80000"/>
              </a:lnSpc>
              <a:buNone/>
              <a:defRPr sz="16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33" name="Symbol zastępczy tekstu 18"/>
          <p:cNvSpPr>
            <a:spLocks noGrp="1"/>
          </p:cNvSpPr>
          <p:nvPr>
            <p:ph type="body" sz="quarter" idx="20" hasCustomPrompt="1"/>
          </p:nvPr>
        </p:nvSpPr>
        <p:spPr>
          <a:xfrm>
            <a:off x="351344" y="3062745"/>
            <a:ext cx="3468816" cy="2880856"/>
          </a:xfrm>
          <a:solidFill>
            <a:schemeClr val="bg1"/>
          </a:solidFill>
          <a:ln>
            <a:solidFill>
              <a:srgbClr val="F39FC3"/>
            </a:solidFill>
          </a:ln>
        </p:spPr>
        <p:txBody>
          <a:bodyPr lIns="180000" tIns="252000" anchor="t">
            <a:normAutofit/>
          </a:bodyPr>
          <a:lstStyle>
            <a:lvl1pPr marL="342900" indent="-342900" algn="l">
              <a:buClr>
                <a:schemeClr val="accent1"/>
              </a:buClr>
              <a:buFont typeface="Symbol" panose="05050102010706020507" pitchFamily="18" charset="2"/>
              <a:buChar char="¨"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pl-PL"/>
              <a:t>Punkt</a:t>
            </a:r>
          </a:p>
          <a:p>
            <a:pPr lvl="0"/>
            <a:r>
              <a:rPr lang="pl-PL"/>
              <a:t>Punkt</a:t>
            </a:r>
          </a:p>
          <a:p>
            <a:pPr lvl="0"/>
            <a:r>
              <a:rPr lang="pl-PL"/>
              <a:t>Punkt</a:t>
            </a:r>
          </a:p>
        </p:txBody>
      </p:sp>
      <p:sp>
        <p:nvSpPr>
          <p:cNvPr id="15" name="Symbol zastępczy tekstu 18">
            <a:extLst>
              <a:ext uri="{FF2B5EF4-FFF2-40B4-BE49-F238E27FC236}">
                <a16:creationId xmlns:a16="http://schemas.microsoft.com/office/drawing/2014/main" id="{2BF3DCD4-B504-469E-ADE4-77B7DF152A7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23893" y="1587867"/>
            <a:ext cx="3383914" cy="522741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l-PL"/>
              <a:t>PRODUKT </a:t>
            </a:r>
          </a:p>
        </p:txBody>
      </p:sp>
      <p:sp>
        <p:nvSpPr>
          <p:cNvPr id="16" name="Symbol zastępczy tekstu 18">
            <a:extLst>
              <a:ext uri="{FF2B5EF4-FFF2-40B4-BE49-F238E27FC236}">
                <a16:creationId xmlns:a16="http://schemas.microsoft.com/office/drawing/2014/main" id="{76204A82-E2D9-434B-A7B0-4D2885F7C6A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23893" y="2105663"/>
            <a:ext cx="3383914" cy="972456"/>
          </a:xfrm>
          <a:solidFill>
            <a:schemeClr val="tx2">
              <a:lumMod val="40000"/>
              <a:lumOff val="60000"/>
            </a:schemeClr>
          </a:solidFill>
          <a:ln>
            <a:solidFill>
              <a:srgbClr val="ADB9CA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pl-PL"/>
              <a:t>X XXX zł + VAT</a:t>
            </a:r>
          </a:p>
        </p:txBody>
      </p:sp>
      <p:sp>
        <p:nvSpPr>
          <p:cNvPr id="17" name="Symbol zastępczy tekstu 18">
            <a:extLst>
              <a:ext uri="{FF2B5EF4-FFF2-40B4-BE49-F238E27FC236}">
                <a16:creationId xmlns:a16="http://schemas.microsoft.com/office/drawing/2014/main" id="{A54E6D84-60B4-4950-BA74-0173AB7C00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23893" y="3062879"/>
            <a:ext cx="3383914" cy="2880856"/>
          </a:xfrm>
          <a:solidFill>
            <a:schemeClr val="bg1"/>
          </a:solidFill>
          <a:ln>
            <a:solidFill>
              <a:srgbClr val="ADB9CA"/>
            </a:solidFill>
          </a:ln>
        </p:spPr>
        <p:txBody>
          <a:bodyPr lIns="180000" tIns="252000" anchor="t">
            <a:normAutofit/>
          </a:bodyPr>
          <a:lstStyle>
            <a:lvl1pPr marL="342900" indent="-342900" algn="l">
              <a:buClr>
                <a:schemeClr val="tx2"/>
              </a:buClr>
              <a:buFont typeface="Symbol" panose="05050102010706020507" pitchFamily="18" charset="2"/>
              <a:buChar char="¨"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pl-PL"/>
              <a:t>Punkt</a:t>
            </a:r>
          </a:p>
          <a:p>
            <a:pPr lvl="0"/>
            <a:r>
              <a:rPr lang="pl-PL"/>
              <a:t>Punkt</a:t>
            </a:r>
          </a:p>
          <a:p>
            <a:pPr lvl="0"/>
            <a:r>
              <a:rPr lang="pl-PL"/>
              <a:t>Punk</a:t>
            </a:r>
          </a:p>
        </p:txBody>
      </p:sp>
    </p:spTree>
    <p:extLst>
      <p:ext uri="{BB962C8B-B14F-4D97-AF65-F5344CB8AC3E}">
        <p14:creationId xmlns:p14="http://schemas.microsoft.com/office/powerpoint/2010/main" val="884728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ży nagłówek - opis - zdję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8794082" cy="424732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8" name="Symbol zastępczy obrazu 7"/>
          <p:cNvSpPr>
            <a:spLocks noGrp="1"/>
          </p:cNvSpPr>
          <p:nvPr>
            <p:ph type="pic" sz="quarter" idx="13"/>
          </p:nvPr>
        </p:nvSpPr>
        <p:spPr>
          <a:xfrm>
            <a:off x="263525" y="1257300"/>
            <a:ext cx="5337175" cy="48133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endParaRPr lang="pl-PL"/>
          </a:p>
          <a:p>
            <a:endParaRPr lang="pl-PL"/>
          </a:p>
          <a:p>
            <a:endParaRPr lang="pl-PL"/>
          </a:p>
          <a:p>
            <a:r>
              <a:rPr lang="pl-PL"/>
              <a:t>Kliknij ikonę aby dodać obraz</a:t>
            </a:r>
          </a:p>
        </p:txBody>
      </p:sp>
      <p:sp>
        <p:nvSpPr>
          <p:cNvPr id="9" name="Symbol zastępczy tekstu 13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2393950"/>
            <a:ext cx="5832475" cy="3676650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6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11" name="Symbol zastępczy tekstu 10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257300"/>
            <a:ext cx="5832475" cy="850900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l-PL"/>
              <a:t>NAGŁÓWEK DUŻY</a:t>
            </a:r>
          </a:p>
        </p:txBody>
      </p:sp>
      <p:cxnSp>
        <p:nvCxnSpPr>
          <p:cNvPr id="13" name="Łącznik prosty 12"/>
          <p:cNvCxnSpPr/>
          <p:nvPr userDrawn="1"/>
        </p:nvCxnSpPr>
        <p:spPr>
          <a:xfrm>
            <a:off x="6096000" y="2159000"/>
            <a:ext cx="60960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9254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8794082" cy="424732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7" name="Symbol zastępczy zawartości 6"/>
          <p:cNvSpPr>
            <a:spLocks noGrp="1"/>
          </p:cNvSpPr>
          <p:nvPr>
            <p:ph sz="quarter" idx="13"/>
          </p:nvPr>
        </p:nvSpPr>
        <p:spPr>
          <a:xfrm>
            <a:off x="292100" y="1219200"/>
            <a:ext cx="11636375" cy="48339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4189994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ytuł i tekst_trójkąty w 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68892" y="0"/>
            <a:ext cx="3123108" cy="270827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59043"/>
            <a:ext cx="3339360" cy="299895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6480064" cy="424732"/>
          </a:xfrm>
        </p:spPr>
        <p:txBody>
          <a:bodyPr anchor="ctr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8" name="Symbol zastępczy zawartości 6"/>
          <p:cNvSpPr>
            <a:spLocks noGrp="1"/>
          </p:cNvSpPr>
          <p:nvPr>
            <p:ph sz="quarter" idx="13"/>
          </p:nvPr>
        </p:nvSpPr>
        <p:spPr>
          <a:xfrm>
            <a:off x="292100" y="1219200"/>
            <a:ext cx="11636375" cy="48339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390091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Moni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rostokąt 5"/>
          <p:cNvSpPr/>
          <p:nvPr userDrawn="1"/>
        </p:nvSpPr>
        <p:spPr>
          <a:xfrm>
            <a:off x="2578100" y="88900"/>
            <a:ext cx="419100" cy="104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83627" y="0"/>
            <a:ext cx="4508373" cy="6864411"/>
          </a:xfrm>
          <a:prstGeom prst="rect">
            <a:avLst/>
          </a:prstGeom>
        </p:spPr>
      </p:pic>
      <p:pic>
        <p:nvPicPr>
          <p:cNvPr id="8" name="Obraz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574" y="393699"/>
            <a:ext cx="5102555" cy="4678997"/>
          </a:xfrm>
          <a:prstGeom prst="rect">
            <a:avLst/>
          </a:prstGeom>
        </p:spPr>
      </p:pic>
      <p:sp>
        <p:nvSpPr>
          <p:cNvPr id="9" name="Prostokąt 8"/>
          <p:cNvSpPr/>
          <p:nvPr userDrawn="1"/>
        </p:nvSpPr>
        <p:spPr>
          <a:xfrm>
            <a:off x="1040833" y="418980"/>
            <a:ext cx="5929979" cy="4464050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1916" y="2555203"/>
            <a:ext cx="5842957" cy="3871933"/>
          </a:xfrm>
          <a:prstGeom prst="rect">
            <a:avLst/>
          </a:prstGeom>
          <a:noFill/>
          <a:effectLst>
            <a:outerShdw blurRad="152400" dir="2700000" algn="tl" rotWithShape="0">
              <a:prstClr val="black">
                <a:alpha val="33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Prostokąt 11"/>
          <p:cNvSpPr/>
          <p:nvPr userDrawn="1"/>
        </p:nvSpPr>
        <p:spPr>
          <a:xfrm>
            <a:off x="6817129" y="2844800"/>
            <a:ext cx="4576271" cy="40370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5" name="Prostokąt 14"/>
          <p:cNvSpPr/>
          <p:nvPr/>
        </p:nvSpPr>
        <p:spPr>
          <a:xfrm>
            <a:off x="6871486" y="4423144"/>
            <a:ext cx="6759206" cy="4854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000"/>
          </a:p>
        </p:txBody>
      </p:sp>
      <p:sp>
        <p:nvSpPr>
          <p:cNvPr id="18" name="Prostokąt 17"/>
          <p:cNvSpPr/>
          <p:nvPr/>
        </p:nvSpPr>
        <p:spPr>
          <a:xfrm>
            <a:off x="6871486" y="5051918"/>
            <a:ext cx="6759206" cy="4854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000"/>
          </a:p>
        </p:txBody>
      </p:sp>
      <p:sp>
        <p:nvSpPr>
          <p:cNvPr id="21" name="Prostokąt 20"/>
          <p:cNvSpPr/>
          <p:nvPr/>
        </p:nvSpPr>
        <p:spPr>
          <a:xfrm>
            <a:off x="6871486" y="5680691"/>
            <a:ext cx="6759206" cy="4854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000"/>
          </a:p>
        </p:txBody>
      </p:sp>
      <p:sp>
        <p:nvSpPr>
          <p:cNvPr id="2" name="Symbol zastępczy daty 1">
            <a:extLst>
              <a:ext uri="{FF2B5EF4-FFF2-40B4-BE49-F238E27FC236}">
                <a16:creationId xmlns:a16="http://schemas.microsoft.com/office/drawing/2014/main" id="{778FE110-2DC3-4DAC-A92B-3FF565A41DBE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id="{E080F63E-3BF1-4A77-9A46-7A04F586BB8D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F8A990D4-180F-4F51-806C-CF6FA03EFF37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23" name="Symbol zastępczy tekstu 2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888443" y="3883782"/>
            <a:ext cx="4308071" cy="397032"/>
          </a:xfrm>
        </p:spPr>
        <p:txBody>
          <a:bodyPr wrap="square" anchor="b">
            <a:spAutoFit/>
          </a:bodyPr>
          <a:lstStyle>
            <a:lvl1pPr marL="0" indent="0">
              <a:buNone/>
              <a:defRPr lang="pl-PL" sz="2200" baseline="0" smtClean="0">
                <a:solidFill>
                  <a:schemeClr val="accent2"/>
                </a:solidFill>
              </a:defRPr>
            </a:lvl1pPr>
            <a:lvl2pPr>
              <a:defRPr lang="pl-PL" sz="1800" dirty="0" smtClean="0"/>
            </a:lvl2pPr>
            <a:lvl3pPr>
              <a:defRPr lang="pl-PL" sz="1800" dirty="0" smtClean="0"/>
            </a:lvl3pPr>
            <a:lvl4pPr>
              <a:defRPr lang="pl-PL" dirty="0" smtClean="0"/>
            </a:lvl4pPr>
            <a:lvl5pPr>
              <a:defRPr lang="pl-PL" dirty="0"/>
            </a:lvl5pPr>
          </a:lstStyle>
          <a:p>
            <a:pPr marL="0" lvl="0"/>
            <a:r>
              <a:rPr lang="pl-PL"/>
              <a:t>Miejsce na opis </a:t>
            </a:r>
          </a:p>
        </p:txBody>
      </p:sp>
      <p:sp>
        <p:nvSpPr>
          <p:cNvPr id="34" name="Symbol zastępczy tekstu 33"/>
          <p:cNvSpPr>
            <a:spLocks noGrp="1"/>
          </p:cNvSpPr>
          <p:nvPr>
            <p:ph type="body" sz="quarter" idx="14" hasCustomPrompt="1"/>
          </p:nvPr>
        </p:nvSpPr>
        <p:spPr>
          <a:xfrm>
            <a:off x="6961371" y="4494475"/>
            <a:ext cx="4392429" cy="313932"/>
          </a:xfrm>
        </p:spPr>
        <p:txBody>
          <a:bodyPr wrap="square">
            <a:spAutoFit/>
          </a:bodyPr>
          <a:lstStyle>
            <a:lvl1pPr marL="0" indent="0">
              <a:buNone/>
              <a:defRPr lang="pl-PL" sz="1600" b="1" smtClean="0">
                <a:solidFill>
                  <a:schemeClr val="bg1"/>
                </a:solidFill>
                <a:latin typeface="+mj-lt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HASŁO</a:t>
            </a:r>
          </a:p>
        </p:txBody>
      </p:sp>
      <p:sp>
        <p:nvSpPr>
          <p:cNvPr id="35" name="Symbol zastępczy tekstu 33"/>
          <p:cNvSpPr>
            <a:spLocks noGrp="1"/>
          </p:cNvSpPr>
          <p:nvPr>
            <p:ph type="body" sz="quarter" idx="15" hasCustomPrompt="1"/>
          </p:nvPr>
        </p:nvSpPr>
        <p:spPr>
          <a:xfrm>
            <a:off x="6961371" y="5137691"/>
            <a:ext cx="4392429" cy="313932"/>
          </a:xfrm>
        </p:spPr>
        <p:txBody>
          <a:bodyPr wrap="square">
            <a:spAutoFit/>
          </a:bodyPr>
          <a:lstStyle>
            <a:lvl1pPr marL="0" indent="0">
              <a:buNone/>
              <a:defRPr lang="pl-PL" sz="1600" b="1" smtClean="0">
                <a:solidFill>
                  <a:schemeClr val="bg1"/>
                </a:solidFill>
                <a:latin typeface="+mj-lt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HASŁO</a:t>
            </a:r>
          </a:p>
        </p:txBody>
      </p:sp>
      <p:sp>
        <p:nvSpPr>
          <p:cNvPr id="36" name="Symbol zastępczy tekstu 33"/>
          <p:cNvSpPr>
            <a:spLocks noGrp="1"/>
          </p:cNvSpPr>
          <p:nvPr>
            <p:ph type="body" sz="quarter" idx="16" hasCustomPrompt="1"/>
          </p:nvPr>
        </p:nvSpPr>
        <p:spPr>
          <a:xfrm>
            <a:off x="6961371" y="5769725"/>
            <a:ext cx="4392429" cy="313932"/>
          </a:xfrm>
        </p:spPr>
        <p:txBody>
          <a:bodyPr wrap="square">
            <a:spAutoFit/>
          </a:bodyPr>
          <a:lstStyle>
            <a:lvl1pPr marL="0" indent="0">
              <a:buNone/>
              <a:defRPr lang="pl-PL" sz="1600" b="1" smtClean="0">
                <a:solidFill>
                  <a:schemeClr val="bg1"/>
                </a:solidFill>
                <a:latin typeface="+mj-lt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HASŁO</a:t>
            </a:r>
          </a:p>
        </p:txBody>
      </p:sp>
    </p:spTree>
    <p:extLst>
      <p:ext uri="{BB962C8B-B14F-4D97-AF65-F5344CB8AC3E}">
        <p14:creationId xmlns:p14="http://schemas.microsoft.com/office/powerpoint/2010/main" val="1871891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1" presetID="2" presetClass="entr" presetSubtype="4" fill="hold" nodeType="afterEffect" p14:presetBounceEnd="5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333">
                                          <p:cBhvr additive="base">
                                            <p:cTn id="13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333">
                                          <p:cBhvr additive="base">
                                            <p:cTn id="14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5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16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8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20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22" dur="75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24" presetID="2" presetClass="entr" presetSubtype="2" fill="hold" grpId="0" nodeType="afterEffect" p14:presetBounceEnd="5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333">
                                          <p:cBhvr additive="base">
                                            <p:cTn id="26" dur="7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333">
                                          <p:cBhvr additive="base">
                                            <p:cTn id="27" dur="7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8" presetID="2" presetClass="entr" presetSubtype="2" fill="hold" grpId="0" nodeType="withEffect" p14:presetBounceEnd="5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333">
                                          <p:cBhvr additive="base">
                                            <p:cTn id="30" dur="7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333">
                                          <p:cBhvr additive="base">
                                            <p:cTn id="31" dur="7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2" presetID="2" presetClass="entr" presetSubtype="2" fill="hold" grpId="0" nodeType="withEffect" p14:presetBounceEnd="5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333">
                                          <p:cBhvr additive="base">
                                            <p:cTn id="34" dur="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333">
                                          <p:cBhvr additive="base">
                                            <p:cTn id="35" dur="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6" fill="hold">
                                <p:stCondLst>
                                  <p:cond delay="3250"/>
                                </p:stCondLst>
                                <p:childTnLst>
                                  <p:par>
                                    <p:cTn id="37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 animBg="1"/>
          <p:bldP spid="15" grpId="0" animBg="1"/>
          <p:bldP spid="18" grpId="0" animBg="1"/>
          <p:bldP spid="21" grpId="0" animBg="1"/>
          <p:bldP spid="23" grpId="0">
            <p:tmplLst>
              <p:tmpl>
                <p:tnLst>
                  <p:par>
                    <p:cTn presetID="22" presetClass="entr" presetSubtype="1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wipe(up)">
                          <p:cBhvr>
                            <p:cTn dur="750"/>
                            <p:tgtEl>
                              <p:spTgt spid="23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4" grpId="0" build="p">
            <p:tmplLst>
              <p:tmpl lvl="1">
                <p:tnLst>
                  <p:par>
                    <p:cTn presetID="10" presetClass="entr" presetSubtype="0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4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5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5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6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6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1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5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16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8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20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22" dur="75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24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6" dur="7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7" dur="7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8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0" dur="7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1" dur="7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2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4" dur="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5" dur="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6" fill="hold">
                                <p:stCondLst>
                                  <p:cond delay="3250"/>
                                </p:stCondLst>
                                <p:childTnLst>
                                  <p:par>
                                    <p:cTn id="37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 animBg="1"/>
          <p:bldP spid="15" grpId="0" animBg="1"/>
          <p:bldP spid="18" grpId="0" animBg="1"/>
          <p:bldP spid="21" grpId="0" animBg="1"/>
          <p:bldP spid="23" grpId="0">
            <p:tmplLst>
              <p:tmpl>
                <p:tnLst>
                  <p:par>
                    <p:cTn presetID="22" presetClass="entr" presetSubtype="1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wipe(up)">
                          <p:cBhvr>
                            <p:cTn dur="750"/>
                            <p:tgtEl>
                              <p:spTgt spid="23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4" grpId="0" build="p">
            <p:tmplLst>
              <p:tmpl lvl="1">
                <p:tnLst>
                  <p:par>
                    <p:cTn presetID="10" presetClass="entr" presetSubtype="0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4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5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5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6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6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Obraz 27">
            <a:extLst>
              <a:ext uri="{FF2B5EF4-FFF2-40B4-BE49-F238E27FC236}">
                <a16:creationId xmlns:a16="http://schemas.microsoft.com/office/drawing/2014/main" id="{02E6C61C-6558-4EB1-9238-0D76F899F8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317" y="236459"/>
            <a:ext cx="7200461" cy="6602758"/>
          </a:xfrm>
          <a:prstGeom prst="rect">
            <a:avLst/>
          </a:prstGeom>
        </p:spPr>
      </p:pic>
      <p:sp>
        <p:nvSpPr>
          <p:cNvPr id="29" name="Prostokąt 28">
            <a:extLst>
              <a:ext uri="{FF2B5EF4-FFF2-40B4-BE49-F238E27FC236}">
                <a16:creationId xmlns:a16="http://schemas.microsoft.com/office/drawing/2014/main" id="{7556872D-9860-4918-9046-04D2F22B930C}"/>
              </a:ext>
            </a:extLst>
          </p:cNvPr>
          <p:cNvSpPr/>
          <p:nvPr userDrawn="1"/>
        </p:nvSpPr>
        <p:spPr>
          <a:xfrm>
            <a:off x="3467100" y="0"/>
            <a:ext cx="8763000" cy="6858000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  <p:pic>
        <p:nvPicPr>
          <p:cNvPr id="32" name="Obraz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0211" y="3879867"/>
            <a:ext cx="3495157" cy="199939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3" name="Obraz 3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7232" y="1486566"/>
            <a:ext cx="4124689" cy="20145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4" name="Obraz 3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604" y="0"/>
            <a:ext cx="2548342" cy="389302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6" name="Symbol zastępczy tekstu 35"/>
          <p:cNvSpPr>
            <a:spLocks noGrp="1"/>
          </p:cNvSpPr>
          <p:nvPr>
            <p:ph type="body" sz="quarter" idx="10" hasCustomPrompt="1"/>
          </p:nvPr>
        </p:nvSpPr>
        <p:spPr>
          <a:xfrm>
            <a:off x="3826987" y="3735280"/>
            <a:ext cx="1933543" cy="923330"/>
          </a:xfrm>
          <a:noFill/>
        </p:spPr>
        <p:txBody>
          <a:bodyPr wrap="none" rtlCol="0">
            <a:spAutoFit/>
          </a:bodyPr>
          <a:lstStyle>
            <a:lvl1pPr marL="0" indent="0">
              <a:buNone/>
              <a:defRPr lang="pl-PL" sz="6000" smtClean="0">
                <a:solidFill>
                  <a:schemeClr val="accent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Tytuł</a:t>
            </a:r>
          </a:p>
        </p:txBody>
      </p:sp>
      <p:sp>
        <p:nvSpPr>
          <p:cNvPr id="39" name="Symbol zastępczy tekstu 38"/>
          <p:cNvSpPr>
            <a:spLocks noGrp="1"/>
          </p:cNvSpPr>
          <p:nvPr>
            <p:ph type="body" sz="quarter" idx="11" hasCustomPrompt="1"/>
          </p:nvPr>
        </p:nvSpPr>
        <p:spPr>
          <a:xfrm>
            <a:off x="3826987" y="4841885"/>
            <a:ext cx="4317207" cy="4247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l-PL" sz="2400" smtClean="0">
                <a:solidFill>
                  <a:srgbClr val="44546A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PODTYTUŁ</a:t>
            </a:r>
          </a:p>
        </p:txBody>
      </p:sp>
      <p:grpSp>
        <p:nvGrpSpPr>
          <p:cNvPr id="7" name="Group 13"/>
          <p:cNvGrpSpPr>
            <a:grpSpLocks noChangeAspect="1"/>
          </p:cNvGrpSpPr>
          <p:nvPr userDrawn="1"/>
        </p:nvGrpSpPr>
        <p:grpSpPr bwMode="auto">
          <a:xfrm>
            <a:off x="4583089" y="406675"/>
            <a:ext cx="1452563" cy="592121"/>
            <a:chOff x="2515" y="2849"/>
            <a:chExt cx="2566" cy="1046"/>
          </a:xfrm>
        </p:grpSpPr>
        <p:sp>
          <p:nvSpPr>
            <p:cNvPr id="8" name="Freeform 14"/>
            <p:cNvSpPr>
              <a:spLocks noEditPoints="1"/>
            </p:cNvSpPr>
            <p:nvPr/>
          </p:nvSpPr>
          <p:spPr bwMode="auto">
            <a:xfrm>
              <a:off x="2533" y="3006"/>
              <a:ext cx="306" cy="330"/>
            </a:xfrm>
            <a:custGeom>
              <a:avLst/>
              <a:gdLst>
                <a:gd name="T0" fmla="*/ 66 w 129"/>
                <a:gd name="T1" fmla="*/ 139 h 139"/>
                <a:gd name="T2" fmla="*/ 40 w 129"/>
                <a:gd name="T3" fmla="*/ 134 h 139"/>
                <a:gd name="T4" fmla="*/ 19 w 129"/>
                <a:gd name="T5" fmla="*/ 120 h 139"/>
                <a:gd name="T6" fmla="*/ 5 w 129"/>
                <a:gd name="T7" fmla="*/ 100 h 139"/>
                <a:gd name="T8" fmla="*/ 0 w 129"/>
                <a:gd name="T9" fmla="*/ 74 h 139"/>
                <a:gd name="T10" fmla="*/ 5 w 129"/>
                <a:gd name="T11" fmla="*/ 44 h 139"/>
                <a:gd name="T12" fmla="*/ 18 w 129"/>
                <a:gd name="T13" fmla="*/ 21 h 139"/>
                <a:gd name="T14" fmla="*/ 39 w 129"/>
                <a:gd name="T15" fmla="*/ 5 h 139"/>
                <a:gd name="T16" fmla="*/ 66 w 129"/>
                <a:gd name="T17" fmla="*/ 0 h 139"/>
                <a:gd name="T18" fmla="*/ 90 w 129"/>
                <a:gd name="T19" fmla="*/ 4 h 139"/>
                <a:gd name="T20" fmla="*/ 109 w 129"/>
                <a:gd name="T21" fmla="*/ 17 h 139"/>
                <a:gd name="T22" fmla="*/ 121 w 129"/>
                <a:gd name="T23" fmla="*/ 35 h 139"/>
                <a:gd name="T24" fmla="*/ 125 w 129"/>
                <a:gd name="T25" fmla="*/ 56 h 139"/>
                <a:gd name="T26" fmla="*/ 26 w 129"/>
                <a:gd name="T27" fmla="*/ 56 h 139"/>
                <a:gd name="T28" fmla="*/ 29 w 129"/>
                <a:gd name="T29" fmla="*/ 81 h 139"/>
                <a:gd name="T30" fmla="*/ 39 w 129"/>
                <a:gd name="T31" fmla="*/ 101 h 139"/>
                <a:gd name="T32" fmla="*/ 54 w 129"/>
                <a:gd name="T33" fmla="*/ 114 h 139"/>
                <a:gd name="T34" fmla="*/ 73 w 129"/>
                <a:gd name="T35" fmla="*/ 119 h 139"/>
                <a:gd name="T36" fmla="*/ 89 w 129"/>
                <a:gd name="T37" fmla="*/ 116 h 139"/>
                <a:gd name="T38" fmla="*/ 104 w 129"/>
                <a:gd name="T39" fmla="*/ 108 h 139"/>
                <a:gd name="T40" fmla="*/ 115 w 129"/>
                <a:gd name="T41" fmla="*/ 98 h 139"/>
                <a:gd name="T42" fmla="*/ 121 w 129"/>
                <a:gd name="T43" fmla="*/ 86 h 139"/>
                <a:gd name="T44" fmla="*/ 129 w 129"/>
                <a:gd name="T45" fmla="*/ 89 h 139"/>
                <a:gd name="T46" fmla="*/ 120 w 129"/>
                <a:gd name="T47" fmla="*/ 109 h 139"/>
                <a:gd name="T48" fmla="*/ 105 w 129"/>
                <a:gd name="T49" fmla="*/ 124 h 139"/>
                <a:gd name="T50" fmla="*/ 86 w 129"/>
                <a:gd name="T51" fmla="*/ 135 h 139"/>
                <a:gd name="T52" fmla="*/ 66 w 129"/>
                <a:gd name="T53" fmla="*/ 139 h 139"/>
                <a:gd name="T54" fmla="*/ 92 w 129"/>
                <a:gd name="T55" fmla="*/ 45 h 139"/>
                <a:gd name="T56" fmla="*/ 89 w 129"/>
                <a:gd name="T57" fmla="*/ 31 h 139"/>
                <a:gd name="T58" fmla="*/ 82 w 129"/>
                <a:gd name="T59" fmla="*/ 20 h 139"/>
                <a:gd name="T60" fmla="*/ 71 w 129"/>
                <a:gd name="T61" fmla="*/ 12 h 139"/>
                <a:gd name="T62" fmla="*/ 58 w 129"/>
                <a:gd name="T63" fmla="*/ 10 h 139"/>
                <a:gd name="T64" fmla="*/ 46 w 129"/>
                <a:gd name="T65" fmla="*/ 12 h 139"/>
                <a:gd name="T66" fmla="*/ 36 w 129"/>
                <a:gd name="T67" fmla="*/ 20 h 139"/>
                <a:gd name="T68" fmla="*/ 29 w 129"/>
                <a:gd name="T69" fmla="*/ 31 h 139"/>
                <a:gd name="T70" fmla="*/ 26 w 129"/>
                <a:gd name="T71" fmla="*/ 45 h 139"/>
                <a:gd name="T72" fmla="*/ 92 w 129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139">
                  <a:moveTo>
                    <a:pt x="66" y="139"/>
                  </a:moveTo>
                  <a:cubicBezTo>
                    <a:pt x="57" y="139"/>
                    <a:pt x="48" y="137"/>
                    <a:pt x="40" y="134"/>
                  </a:cubicBezTo>
                  <a:cubicBezTo>
                    <a:pt x="32" y="131"/>
                    <a:pt x="25" y="126"/>
                    <a:pt x="19" y="120"/>
                  </a:cubicBezTo>
                  <a:cubicBezTo>
                    <a:pt x="13" y="114"/>
                    <a:pt x="9" y="107"/>
                    <a:pt x="5" y="100"/>
                  </a:cubicBezTo>
                  <a:cubicBezTo>
                    <a:pt x="2" y="92"/>
                    <a:pt x="0" y="83"/>
                    <a:pt x="0" y="74"/>
                  </a:cubicBezTo>
                  <a:cubicBezTo>
                    <a:pt x="0" y="64"/>
                    <a:pt x="2" y="54"/>
                    <a:pt x="5" y="44"/>
                  </a:cubicBezTo>
                  <a:cubicBezTo>
                    <a:pt x="8" y="35"/>
                    <a:pt x="12" y="27"/>
                    <a:pt x="18" y="21"/>
                  </a:cubicBezTo>
                  <a:cubicBezTo>
                    <a:pt x="24" y="14"/>
                    <a:pt x="31" y="9"/>
                    <a:pt x="39" y="5"/>
                  </a:cubicBezTo>
                  <a:cubicBezTo>
                    <a:pt x="47" y="1"/>
                    <a:pt x="56" y="0"/>
                    <a:pt x="66" y="0"/>
                  </a:cubicBezTo>
                  <a:cubicBezTo>
                    <a:pt x="75" y="0"/>
                    <a:pt x="83" y="1"/>
                    <a:pt x="90" y="4"/>
                  </a:cubicBezTo>
                  <a:cubicBezTo>
                    <a:pt x="97" y="7"/>
                    <a:pt x="104" y="11"/>
                    <a:pt x="109" y="17"/>
                  </a:cubicBezTo>
                  <a:cubicBezTo>
                    <a:pt x="114" y="22"/>
                    <a:pt x="118" y="28"/>
                    <a:pt x="121" y="35"/>
                  </a:cubicBezTo>
                  <a:cubicBezTo>
                    <a:pt x="124" y="41"/>
                    <a:pt x="125" y="49"/>
                    <a:pt x="125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65"/>
                    <a:pt x="27" y="73"/>
                    <a:pt x="29" y="81"/>
                  </a:cubicBezTo>
                  <a:cubicBezTo>
                    <a:pt x="31" y="89"/>
                    <a:pt x="35" y="95"/>
                    <a:pt x="39" y="101"/>
                  </a:cubicBezTo>
                  <a:cubicBezTo>
                    <a:pt x="43" y="106"/>
                    <a:pt x="48" y="111"/>
                    <a:pt x="54" y="114"/>
                  </a:cubicBezTo>
                  <a:cubicBezTo>
                    <a:pt x="59" y="117"/>
                    <a:pt x="66" y="119"/>
                    <a:pt x="73" y="119"/>
                  </a:cubicBezTo>
                  <a:cubicBezTo>
                    <a:pt x="79" y="119"/>
                    <a:pt x="84" y="118"/>
                    <a:pt x="89" y="116"/>
                  </a:cubicBezTo>
                  <a:cubicBezTo>
                    <a:pt x="95" y="114"/>
                    <a:pt x="100" y="112"/>
                    <a:pt x="104" y="108"/>
                  </a:cubicBezTo>
                  <a:cubicBezTo>
                    <a:pt x="108" y="105"/>
                    <a:pt x="112" y="102"/>
                    <a:pt x="115" y="98"/>
                  </a:cubicBezTo>
                  <a:cubicBezTo>
                    <a:pt x="118" y="94"/>
                    <a:pt x="120" y="90"/>
                    <a:pt x="121" y="86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7" y="96"/>
                    <a:pt x="124" y="103"/>
                    <a:pt x="120" y="109"/>
                  </a:cubicBezTo>
                  <a:cubicBezTo>
                    <a:pt x="115" y="115"/>
                    <a:pt x="110" y="120"/>
                    <a:pt x="105" y="124"/>
                  </a:cubicBezTo>
                  <a:cubicBezTo>
                    <a:pt x="99" y="129"/>
                    <a:pt x="93" y="132"/>
                    <a:pt x="86" y="135"/>
                  </a:cubicBezTo>
                  <a:cubicBezTo>
                    <a:pt x="79" y="138"/>
                    <a:pt x="73" y="139"/>
                    <a:pt x="66" y="139"/>
                  </a:cubicBezTo>
                  <a:moveTo>
                    <a:pt x="92" y="45"/>
                  </a:moveTo>
                  <a:cubicBezTo>
                    <a:pt x="92" y="40"/>
                    <a:pt x="91" y="36"/>
                    <a:pt x="89" y="31"/>
                  </a:cubicBezTo>
                  <a:cubicBezTo>
                    <a:pt x="88" y="27"/>
                    <a:pt x="85" y="23"/>
                    <a:pt x="82" y="20"/>
                  </a:cubicBezTo>
                  <a:cubicBezTo>
                    <a:pt x="79" y="17"/>
                    <a:pt x="75" y="14"/>
                    <a:pt x="71" y="12"/>
                  </a:cubicBezTo>
                  <a:cubicBezTo>
                    <a:pt x="67" y="10"/>
                    <a:pt x="62" y="10"/>
                    <a:pt x="58" y="10"/>
                  </a:cubicBezTo>
                  <a:cubicBezTo>
                    <a:pt x="54" y="10"/>
                    <a:pt x="50" y="10"/>
                    <a:pt x="46" y="12"/>
                  </a:cubicBezTo>
                  <a:cubicBezTo>
                    <a:pt x="42" y="14"/>
                    <a:pt x="39" y="17"/>
                    <a:pt x="36" y="20"/>
                  </a:cubicBezTo>
                  <a:cubicBezTo>
                    <a:pt x="33" y="23"/>
                    <a:pt x="31" y="27"/>
                    <a:pt x="29" y="31"/>
                  </a:cubicBezTo>
                  <a:cubicBezTo>
                    <a:pt x="27" y="36"/>
                    <a:pt x="26" y="40"/>
                    <a:pt x="26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9" name="Freeform 15"/>
            <p:cNvSpPr>
              <a:spLocks/>
            </p:cNvSpPr>
            <p:nvPr/>
          </p:nvSpPr>
          <p:spPr bwMode="auto">
            <a:xfrm>
              <a:off x="2849" y="3013"/>
              <a:ext cx="324" cy="316"/>
            </a:xfrm>
            <a:custGeom>
              <a:avLst/>
              <a:gdLst>
                <a:gd name="T0" fmla="*/ 33 w 324"/>
                <a:gd name="T1" fmla="*/ 316 h 316"/>
                <a:gd name="T2" fmla="*/ 0 w 324"/>
                <a:gd name="T3" fmla="*/ 316 h 316"/>
                <a:gd name="T4" fmla="*/ 132 w 324"/>
                <a:gd name="T5" fmla="*/ 155 h 316"/>
                <a:gd name="T6" fmla="*/ 19 w 324"/>
                <a:gd name="T7" fmla="*/ 0 h 316"/>
                <a:gd name="T8" fmla="*/ 94 w 324"/>
                <a:gd name="T9" fmla="*/ 0 h 316"/>
                <a:gd name="T10" fmla="*/ 170 w 324"/>
                <a:gd name="T11" fmla="*/ 105 h 316"/>
                <a:gd name="T12" fmla="*/ 258 w 324"/>
                <a:gd name="T13" fmla="*/ 0 h 316"/>
                <a:gd name="T14" fmla="*/ 293 w 324"/>
                <a:gd name="T15" fmla="*/ 0 h 316"/>
                <a:gd name="T16" fmla="*/ 187 w 324"/>
                <a:gd name="T17" fmla="*/ 128 h 316"/>
                <a:gd name="T18" fmla="*/ 324 w 324"/>
                <a:gd name="T19" fmla="*/ 316 h 316"/>
                <a:gd name="T20" fmla="*/ 248 w 324"/>
                <a:gd name="T21" fmla="*/ 316 h 316"/>
                <a:gd name="T22" fmla="*/ 149 w 324"/>
                <a:gd name="T23" fmla="*/ 176 h 316"/>
                <a:gd name="T24" fmla="*/ 33 w 324"/>
                <a:gd name="T25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4" h="316">
                  <a:moveTo>
                    <a:pt x="33" y="316"/>
                  </a:moveTo>
                  <a:lnTo>
                    <a:pt x="0" y="316"/>
                  </a:lnTo>
                  <a:lnTo>
                    <a:pt x="132" y="155"/>
                  </a:lnTo>
                  <a:lnTo>
                    <a:pt x="19" y="0"/>
                  </a:lnTo>
                  <a:lnTo>
                    <a:pt x="94" y="0"/>
                  </a:lnTo>
                  <a:lnTo>
                    <a:pt x="170" y="105"/>
                  </a:lnTo>
                  <a:lnTo>
                    <a:pt x="258" y="0"/>
                  </a:lnTo>
                  <a:lnTo>
                    <a:pt x="293" y="0"/>
                  </a:lnTo>
                  <a:lnTo>
                    <a:pt x="187" y="128"/>
                  </a:lnTo>
                  <a:lnTo>
                    <a:pt x="324" y="316"/>
                  </a:lnTo>
                  <a:lnTo>
                    <a:pt x="248" y="316"/>
                  </a:lnTo>
                  <a:lnTo>
                    <a:pt x="149" y="176"/>
                  </a:lnTo>
                  <a:lnTo>
                    <a:pt x="33" y="316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0" name="Freeform 16"/>
            <p:cNvSpPr>
              <a:spLocks/>
            </p:cNvSpPr>
            <p:nvPr/>
          </p:nvSpPr>
          <p:spPr bwMode="auto">
            <a:xfrm>
              <a:off x="3157" y="2904"/>
              <a:ext cx="203" cy="432"/>
            </a:xfrm>
            <a:custGeom>
              <a:avLst/>
              <a:gdLst>
                <a:gd name="T0" fmla="*/ 86 w 86"/>
                <a:gd name="T1" fmla="*/ 162 h 182"/>
                <a:gd name="T2" fmla="*/ 71 w 86"/>
                <a:gd name="T3" fmla="*/ 177 h 182"/>
                <a:gd name="T4" fmla="*/ 50 w 86"/>
                <a:gd name="T5" fmla="*/ 182 h 182"/>
                <a:gd name="T6" fmla="*/ 38 w 86"/>
                <a:gd name="T7" fmla="*/ 180 h 182"/>
                <a:gd name="T8" fmla="*/ 30 w 86"/>
                <a:gd name="T9" fmla="*/ 173 h 182"/>
                <a:gd name="T10" fmla="*/ 25 w 86"/>
                <a:gd name="T11" fmla="*/ 164 h 182"/>
                <a:gd name="T12" fmla="*/ 23 w 86"/>
                <a:gd name="T13" fmla="*/ 151 h 182"/>
                <a:gd name="T14" fmla="*/ 23 w 86"/>
                <a:gd name="T15" fmla="*/ 57 h 182"/>
                <a:gd name="T16" fmla="*/ 0 w 86"/>
                <a:gd name="T17" fmla="*/ 57 h 182"/>
                <a:gd name="T18" fmla="*/ 0 w 86"/>
                <a:gd name="T19" fmla="*/ 50 h 182"/>
                <a:gd name="T20" fmla="*/ 19 w 86"/>
                <a:gd name="T21" fmla="*/ 46 h 182"/>
                <a:gd name="T22" fmla="*/ 31 w 86"/>
                <a:gd name="T23" fmla="*/ 35 h 182"/>
                <a:gd name="T24" fmla="*/ 38 w 86"/>
                <a:gd name="T25" fmla="*/ 19 h 182"/>
                <a:gd name="T26" fmla="*/ 42 w 86"/>
                <a:gd name="T27" fmla="*/ 0 h 182"/>
                <a:gd name="T28" fmla="*/ 50 w 86"/>
                <a:gd name="T29" fmla="*/ 0 h 182"/>
                <a:gd name="T30" fmla="*/ 50 w 86"/>
                <a:gd name="T31" fmla="*/ 45 h 182"/>
                <a:gd name="T32" fmla="*/ 80 w 86"/>
                <a:gd name="T33" fmla="*/ 45 h 182"/>
                <a:gd name="T34" fmla="*/ 80 w 86"/>
                <a:gd name="T35" fmla="*/ 57 h 182"/>
                <a:gd name="T36" fmla="*/ 50 w 86"/>
                <a:gd name="T37" fmla="*/ 57 h 182"/>
                <a:gd name="T38" fmla="*/ 50 w 86"/>
                <a:gd name="T39" fmla="*/ 151 h 182"/>
                <a:gd name="T40" fmla="*/ 54 w 86"/>
                <a:gd name="T41" fmla="*/ 161 h 182"/>
                <a:gd name="T42" fmla="*/ 64 w 86"/>
                <a:gd name="T43" fmla="*/ 165 h 182"/>
                <a:gd name="T44" fmla="*/ 73 w 86"/>
                <a:gd name="T45" fmla="*/ 163 h 182"/>
                <a:gd name="T46" fmla="*/ 79 w 86"/>
                <a:gd name="T47" fmla="*/ 158 h 182"/>
                <a:gd name="T48" fmla="*/ 86 w 86"/>
                <a:gd name="T49" fmla="*/ 16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6" h="182">
                  <a:moveTo>
                    <a:pt x="86" y="162"/>
                  </a:moveTo>
                  <a:cubicBezTo>
                    <a:pt x="82" y="168"/>
                    <a:pt x="77" y="173"/>
                    <a:pt x="71" y="177"/>
                  </a:cubicBezTo>
                  <a:cubicBezTo>
                    <a:pt x="65" y="180"/>
                    <a:pt x="58" y="182"/>
                    <a:pt x="50" y="182"/>
                  </a:cubicBezTo>
                  <a:cubicBezTo>
                    <a:pt x="45" y="182"/>
                    <a:pt x="41" y="181"/>
                    <a:pt x="38" y="180"/>
                  </a:cubicBezTo>
                  <a:cubicBezTo>
                    <a:pt x="35" y="178"/>
                    <a:pt x="32" y="176"/>
                    <a:pt x="30" y="173"/>
                  </a:cubicBezTo>
                  <a:cubicBezTo>
                    <a:pt x="28" y="171"/>
                    <a:pt x="26" y="167"/>
                    <a:pt x="25" y="164"/>
                  </a:cubicBezTo>
                  <a:cubicBezTo>
                    <a:pt x="24" y="160"/>
                    <a:pt x="23" y="156"/>
                    <a:pt x="23" y="151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8" y="50"/>
                    <a:pt x="14" y="49"/>
                    <a:pt x="19" y="46"/>
                  </a:cubicBezTo>
                  <a:cubicBezTo>
                    <a:pt x="23" y="43"/>
                    <a:pt x="27" y="40"/>
                    <a:pt x="31" y="35"/>
                  </a:cubicBezTo>
                  <a:cubicBezTo>
                    <a:pt x="34" y="30"/>
                    <a:pt x="36" y="25"/>
                    <a:pt x="38" y="19"/>
                  </a:cubicBezTo>
                  <a:cubicBezTo>
                    <a:pt x="40" y="13"/>
                    <a:pt x="41" y="6"/>
                    <a:pt x="4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50" y="155"/>
                    <a:pt x="51" y="158"/>
                    <a:pt x="54" y="161"/>
                  </a:cubicBezTo>
                  <a:cubicBezTo>
                    <a:pt x="57" y="164"/>
                    <a:pt x="60" y="165"/>
                    <a:pt x="64" y="165"/>
                  </a:cubicBezTo>
                  <a:cubicBezTo>
                    <a:pt x="67" y="165"/>
                    <a:pt x="70" y="164"/>
                    <a:pt x="73" y="163"/>
                  </a:cubicBezTo>
                  <a:cubicBezTo>
                    <a:pt x="75" y="162"/>
                    <a:pt x="77" y="160"/>
                    <a:pt x="79" y="158"/>
                  </a:cubicBezTo>
                  <a:lnTo>
                    <a:pt x="86" y="162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1" name="Freeform 17"/>
            <p:cNvSpPr>
              <a:spLocks noEditPoints="1"/>
            </p:cNvSpPr>
            <p:nvPr/>
          </p:nvSpPr>
          <p:spPr bwMode="auto">
            <a:xfrm>
              <a:off x="3382" y="3006"/>
              <a:ext cx="305" cy="330"/>
            </a:xfrm>
            <a:custGeom>
              <a:avLst/>
              <a:gdLst>
                <a:gd name="T0" fmla="*/ 66 w 129"/>
                <a:gd name="T1" fmla="*/ 139 h 139"/>
                <a:gd name="T2" fmla="*/ 40 w 129"/>
                <a:gd name="T3" fmla="*/ 134 h 139"/>
                <a:gd name="T4" fmla="*/ 20 w 129"/>
                <a:gd name="T5" fmla="*/ 120 h 139"/>
                <a:gd name="T6" fmla="*/ 6 w 129"/>
                <a:gd name="T7" fmla="*/ 100 h 139"/>
                <a:gd name="T8" fmla="*/ 0 w 129"/>
                <a:gd name="T9" fmla="*/ 74 h 139"/>
                <a:gd name="T10" fmla="*/ 5 w 129"/>
                <a:gd name="T11" fmla="*/ 44 h 139"/>
                <a:gd name="T12" fmla="*/ 18 w 129"/>
                <a:gd name="T13" fmla="*/ 21 h 139"/>
                <a:gd name="T14" fmla="*/ 39 w 129"/>
                <a:gd name="T15" fmla="*/ 5 h 139"/>
                <a:gd name="T16" fmla="*/ 66 w 129"/>
                <a:gd name="T17" fmla="*/ 0 h 139"/>
                <a:gd name="T18" fmla="*/ 90 w 129"/>
                <a:gd name="T19" fmla="*/ 4 h 139"/>
                <a:gd name="T20" fmla="*/ 109 w 129"/>
                <a:gd name="T21" fmla="*/ 17 h 139"/>
                <a:gd name="T22" fmla="*/ 121 w 129"/>
                <a:gd name="T23" fmla="*/ 35 h 139"/>
                <a:gd name="T24" fmla="*/ 126 w 129"/>
                <a:gd name="T25" fmla="*/ 56 h 139"/>
                <a:gd name="T26" fmla="*/ 26 w 129"/>
                <a:gd name="T27" fmla="*/ 56 h 139"/>
                <a:gd name="T28" fmla="*/ 29 w 129"/>
                <a:gd name="T29" fmla="*/ 81 h 139"/>
                <a:gd name="T30" fmla="*/ 39 w 129"/>
                <a:gd name="T31" fmla="*/ 101 h 139"/>
                <a:gd name="T32" fmla="*/ 54 w 129"/>
                <a:gd name="T33" fmla="*/ 114 h 139"/>
                <a:gd name="T34" fmla="*/ 73 w 129"/>
                <a:gd name="T35" fmla="*/ 119 h 139"/>
                <a:gd name="T36" fmla="*/ 90 w 129"/>
                <a:gd name="T37" fmla="*/ 116 h 139"/>
                <a:gd name="T38" fmla="*/ 104 w 129"/>
                <a:gd name="T39" fmla="*/ 108 h 139"/>
                <a:gd name="T40" fmla="*/ 115 w 129"/>
                <a:gd name="T41" fmla="*/ 98 h 139"/>
                <a:gd name="T42" fmla="*/ 122 w 129"/>
                <a:gd name="T43" fmla="*/ 86 h 139"/>
                <a:gd name="T44" fmla="*/ 129 w 129"/>
                <a:gd name="T45" fmla="*/ 89 h 139"/>
                <a:gd name="T46" fmla="*/ 120 w 129"/>
                <a:gd name="T47" fmla="*/ 109 h 139"/>
                <a:gd name="T48" fmla="*/ 105 w 129"/>
                <a:gd name="T49" fmla="*/ 124 h 139"/>
                <a:gd name="T50" fmla="*/ 86 w 129"/>
                <a:gd name="T51" fmla="*/ 135 h 139"/>
                <a:gd name="T52" fmla="*/ 66 w 129"/>
                <a:gd name="T53" fmla="*/ 139 h 139"/>
                <a:gd name="T54" fmla="*/ 92 w 129"/>
                <a:gd name="T55" fmla="*/ 45 h 139"/>
                <a:gd name="T56" fmla="*/ 90 w 129"/>
                <a:gd name="T57" fmla="*/ 31 h 139"/>
                <a:gd name="T58" fmla="*/ 82 w 129"/>
                <a:gd name="T59" fmla="*/ 20 h 139"/>
                <a:gd name="T60" fmla="*/ 71 w 129"/>
                <a:gd name="T61" fmla="*/ 12 h 139"/>
                <a:gd name="T62" fmla="*/ 58 w 129"/>
                <a:gd name="T63" fmla="*/ 10 h 139"/>
                <a:gd name="T64" fmla="*/ 46 w 129"/>
                <a:gd name="T65" fmla="*/ 12 h 139"/>
                <a:gd name="T66" fmla="*/ 37 w 129"/>
                <a:gd name="T67" fmla="*/ 20 h 139"/>
                <a:gd name="T68" fmla="*/ 30 w 129"/>
                <a:gd name="T69" fmla="*/ 31 h 139"/>
                <a:gd name="T70" fmla="*/ 26 w 129"/>
                <a:gd name="T71" fmla="*/ 45 h 139"/>
                <a:gd name="T72" fmla="*/ 92 w 129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139">
                  <a:moveTo>
                    <a:pt x="66" y="139"/>
                  </a:moveTo>
                  <a:cubicBezTo>
                    <a:pt x="57" y="139"/>
                    <a:pt x="48" y="137"/>
                    <a:pt x="40" y="134"/>
                  </a:cubicBezTo>
                  <a:cubicBezTo>
                    <a:pt x="33" y="131"/>
                    <a:pt x="26" y="126"/>
                    <a:pt x="20" y="120"/>
                  </a:cubicBezTo>
                  <a:cubicBezTo>
                    <a:pt x="14" y="114"/>
                    <a:pt x="9" y="107"/>
                    <a:pt x="6" y="100"/>
                  </a:cubicBezTo>
                  <a:cubicBezTo>
                    <a:pt x="2" y="92"/>
                    <a:pt x="0" y="83"/>
                    <a:pt x="0" y="74"/>
                  </a:cubicBezTo>
                  <a:cubicBezTo>
                    <a:pt x="0" y="64"/>
                    <a:pt x="2" y="54"/>
                    <a:pt x="5" y="44"/>
                  </a:cubicBezTo>
                  <a:cubicBezTo>
                    <a:pt x="8" y="35"/>
                    <a:pt x="13" y="27"/>
                    <a:pt x="18" y="21"/>
                  </a:cubicBezTo>
                  <a:cubicBezTo>
                    <a:pt x="24" y="14"/>
                    <a:pt x="31" y="9"/>
                    <a:pt x="39" y="5"/>
                  </a:cubicBezTo>
                  <a:cubicBezTo>
                    <a:pt x="47" y="1"/>
                    <a:pt x="56" y="0"/>
                    <a:pt x="66" y="0"/>
                  </a:cubicBezTo>
                  <a:cubicBezTo>
                    <a:pt x="75" y="0"/>
                    <a:pt x="83" y="1"/>
                    <a:pt x="90" y="4"/>
                  </a:cubicBezTo>
                  <a:cubicBezTo>
                    <a:pt x="98" y="7"/>
                    <a:pt x="104" y="11"/>
                    <a:pt x="109" y="17"/>
                  </a:cubicBezTo>
                  <a:cubicBezTo>
                    <a:pt x="114" y="22"/>
                    <a:pt x="118" y="28"/>
                    <a:pt x="121" y="35"/>
                  </a:cubicBezTo>
                  <a:cubicBezTo>
                    <a:pt x="124" y="41"/>
                    <a:pt x="126" y="49"/>
                    <a:pt x="1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65"/>
                    <a:pt x="27" y="73"/>
                    <a:pt x="29" y="81"/>
                  </a:cubicBezTo>
                  <a:cubicBezTo>
                    <a:pt x="32" y="89"/>
                    <a:pt x="35" y="95"/>
                    <a:pt x="39" y="101"/>
                  </a:cubicBezTo>
                  <a:cubicBezTo>
                    <a:pt x="43" y="106"/>
                    <a:pt x="48" y="111"/>
                    <a:pt x="54" y="114"/>
                  </a:cubicBezTo>
                  <a:cubicBezTo>
                    <a:pt x="60" y="117"/>
                    <a:pt x="66" y="119"/>
                    <a:pt x="73" y="119"/>
                  </a:cubicBezTo>
                  <a:cubicBezTo>
                    <a:pt x="79" y="119"/>
                    <a:pt x="84" y="118"/>
                    <a:pt x="90" y="116"/>
                  </a:cubicBezTo>
                  <a:cubicBezTo>
                    <a:pt x="95" y="114"/>
                    <a:pt x="100" y="112"/>
                    <a:pt x="104" y="108"/>
                  </a:cubicBezTo>
                  <a:cubicBezTo>
                    <a:pt x="109" y="105"/>
                    <a:pt x="112" y="102"/>
                    <a:pt x="115" y="98"/>
                  </a:cubicBezTo>
                  <a:cubicBezTo>
                    <a:pt x="118" y="94"/>
                    <a:pt x="120" y="90"/>
                    <a:pt x="122" y="86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7" y="96"/>
                    <a:pt x="124" y="103"/>
                    <a:pt x="120" y="109"/>
                  </a:cubicBezTo>
                  <a:cubicBezTo>
                    <a:pt x="116" y="115"/>
                    <a:pt x="111" y="120"/>
                    <a:pt x="105" y="124"/>
                  </a:cubicBezTo>
                  <a:cubicBezTo>
                    <a:pt x="99" y="129"/>
                    <a:pt x="93" y="132"/>
                    <a:pt x="86" y="135"/>
                  </a:cubicBezTo>
                  <a:cubicBezTo>
                    <a:pt x="80" y="138"/>
                    <a:pt x="73" y="139"/>
                    <a:pt x="66" y="139"/>
                  </a:cubicBezTo>
                  <a:moveTo>
                    <a:pt x="92" y="45"/>
                  </a:moveTo>
                  <a:cubicBezTo>
                    <a:pt x="92" y="40"/>
                    <a:pt x="92" y="36"/>
                    <a:pt x="90" y="31"/>
                  </a:cubicBezTo>
                  <a:cubicBezTo>
                    <a:pt x="88" y="27"/>
                    <a:pt x="85" y="23"/>
                    <a:pt x="82" y="20"/>
                  </a:cubicBezTo>
                  <a:cubicBezTo>
                    <a:pt x="79" y="17"/>
                    <a:pt x="76" y="14"/>
                    <a:pt x="71" y="12"/>
                  </a:cubicBezTo>
                  <a:cubicBezTo>
                    <a:pt x="67" y="10"/>
                    <a:pt x="63" y="10"/>
                    <a:pt x="58" y="10"/>
                  </a:cubicBezTo>
                  <a:cubicBezTo>
                    <a:pt x="54" y="10"/>
                    <a:pt x="50" y="10"/>
                    <a:pt x="46" y="12"/>
                  </a:cubicBezTo>
                  <a:cubicBezTo>
                    <a:pt x="43" y="14"/>
                    <a:pt x="39" y="17"/>
                    <a:pt x="37" y="20"/>
                  </a:cubicBezTo>
                  <a:cubicBezTo>
                    <a:pt x="34" y="23"/>
                    <a:pt x="31" y="27"/>
                    <a:pt x="30" y="31"/>
                  </a:cubicBezTo>
                  <a:cubicBezTo>
                    <a:pt x="28" y="36"/>
                    <a:pt x="26" y="40"/>
                    <a:pt x="26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2" name="Freeform 18"/>
            <p:cNvSpPr>
              <a:spLocks/>
            </p:cNvSpPr>
            <p:nvPr/>
          </p:nvSpPr>
          <p:spPr bwMode="auto">
            <a:xfrm>
              <a:off x="3747" y="3006"/>
              <a:ext cx="265" cy="323"/>
            </a:xfrm>
            <a:custGeom>
              <a:avLst/>
              <a:gdLst>
                <a:gd name="T0" fmla="*/ 0 w 112"/>
                <a:gd name="T1" fmla="*/ 2 h 136"/>
                <a:gd name="T2" fmla="*/ 27 w 112"/>
                <a:gd name="T3" fmla="*/ 2 h 136"/>
                <a:gd name="T4" fmla="*/ 27 w 112"/>
                <a:gd name="T5" fmla="*/ 27 h 136"/>
                <a:gd name="T6" fmla="*/ 52 w 112"/>
                <a:gd name="T7" fmla="*/ 6 h 136"/>
                <a:gd name="T8" fmla="*/ 78 w 112"/>
                <a:gd name="T9" fmla="*/ 0 h 136"/>
                <a:gd name="T10" fmla="*/ 92 w 112"/>
                <a:gd name="T11" fmla="*/ 3 h 136"/>
                <a:gd name="T12" fmla="*/ 102 w 112"/>
                <a:gd name="T13" fmla="*/ 12 h 136"/>
                <a:gd name="T14" fmla="*/ 109 w 112"/>
                <a:gd name="T15" fmla="*/ 24 h 136"/>
                <a:gd name="T16" fmla="*/ 112 w 112"/>
                <a:gd name="T17" fmla="*/ 40 h 136"/>
                <a:gd name="T18" fmla="*/ 112 w 112"/>
                <a:gd name="T19" fmla="*/ 136 h 136"/>
                <a:gd name="T20" fmla="*/ 85 w 112"/>
                <a:gd name="T21" fmla="*/ 136 h 136"/>
                <a:gd name="T22" fmla="*/ 85 w 112"/>
                <a:gd name="T23" fmla="*/ 45 h 136"/>
                <a:gd name="T24" fmla="*/ 80 w 112"/>
                <a:gd name="T25" fmla="*/ 24 h 136"/>
                <a:gd name="T26" fmla="*/ 64 w 112"/>
                <a:gd name="T27" fmla="*/ 18 h 136"/>
                <a:gd name="T28" fmla="*/ 55 w 112"/>
                <a:gd name="T29" fmla="*/ 19 h 136"/>
                <a:gd name="T30" fmla="*/ 46 w 112"/>
                <a:gd name="T31" fmla="*/ 23 h 136"/>
                <a:gd name="T32" fmla="*/ 36 w 112"/>
                <a:gd name="T33" fmla="*/ 29 h 136"/>
                <a:gd name="T34" fmla="*/ 27 w 112"/>
                <a:gd name="T35" fmla="*/ 37 h 136"/>
                <a:gd name="T36" fmla="*/ 27 w 112"/>
                <a:gd name="T37" fmla="*/ 136 h 136"/>
                <a:gd name="T38" fmla="*/ 0 w 112"/>
                <a:gd name="T39" fmla="*/ 136 h 136"/>
                <a:gd name="T40" fmla="*/ 0 w 112"/>
                <a:gd name="T41" fmla="*/ 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" h="136">
                  <a:moveTo>
                    <a:pt x="0" y="2"/>
                  </a:moveTo>
                  <a:cubicBezTo>
                    <a:pt x="27" y="2"/>
                    <a:pt x="27" y="2"/>
                    <a:pt x="27" y="2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5" y="18"/>
                    <a:pt x="43" y="11"/>
                    <a:pt x="52" y="6"/>
                  </a:cubicBezTo>
                  <a:cubicBezTo>
                    <a:pt x="60" y="2"/>
                    <a:pt x="69" y="0"/>
                    <a:pt x="78" y="0"/>
                  </a:cubicBezTo>
                  <a:cubicBezTo>
                    <a:pt x="83" y="0"/>
                    <a:pt x="87" y="1"/>
                    <a:pt x="92" y="3"/>
                  </a:cubicBezTo>
                  <a:cubicBezTo>
                    <a:pt x="96" y="5"/>
                    <a:pt x="99" y="8"/>
                    <a:pt x="102" y="12"/>
                  </a:cubicBezTo>
                  <a:cubicBezTo>
                    <a:pt x="105" y="15"/>
                    <a:pt x="108" y="19"/>
                    <a:pt x="109" y="24"/>
                  </a:cubicBezTo>
                  <a:cubicBezTo>
                    <a:pt x="111" y="29"/>
                    <a:pt x="112" y="35"/>
                    <a:pt x="112" y="40"/>
                  </a:cubicBezTo>
                  <a:cubicBezTo>
                    <a:pt x="112" y="136"/>
                    <a:pt x="112" y="136"/>
                    <a:pt x="112" y="136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36"/>
                    <a:pt x="83" y="29"/>
                    <a:pt x="80" y="24"/>
                  </a:cubicBezTo>
                  <a:cubicBezTo>
                    <a:pt x="76" y="20"/>
                    <a:pt x="70" y="18"/>
                    <a:pt x="64" y="18"/>
                  </a:cubicBezTo>
                  <a:cubicBezTo>
                    <a:pt x="61" y="18"/>
                    <a:pt x="58" y="18"/>
                    <a:pt x="55" y="19"/>
                  </a:cubicBezTo>
                  <a:cubicBezTo>
                    <a:pt x="52" y="20"/>
                    <a:pt x="49" y="21"/>
                    <a:pt x="46" y="23"/>
                  </a:cubicBezTo>
                  <a:cubicBezTo>
                    <a:pt x="42" y="25"/>
                    <a:pt x="39" y="27"/>
                    <a:pt x="36" y="29"/>
                  </a:cubicBezTo>
                  <a:cubicBezTo>
                    <a:pt x="33" y="31"/>
                    <a:pt x="30" y="34"/>
                    <a:pt x="27" y="37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0" y="136"/>
                    <a:pt x="0" y="136"/>
                    <a:pt x="0" y="136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3" name="Freeform 19"/>
            <p:cNvSpPr>
              <a:spLocks noEditPoints="1"/>
            </p:cNvSpPr>
            <p:nvPr/>
          </p:nvSpPr>
          <p:spPr bwMode="auto">
            <a:xfrm>
              <a:off x="4069" y="2849"/>
              <a:ext cx="303" cy="487"/>
            </a:xfrm>
            <a:custGeom>
              <a:avLst/>
              <a:gdLst>
                <a:gd name="T0" fmla="*/ 101 w 128"/>
                <a:gd name="T1" fmla="*/ 189 h 205"/>
                <a:gd name="T2" fmla="*/ 91 w 128"/>
                <a:gd name="T3" fmla="*/ 196 h 205"/>
                <a:gd name="T4" fmla="*/ 80 w 128"/>
                <a:gd name="T5" fmla="*/ 201 h 205"/>
                <a:gd name="T6" fmla="*/ 68 w 128"/>
                <a:gd name="T7" fmla="*/ 204 h 205"/>
                <a:gd name="T8" fmla="*/ 57 w 128"/>
                <a:gd name="T9" fmla="*/ 205 h 205"/>
                <a:gd name="T10" fmla="*/ 35 w 128"/>
                <a:gd name="T11" fmla="*/ 200 h 205"/>
                <a:gd name="T12" fmla="*/ 17 w 128"/>
                <a:gd name="T13" fmla="*/ 185 h 205"/>
                <a:gd name="T14" fmla="*/ 5 w 128"/>
                <a:gd name="T15" fmla="*/ 163 h 205"/>
                <a:gd name="T16" fmla="*/ 0 w 128"/>
                <a:gd name="T17" fmla="*/ 137 h 205"/>
                <a:gd name="T18" fmla="*/ 6 w 128"/>
                <a:gd name="T19" fmla="*/ 110 h 205"/>
                <a:gd name="T20" fmla="*/ 21 w 128"/>
                <a:gd name="T21" fmla="*/ 88 h 205"/>
                <a:gd name="T22" fmla="*/ 43 w 128"/>
                <a:gd name="T23" fmla="*/ 72 h 205"/>
                <a:gd name="T24" fmla="*/ 71 w 128"/>
                <a:gd name="T25" fmla="*/ 66 h 205"/>
                <a:gd name="T26" fmla="*/ 88 w 128"/>
                <a:gd name="T27" fmla="*/ 69 h 205"/>
                <a:gd name="T28" fmla="*/ 101 w 128"/>
                <a:gd name="T29" fmla="*/ 78 h 205"/>
                <a:gd name="T30" fmla="*/ 101 w 128"/>
                <a:gd name="T31" fmla="*/ 7 h 205"/>
                <a:gd name="T32" fmla="*/ 120 w 128"/>
                <a:gd name="T33" fmla="*/ 0 h 205"/>
                <a:gd name="T34" fmla="*/ 128 w 128"/>
                <a:gd name="T35" fmla="*/ 0 h 205"/>
                <a:gd name="T36" fmla="*/ 128 w 128"/>
                <a:gd name="T37" fmla="*/ 205 h 205"/>
                <a:gd name="T38" fmla="*/ 101 w 128"/>
                <a:gd name="T39" fmla="*/ 205 h 205"/>
                <a:gd name="T40" fmla="*/ 101 w 128"/>
                <a:gd name="T41" fmla="*/ 189 h 205"/>
                <a:gd name="T42" fmla="*/ 101 w 128"/>
                <a:gd name="T43" fmla="*/ 111 h 205"/>
                <a:gd name="T44" fmla="*/ 98 w 128"/>
                <a:gd name="T45" fmla="*/ 96 h 205"/>
                <a:gd name="T46" fmla="*/ 91 w 128"/>
                <a:gd name="T47" fmla="*/ 85 h 205"/>
                <a:gd name="T48" fmla="*/ 80 w 128"/>
                <a:gd name="T49" fmla="*/ 78 h 205"/>
                <a:gd name="T50" fmla="*/ 68 w 128"/>
                <a:gd name="T51" fmla="*/ 76 h 205"/>
                <a:gd name="T52" fmla="*/ 53 w 128"/>
                <a:gd name="T53" fmla="*/ 80 h 205"/>
                <a:gd name="T54" fmla="*/ 41 w 128"/>
                <a:gd name="T55" fmla="*/ 91 h 205"/>
                <a:gd name="T56" fmla="*/ 33 w 128"/>
                <a:gd name="T57" fmla="*/ 108 h 205"/>
                <a:gd name="T58" fmla="*/ 30 w 128"/>
                <a:gd name="T59" fmla="*/ 129 h 205"/>
                <a:gd name="T60" fmla="*/ 33 w 128"/>
                <a:gd name="T61" fmla="*/ 153 h 205"/>
                <a:gd name="T62" fmla="*/ 42 w 128"/>
                <a:gd name="T63" fmla="*/ 173 h 205"/>
                <a:gd name="T64" fmla="*/ 55 w 128"/>
                <a:gd name="T65" fmla="*/ 186 h 205"/>
                <a:gd name="T66" fmla="*/ 72 w 128"/>
                <a:gd name="T67" fmla="*/ 191 h 205"/>
                <a:gd name="T68" fmla="*/ 80 w 128"/>
                <a:gd name="T69" fmla="*/ 189 h 205"/>
                <a:gd name="T70" fmla="*/ 88 w 128"/>
                <a:gd name="T71" fmla="*/ 186 h 205"/>
                <a:gd name="T72" fmla="*/ 95 w 128"/>
                <a:gd name="T73" fmla="*/ 182 h 205"/>
                <a:gd name="T74" fmla="*/ 101 w 128"/>
                <a:gd name="T75" fmla="*/ 177 h 205"/>
                <a:gd name="T76" fmla="*/ 101 w 128"/>
                <a:gd name="T77" fmla="*/ 1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8" h="205">
                  <a:moveTo>
                    <a:pt x="101" y="189"/>
                  </a:moveTo>
                  <a:cubicBezTo>
                    <a:pt x="98" y="191"/>
                    <a:pt x="95" y="194"/>
                    <a:pt x="91" y="196"/>
                  </a:cubicBezTo>
                  <a:cubicBezTo>
                    <a:pt x="88" y="198"/>
                    <a:pt x="84" y="199"/>
                    <a:pt x="80" y="201"/>
                  </a:cubicBezTo>
                  <a:cubicBezTo>
                    <a:pt x="76" y="202"/>
                    <a:pt x="72" y="203"/>
                    <a:pt x="68" y="204"/>
                  </a:cubicBezTo>
                  <a:cubicBezTo>
                    <a:pt x="64" y="205"/>
                    <a:pt x="61" y="205"/>
                    <a:pt x="57" y="205"/>
                  </a:cubicBezTo>
                  <a:cubicBezTo>
                    <a:pt x="49" y="205"/>
                    <a:pt x="42" y="203"/>
                    <a:pt x="35" y="200"/>
                  </a:cubicBezTo>
                  <a:cubicBezTo>
                    <a:pt x="28" y="196"/>
                    <a:pt x="22" y="191"/>
                    <a:pt x="17" y="185"/>
                  </a:cubicBezTo>
                  <a:cubicBezTo>
                    <a:pt x="12" y="179"/>
                    <a:pt x="8" y="171"/>
                    <a:pt x="5" y="163"/>
                  </a:cubicBezTo>
                  <a:cubicBezTo>
                    <a:pt x="2" y="155"/>
                    <a:pt x="0" y="146"/>
                    <a:pt x="0" y="137"/>
                  </a:cubicBezTo>
                  <a:cubicBezTo>
                    <a:pt x="0" y="128"/>
                    <a:pt x="2" y="119"/>
                    <a:pt x="6" y="110"/>
                  </a:cubicBezTo>
                  <a:cubicBezTo>
                    <a:pt x="10" y="102"/>
                    <a:pt x="15" y="94"/>
                    <a:pt x="21" y="88"/>
                  </a:cubicBezTo>
                  <a:cubicBezTo>
                    <a:pt x="27" y="81"/>
                    <a:pt x="35" y="76"/>
                    <a:pt x="43" y="72"/>
                  </a:cubicBezTo>
                  <a:cubicBezTo>
                    <a:pt x="52" y="68"/>
                    <a:pt x="61" y="66"/>
                    <a:pt x="71" y="66"/>
                  </a:cubicBezTo>
                  <a:cubicBezTo>
                    <a:pt x="77" y="66"/>
                    <a:pt x="83" y="67"/>
                    <a:pt x="88" y="69"/>
                  </a:cubicBezTo>
                  <a:cubicBezTo>
                    <a:pt x="93" y="71"/>
                    <a:pt x="97" y="74"/>
                    <a:pt x="101" y="7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8" y="205"/>
                    <a:pt x="128" y="205"/>
                    <a:pt x="128" y="205"/>
                  </a:cubicBezTo>
                  <a:cubicBezTo>
                    <a:pt x="101" y="205"/>
                    <a:pt x="101" y="205"/>
                    <a:pt x="101" y="205"/>
                  </a:cubicBezTo>
                  <a:lnTo>
                    <a:pt x="101" y="189"/>
                  </a:lnTo>
                  <a:close/>
                  <a:moveTo>
                    <a:pt x="101" y="111"/>
                  </a:moveTo>
                  <a:cubicBezTo>
                    <a:pt x="101" y="106"/>
                    <a:pt x="100" y="101"/>
                    <a:pt x="98" y="96"/>
                  </a:cubicBezTo>
                  <a:cubicBezTo>
                    <a:pt x="96" y="92"/>
                    <a:pt x="94" y="88"/>
                    <a:pt x="91" y="85"/>
                  </a:cubicBezTo>
                  <a:cubicBezTo>
                    <a:pt x="87" y="82"/>
                    <a:pt x="84" y="80"/>
                    <a:pt x="80" y="78"/>
                  </a:cubicBezTo>
                  <a:cubicBezTo>
                    <a:pt x="76" y="76"/>
                    <a:pt x="72" y="76"/>
                    <a:pt x="68" y="76"/>
                  </a:cubicBezTo>
                  <a:cubicBezTo>
                    <a:pt x="63" y="76"/>
                    <a:pt x="58" y="77"/>
                    <a:pt x="53" y="80"/>
                  </a:cubicBezTo>
                  <a:cubicBezTo>
                    <a:pt x="48" y="82"/>
                    <a:pt x="44" y="86"/>
                    <a:pt x="41" y="91"/>
                  </a:cubicBezTo>
                  <a:cubicBezTo>
                    <a:pt x="37" y="95"/>
                    <a:pt x="35" y="101"/>
                    <a:pt x="33" y="108"/>
                  </a:cubicBezTo>
                  <a:cubicBezTo>
                    <a:pt x="31" y="114"/>
                    <a:pt x="30" y="122"/>
                    <a:pt x="30" y="129"/>
                  </a:cubicBezTo>
                  <a:cubicBezTo>
                    <a:pt x="30" y="138"/>
                    <a:pt x="31" y="146"/>
                    <a:pt x="33" y="153"/>
                  </a:cubicBezTo>
                  <a:cubicBezTo>
                    <a:pt x="35" y="161"/>
                    <a:pt x="38" y="167"/>
                    <a:pt x="42" y="173"/>
                  </a:cubicBezTo>
                  <a:cubicBezTo>
                    <a:pt x="46" y="178"/>
                    <a:pt x="50" y="183"/>
                    <a:pt x="55" y="186"/>
                  </a:cubicBezTo>
                  <a:cubicBezTo>
                    <a:pt x="61" y="189"/>
                    <a:pt x="66" y="191"/>
                    <a:pt x="72" y="191"/>
                  </a:cubicBezTo>
                  <a:cubicBezTo>
                    <a:pt x="75" y="191"/>
                    <a:pt x="77" y="190"/>
                    <a:pt x="80" y="189"/>
                  </a:cubicBezTo>
                  <a:cubicBezTo>
                    <a:pt x="83" y="189"/>
                    <a:pt x="86" y="188"/>
                    <a:pt x="88" y="186"/>
                  </a:cubicBezTo>
                  <a:cubicBezTo>
                    <a:pt x="91" y="185"/>
                    <a:pt x="93" y="184"/>
                    <a:pt x="95" y="182"/>
                  </a:cubicBezTo>
                  <a:cubicBezTo>
                    <a:pt x="98" y="180"/>
                    <a:pt x="99" y="179"/>
                    <a:pt x="101" y="177"/>
                  </a:cubicBezTo>
                  <a:lnTo>
                    <a:pt x="101" y="111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20"/>
            <p:cNvSpPr>
              <a:spLocks noEditPoints="1"/>
            </p:cNvSpPr>
            <p:nvPr/>
          </p:nvSpPr>
          <p:spPr bwMode="auto">
            <a:xfrm>
              <a:off x="4431" y="3006"/>
              <a:ext cx="304" cy="330"/>
            </a:xfrm>
            <a:custGeom>
              <a:avLst/>
              <a:gdLst>
                <a:gd name="T0" fmla="*/ 65 w 128"/>
                <a:gd name="T1" fmla="*/ 139 h 139"/>
                <a:gd name="T2" fmla="*/ 40 w 128"/>
                <a:gd name="T3" fmla="*/ 134 h 139"/>
                <a:gd name="T4" fmla="*/ 19 w 128"/>
                <a:gd name="T5" fmla="*/ 120 h 139"/>
                <a:gd name="T6" fmla="*/ 5 w 128"/>
                <a:gd name="T7" fmla="*/ 100 h 139"/>
                <a:gd name="T8" fmla="*/ 0 w 128"/>
                <a:gd name="T9" fmla="*/ 74 h 139"/>
                <a:gd name="T10" fmla="*/ 4 w 128"/>
                <a:gd name="T11" fmla="*/ 44 h 139"/>
                <a:gd name="T12" fmla="*/ 18 w 128"/>
                <a:gd name="T13" fmla="*/ 21 h 139"/>
                <a:gd name="T14" fmla="*/ 38 w 128"/>
                <a:gd name="T15" fmla="*/ 5 h 139"/>
                <a:gd name="T16" fmla="*/ 65 w 128"/>
                <a:gd name="T17" fmla="*/ 0 h 139"/>
                <a:gd name="T18" fmla="*/ 89 w 128"/>
                <a:gd name="T19" fmla="*/ 4 h 139"/>
                <a:gd name="T20" fmla="*/ 108 w 128"/>
                <a:gd name="T21" fmla="*/ 17 h 139"/>
                <a:gd name="T22" fmla="*/ 120 w 128"/>
                <a:gd name="T23" fmla="*/ 35 h 139"/>
                <a:gd name="T24" fmla="*/ 125 w 128"/>
                <a:gd name="T25" fmla="*/ 56 h 139"/>
                <a:gd name="T26" fmla="*/ 25 w 128"/>
                <a:gd name="T27" fmla="*/ 56 h 139"/>
                <a:gd name="T28" fmla="*/ 28 w 128"/>
                <a:gd name="T29" fmla="*/ 81 h 139"/>
                <a:gd name="T30" fmla="*/ 38 w 128"/>
                <a:gd name="T31" fmla="*/ 101 h 139"/>
                <a:gd name="T32" fmla="*/ 53 w 128"/>
                <a:gd name="T33" fmla="*/ 114 h 139"/>
                <a:gd name="T34" fmla="*/ 72 w 128"/>
                <a:gd name="T35" fmla="*/ 119 h 139"/>
                <a:gd name="T36" fmla="*/ 89 w 128"/>
                <a:gd name="T37" fmla="*/ 116 h 139"/>
                <a:gd name="T38" fmla="*/ 103 w 128"/>
                <a:gd name="T39" fmla="*/ 108 h 139"/>
                <a:gd name="T40" fmla="*/ 114 w 128"/>
                <a:gd name="T41" fmla="*/ 98 h 139"/>
                <a:gd name="T42" fmla="*/ 121 w 128"/>
                <a:gd name="T43" fmla="*/ 86 h 139"/>
                <a:gd name="T44" fmla="*/ 128 w 128"/>
                <a:gd name="T45" fmla="*/ 89 h 139"/>
                <a:gd name="T46" fmla="*/ 119 w 128"/>
                <a:gd name="T47" fmla="*/ 109 h 139"/>
                <a:gd name="T48" fmla="*/ 104 w 128"/>
                <a:gd name="T49" fmla="*/ 124 h 139"/>
                <a:gd name="T50" fmla="*/ 86 w 128"/>
                <a:gd name="T51" fmla="*/ 135 h 139"/>
                <a:gd name="T52" fmla="*/ 65 w 128"/>
                <a:gd name="T53" fmla="*/ 139 h 139"/>
                <a:gd name="T54" fmla="*/ 92 w 128"/>
                <a:gd name="T55" fmla="*/ 45 h 139"/>
                <a:gd name="T56" fmla="*/ 89 w 128"/>
                <a:gd name="T57" fmla="*/ 31 h 139"/>
                <a:gd name="T58" fmla="*/ 81 w 128"/>
                <a:gd name="T59" fmla="*/ 20 h 139"/>
                <a:gd name="T60" fmla="*/ 70 w 128"/>
                <a:gd name="T61" fmla="*/ 12 h 139"/>
                <a:gd name="T62" fmla="*/ 57 w 128"/>
                <a:gd name="T63" fmla="*/ 10 h 139"/>
                <a:gd name="T64" fmla="*/ 45 w 128"/>
                <a:gd name="T65" fmla="*/ 12 h 139"/>
                <a:gd name="T66" fmla="*/ 36 w 128"/>
                <a:gd name="T67" fmla="*/ 20 h 139"/>
                <a:gd name="T68" fmla="*/ 29 w 128"/>
                <a:gd name="T69" fmla="*/ 31 h 139"/>
                <a:gd name="T70" fmla="*/ 25 w 128"/>
                <a:gd name="T71" fmla="*/ 45 h 139"/>
                <a:gd name="T72" fmla="*/ 92 w 128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8" h="139">
                  <a:moveTo>
                    <a:pt x="65" y="139"/>
                  </a:moveTo>
                  <a:cubicBezTo>
                    <a:pt x="56" y="139"/>
                    <a:pt x="47" y="137"/>
                    <a:pt x="40" y="134"/>
                  </a:cubicBezTo>
                  <a:cubicBezTo>
                    <a:pt x="32" y="131"/>
                    <a:pt x="25" y="126"/>
                    <a:pt x="19" y="120"/>
                  </a:cubicBezTo>
                  <a:cubicBezTo>
                    <a:pt x="13" y="114"/>
                    <a:pt x="8" y="107"/>
                    <a:pt x="5" y="100"/>
                  </a:cubicBezTo>
                  <a:cubicBezTo>
                    <a:pt x="1" y="92"/>
                    <a:pt x="0" y="83"/>
                    <a:pt x="0" y="74"/>
                  </a:cubicBezTo>
                  <a:cubicBezTo>
                    <a:pt x="0" y="64"/>
                    <a:pt x="1" y="54"/>
                    <a:pt x="4" y="44"/>
                  </a:cubicBezTo>
                  <a:cubicBezTo>
                    <a:pt x="7" y="35"/>
                    <a:pt x="12" y="27"/>
                    <a:pt x="18" y="21"/>
                  </a:cubicBezTo>
                  <a:cubicBezTo>
                    <a:pt x="23" y="14"/>
                    <a:pt x="30" y="9"/>
                    <a:pt x="38" y="5"/>
                  </a:cubicBezTo>
                  <a:cubicBezTo>
                    <a:pt x="46" y="1"/>
                    <a:pt x="55" y="0"/>
                    <a:pt x="65" y="0"/>
                  </a:cubicBezTo>
                  <a:cubicBezTo>
                    <a:pt x="74" y="0"/>
                    <a:pt x="82" y="1"/>
                    <a:pt x="89" y="4"/>
                  </a:cubicBezTo>
                  <a:cubicBezTo>
                    <a:pt x="97" y="7"/>
                    <a:pt x="103" y="11"/>
                    <a:pt x="108" y="17"/>
                  </a:cubicBezTo>
                  <a:cubicBezTo>
                    <a:pt x="113" y="22"/>
                    <a:pt x="117" y="28"/>
                    <a:pt x="120" y="35"/>
                  </a:cubicBezTo>
                  <a:cubicBezTo>
                    <a:pt x="123" y="41"/>
                    <a:pt x="125" y="49"/>
                    <a:pt x="1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65"/>
                    <a:pt x="26" y="73"/>
                    <a:pt x="28" y="81"/>
                  </a:cubicBezTo>
                  <a:cubicBezTo>
                    <a:pt x="31" y="89"/>
                    <a:pt x="34" y="95"/>
                    <a:pt x="38" y="101"/>
                  </a:cubicBezTo>
                  <a:cubicBezTo>
                    <a:pt x="42" y="106"/>
                    <a:pt x="47" y="111"/>
                    <a:pt x="53" y="114"/>
                  </a:cubicBezTo>
                  <a:cubicBezTo>
                    <a:pt x="59" y="117"/>
                    <a:pt x="65" y="119"/>
                    <a:pt x="72" y="119"/>
                  </a:cubicBezTo>
                  <a:cubicBezTo>
                    <a:pt x="78" y="119"/>
                    <a:pt x="83" y="118"/>
                    <a:pt x="89" y="116"/>
                  </a:cubicBezTo>
                  <a:cubicBezTo>
                    <a:pt x="94" y="114"/>
                    <a:pt x="99" y="112"/>
                    <a:pt x="103" y="108"/>
                  </a:cubicBezTo>
                  <a:cubicBezTo>
                    <a:pt x="108" y="105"/>
                    <a:pt x="111" y="102"/>
                    <a:pt x="114" y="98"/>
                  </a:cubicBezTo>
                  <a:cubicBezTo>
                    <a:pt x="117" y="94"/>
                    <a:pt x="120" y="90"/>
                    <a:pt x="121" y="86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6" y="96"/>
                    <a:pt x="123" y="103"/>
                    <a:pt x="119" y="109"/>
                  </a:cubicBezTo>
                  <a:cubicBezTo>
                    <a:pt x="115" y="115"/>
                    <a:pt x="110" y="120"/>
                    <a:pt x="104" y="124"/>
                  </a:cubicBezTo>
                  <a:cubicBezTo>
                    <a:pt x="98" y="129"/>
                    <a:pt x="92" y="132"/>
                    <a:pt x="86" y="135"/>
                  </a:cubicBezTo>
                  <a:cubicBezTo>
                    <a:pt x="79" y="138"/>
                    <a:pt x="72" y="139"/>
                    <a:pt x="65" y="139"/>
                  </a:cubicBezTo>
                  <a:moveTo>
                    <a:pt x="92" y="45"/>
                  </a:moveTo>
                  <a:cubicBezTo>
                    <a:pt x="92" y="40"/>
                    <a:pt x="91" y="36"/>
                    <a:pt x="89" y="31"/>
                  </a:cubicBezTo>
                  <a:cubicBezTo>
                    <a:pt x="87" y="27"/>
                    <a:pt x="85" y="23"/>
                    <a:pt x="81" y="20"/>
                  </a:cubicBezTo>
                  <a:cubicBezTo>
                    <a:pt x="78" y="17"/>
                    <a:pt x="75" y="14"/>
                    <a:pt x="70" y="12"/>
                  </a:cubicBezTo>
                  <a:cubicBezTo>
                    <a:pt x="66" y="10"/>
                    <a:pt x="62" y="10"/>
                    <a:pt x="57" y="10"/>
                  </a:cubicBezTo>
                  <a:cubicBezTo>
                    <a:pt x="53" y="10"/>
                    <a:pt x="49" y="10"/>
                    <a:pt x="45" y="12"/>
                  </a:cubicBezTo>
                  <a:cubicBezTo>
                    <a:pt x="42" y="14"/>
                    <a:pt x="39" y="17"/>
                    <a:pt x="36" y="20"/>
                  </a:cubicBezTo>
                  <a:cubicBezTo>
                    <a:pt x="33" y="23"/>
                    <a:pt x="31" y="27"/>
                    <a:pt x="29" y="31"/>
                  </a:cubicBezTo>
                  <a:cubicBezTo>
                    <a:pt x="27" y="36"/>
                    <a:pt x="26" y="40"/>
                    <a:pt x="25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21"/>
            <p:cNvSpPr>
              <a:spLocks noEditPoints="1"/>
            </p:cNvSpPr>
            <p:nvPr/>
          </p:nvSpPr>
          <p:spPr bwMode="auto">
            <a:xfrm>
              <a:off x="4780" y="2849"/>
              <a:ext cx="301" cy="487"/>
            </a:xfrm>
            <a:custGeom>
              <a:avLst/>
              <a:gdLst>
                <a:gd name="T0" fmla="*/ 101 w 127"/>
                <a:gd name="T1" fmla="*/ 189 h 205"/>
                <a:gd name="T2" fmla="*/ 91 w 127"/>
                <a:gd name="T3" fmla="*/ 196 h 205"/>
                <a:gd name="T4" fmla="*/ 80 w 127"/>
                <a:gd name="T5" fmla="*/ 201 h 205"/>
                <a:gd name="T6" fmla="*/ 68 w 127"/>
                <a:gd name="T7" fmla="*/ 204 h 205"/>
                <a:gd name="T8" fmla="*/ 57 w 127"/>
                <a:gd name="T9" fmla="*/ 205 h 205"/>
                <a:gd name="T10" fmla="*/ 34 w 127"/>
                <a:gd name="T11" fmla="*/ 200 h 205"/>
                <a:gd name="T12" fmla="*/ 16 w 127"/>
                <a:gd name="T13" fmla="*/ 185 h 205"/>
                <a:gd name="T14" fmla="*/ 4 w 127"/>
                <a:gd name="T15" fmla="*/ 163 h 205"/>
                <a:gd name="T16" fmla="*/ 0 w 127"/>
                <a:gd name="T17" fmla="*/ 137 h 205"/>
                <a:gd name="T18" fmla="*/ 6 w 127"/>
                <a:gd name="T19" fmla="*/ 110 h 205"/>
                <a:gd name="T20" fmla="*/ 21 w 127"/>
                <a:gd name="T21" fmla="*/ 88 h 205"/>
                <a:gd name="T22" fmla="*/ 43 w 127"/>
                <a:gd name="T23" fmla="*/ 72 h 205"/>
                <a:gd name="T24" fmla="*/ 70 w 127"/>
                <a:gd name="T25" fmla="*/ 66 h 205"/>
                <a:gd name="T26" fmla="*/ 87 w 127"/>
                <a:gd name="T27" fmla="*/ 69 h 205"/>
                <a:gd name="T28" fmla="*/ 101 w 127"/>
                <a:gd name="T29" fmla="*/ 78 h 205"/>
                <a:gd name="T30" fmla="*/ 101 w 127"/>
                <a:gd name="T31" fmla="*/ 7 h 205"/>
                <a:gd name="T32" fmla="*/ 119 w 127"/>
                <a:gd name="T33" fmla="*/ 0 h 205"/>
                <a:gd name="T34" fmla="*/ 127 w 127"/>
                <a:gd name="T35" fmla="*/ 0 h 205"/>
                <a:gd name="T36" fmla="*/ 127 w 127"/>
                <a:gd name="T37" fmla="*/ 205 h 205"/>
                <a:gd name="T38" fmla="*/ 101 w 127"/>
                <a:gd name="T39" fmla="*/ 205 h 205"/>
                <a:gd name="T40" fmla="*/ 101 w 127"/>
                <a:gd name="T41" fmla="*/ 189 h 205"/>
                <a:gd name="T42" fmla="*/ 101 w 127"/>
                <a:gd name="T43" fmla="*/ 111 h 205"/>
                <a:gd name="T44" fmla="*/ 98 w 127"/>
                <a:gd name="T45" fmla="*/ 96 h 205"/>
                <a:gd name="T46" fmla="*/ 90 w 127"/>
                <a:gd name="T47" fmla="*/ 85 h 205"/>
                <a:gd name="T48" fmla="*/ 79 w 127"/>
                <a:gd name="T49" fmla="*/ 78 h 205"/>
                <a:gd name="T50" fmla="*/ 67 w 127"/>
                <a:gd name="T51" fmla="*/ 76 h 205"/>
                <a:gd name="T52" fmla="*/ 53 w 127"/>
                <a:gd name="T53" fmla="*/ 80 h 205"/>
                <a:gd name="T54" fmla="*/ 40 w 127"/>
                <a:gd name="T55" fmla="*/ 91 h 205"/>
                <a:gd name="T56" fmla="*/ 32 w 127"/>
                <a:gd name="T57" fmla="*/ 108 h 205"/>
                <a:gd name="T58" fmla="*/ 29 w 127"/>
                <a:gd name="T59" fmla="*/ 129 h 205"/>
                <a:gd name="T60" fmla="*/ 33 w 127"/>
                <a:gd name="T61" fmla="*/ 153 h 205"/>
                <a:gd name="T62" fmla="*/ 42 w 127"/>
                <a:gd name="T63" fmla="*/ 173 h 205"/>
                <a:gd name="T64" fmla="*/ 55 w 127"/>
                <a:gd name="T65" fmla="*/ 186 h 205"/>
                <a:gd name="T66" fmla="*/ 71 w 127"/>
                <a:gd name="T67" fmla="*/ 191 h 205"/>
                <a:gd name="T68" fmla="*/ 80 w 127"/>
                <a:gd name="T69" fmla="*/ 189 h 205"/>
                <a:gd name="T70" fmla="*/ 88 w 127"/>
                <a:gd name="T71" fmla="*/ 186 h 205"/>
                <a:gd name="T72" fmla="*/ 95 w 127"/>
                <a:gd name="T73" fmla="*/ 182 h 205"/>
                <a:gd name="T74" fmla="*/ 101 w 127"/>
                <a:gd name="T75" fmla="*/ 177 h 205"/>
                <a:gd name="T76" fmla="*/ 101 w 127"/>
                <a:gd name="T77" fmla="*/ 1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7" h="205">
                  <a:moveTo>
                    <a:pt x="101" y="189"/>
                  </a:moveTo>
                  <a:cubicBezTo>
                    <a:pt x="98" y="191"/>
                    <a:pt x="94" y="194"/>
                    <a:pt x="91" y="196"/>
                  </a:cubicBezTo>
                  <a:cubicBezTo>
                    <a:pt x="87" y="198"/>
                    <a:pt x="83" y="199"/>
                    <a:pt x="80" y="201"/>
                  </a:cubicBezTo>
                  <a:cubicBezTo>
                    <a:pt x="76" y="202"/>
                    <a:pt x="72" y="203"/>
                    <a:pt x="68" y="204"/>
                  </a:cubicBezTo>
                  <a:cubicBezTo>
                    <a:pt x="64" y="205"/>
                    <a:pt x="60" y="205"/>
                    <a:pt x="57" y="205"/>
                  </a:cubicBezTo>
                  <a:cubicBezTo>
                    <a:pt x="49" y="205"/>
                    <a:pt x="41" y="203"/>
                    <a:pt x="34" y="200"/>
                  </a:cubicBezTo>
                  <a:cubicBezTo>
                    <a:pt x="28" y="196"/>
                    <a:pt x="22" y="191"/>
                    <a:pt x="16" y="185"/>
                  </a:cubicBezTo>
                  <a:cubicBezTo>
                    <a:pt x="11" y="179"/>
                    <a:pt x="7" y="171"/>
                    <a:pt x="4" y="163"/>
                  </a:cubicBezTo>
                  <a:cubicBezTo>
                    <a:pt x="1" y="155"/>
                    <a:pt x="0" y="146"/>
                    <a:pt x="0" y="137"/>
                  </a:cubicBezTo>
                  <a:cubicBezTo>
                    <a:pt x="0" y="128"/>
                    <a:pt x="2" y="119"/>
                    <a:pt x="6" y="110"/>
                  </a:cubicBezTo>
                  <a:cubicBezTo>
                    <a:pt x="9" y="102"/>
                    <a:pt x="14" y="94"/>
                    <a:pt x="21" y="88"/>
                  </a:cubicBezTo>
                  <a:cubicBezTo>
                    <a:pt x="27" y="81"/>
                    <a:pt x="34" y="76"/>
                    <a:pt x="43" y="72"/>
                  </a:cubicBezTo>
                  <a:cubicBezTo>
                    <a:pt x="51" y="68"/>
                    <a:pt x="60" y="66"/>
                    <a:pt x="70" y="66"/>
                  </a:cubicBezTo>
                  <a:cubicBezTo>
                    <a:pt x="77" y="66"/>
                    <a:pt x="82" y="67"/>
                    <a:pt x="87" y="69"/>
                  </a:cubicBezTo>
                  <a:cubicBezTo>
                    <a:pt x="92" y="71"/>
                    <a:pt x="97" y="74"/>
                    <a:pt x="101" y="7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7" y="205"/>
                    <a:pt x="127" y="205"/>
                    <a:pt x="127" y="205"/>
                  </a:cubicBezTo>
                  <a:cubicBezTo>
                    <a:pt x="101" y="205"/>
                    <a:pt x="101" y="205"/>
                    <a:pt x="101" y="205"/>
                  </a:cubicBezTo>
                  <a:lnTo>
                    <a:pt x="101" y="189"/>
                  </a:lnTo>
                  <a:close/>
                  <a:moveTo>
                    <a:pt x="101" y="111"/>
                  </a:moveTo>
                  <a:cubicBezTo>
                    <a:pt x="101" y="106"/>
                    <a:pt x="100" y="101"/>
                    <a:pt x="98" y="96"/>
                  </a:cubicBezTo>
                  <a:cubicBezTo>
                    <a:pt x="96" y="92"/>
                    <a:pt x="93" y="88"/>
                    <a:pt x="90" y="85"/>
                  </a:cubicBezTo>
                  <a:cubicBezTo>
                    <a:pt x="87" y="82"/>
                    <a:pt x="83" y="80"/>
                    <a:pt x="79" y="78"/>
                  </a:cubicBezTo>
                  <a:cubicBezTo>
                    <a:pt x="76" y="76"/>
                    <a:pt x="71" y="76"/>
                    <a:pt x="67" y="76"/>
                  </a:cubicBezTo>
                  <a:cubicBezTo>
                    <a:pt x="62" y="76"/>
                    <a:pt x="57" y="77"/>
                    <a:pt x="53" y="80"/>
                  </a:cubicBezTo>
                  <a:cubicBezTo>
                    <a:pt x="48" y="82"/>
                    <a:pt x="44" y="86"/>
                    <a:pt x="40" y="91"/>
                  </a:cubicBezTo>
                  <a:cubicBezTo>
                    <a:pt x="37" y="95"/>
                    <a:pt x="34" y="101"/>
                    <a:pt x="32" y="108"/>
                  </a:cubicBezTo>
                  <a:cubicBezTo>
                    <a:pt x="30" y="114"/>
                    <a:pt x="29" y="122"/>
                    <a:pt x="29" y="129"/>
                  </a:cubicBezTo>
                  <a:cubicBezTo>
                    <a:pt x="29" y="138"/>
                    <a:pt x="30" y="146"/>
                    <a:pt x="33" y="153"/>
                  </a:cubicBezTo>
                  <a:cubicBezTo>
                    <a:pt x="35" y="161"/>
                    <a:pt x="38" y="167"/>
                    <a:pt x="42" y="173"/>
                  </a:cubicBezTo>
                  <a:cubicBezTo>
                    <a:pt x="45" y="178"/>
                    <a:pt x="50" y="183"/>
                    <a:pt x="55" y="186"/>
                  </a:cubicBezTo>
                  <a:cubicBezTo>
                    <a:pt x="60" y="189"/>
                    <a:pt x="66" y="191"/>
                    <a:pt x="71" y="191"/>
                  </a:cubicBezTo>
                  <a:cubicBezTo>
                    <a:pt x="74" y="191"/>
                    <a:pt x="77" y="190"/>
                    <a:pt x="80" y="189"/>
                  </a:cubicBezTo>
                  <a:cubicBezTo>
                    <a:pt x="83" y="189"/>
                    <a:pt x="85" y="188"/>
                    <a:pt x="88" y="186"/>
                  </a:cubicBezTo>
                  <a:cubicBezTo>
                    <a:pt x="90" y="185"/>
                    <a:pt x="93" y="184"/>
                    <a:pt x="95" y="182"/>
                  </a:cubicBezTo>
                  <a:cubicBezTo>
                    <a:pt x="97" y="180"/>
                    <a:pt x="99" y="179"/>
                    <a:pt x="101" y="177"/>
                  </a:cubicBezTo>
                  <a:lnTo>
                    <a:pt x="101" y="111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22"/>
            <p:cNvSpPr>
              <a:spLocks/>
            </p:cNvSpPr>
            <p:nvPr/>
          </p:nvSpPr>
          <p:spPr bwMode="auto">
            <a:xfrm>
              <a:off x="2515" y="3463"/>
              <a:ext cx="201" cy="432"/>
            </a:xfrm>
            <a:custGeom>
              <a:avLst/>
              <a:gdLst>
                <a:gd name="T0" fmla="*/ 85 w 85"/>
                <a:gd name="T1" fmla="*/ 163 h 182"/>
                <a:gd name="T2" fmla="*/ 71 w 85"/>
                <a:gd name="T3" fmla="*/ 177 h 182"/>
                <a:gd name="T4" fmla="*/ 50 w 85"/>
                <a:gd name="T5" fmla="*/ 182 h 182"/>
                <a:gd name="T6" fmla="*/ 38 w 85"/>
                <a:gd name="T7" fmla="*/ 180 h 182"/>
                <a:gd name="T8" fmla="*/ 30 w 85"/>
                <a:gd name="T9" fmla="*/ 174 h 182"/>
                <a:gd name="T10" fmla="*/ 25 w 85"/>
                <a:gd name="T11" fmla="*/ 164 h 182"/>
                <a:gd name="T12" fmla="*/ 23 w 85"/>
                <a:gd name="T13" fmla="*/ 151 h 182"/>
                <a:gd name="T14" fmla="*/ 23 w 85"/>
                <a:gd name="T15" fmla="*/ 57 h 182"/>
                <a:gd name="T16" fmla="*/ 0 w 85"/>
                <a:gd name="T17" fmla="*/ 57 h 182"/>
                <a:gd name="T18" fmla="*/ 0 w 85"/>
                <a:gd name="T19" fmla="*/ 51 h 182"/>
                <a:gd name="T20" fmla="*/ 19 w 85"/>
                <a:gd name="T21" fmla="*/ 46 h 182"/>
                <a:gd name="T22" fmla="*/ 30 w 85"/>
                <a:gd name="T23" fmla="*/ 36 h 182"/>
                <a:gd name="T24" fmla="*/ 38 w 85"/>
                <a:gd name="T25" fmla="*/ 19 h 182"/>
                <a:gd name="T26" fmla="*/ 42 w 85"/>
                <a:gd name="T27" fmla="*/ 0 h 182"/>
                <a:gd name="T28" fmla="*/ 50 w 85"/>
                <a:gd name="T29" fmla="*/ 0 h 182"/>
                <a:gd name="T30" fmla="*/ 50 w 85"/>
                <a:gd name="T31" fmla="*/ 46 h 182"/>
                <a:gd name="T32" fmla="*/ 80 w 85"/>
                <a:gd name="T33" fmla="*/ 46 h 182"/>
                <a:gd name="T34" fmla="*/ 80 w 85"/>
                <a:gd name="T35" fmla="*/ 57 h 182"/>
                <a:gd name="T36" fmla="*/ 50 w 85"/>
                <a:gd name="T37" fmla="*/ 57 h 182"/>
                <a:gd name="T38" fmla="*/ 50 w 85"/>
                <a:gd name="T39" fmla="*/ 151 h 182"/>
                <a:gd name="T40" fmla="*/ 54 w 85"/>
                <a:gd name="T41" fmla="*/ 161 h 182"/>
                <a:gd name="T42" fmla="*/ 64 w 85"/>
                <a:gd name="T43" fmla="*/ 166 h 182"/>
                <a:gd name="T44" fmla="*/ 73 w 85"/>
                <a:gd name="T45" fmla="*/ 163 h 182"/>
                <a:gd name="T46" fmla="*/ 79 w 85"/>
                <a:gd name="T47" fmla="*/ 158 h 182"/>
                <a:gd name="T48" fmla="*/ 85 w 85"/>
                <a:gd name="T49" fmla="*/ 16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5" h="182">
                  <a:moveTo>
                    <a:pt x="85" y="163"/>
                  </a:moveTo>
                  <a:cubicBezTo>
                    <a:pt x="82" y="169"/>
                    <a:pt x="77" y="174"/>
                    <a:pt x="71" y="177"/>
                  </a:cubicBezTo>
                  <a:cubicBezTo>
                    <a:pt x="65" y="181"/>
                    <a:pt x="58" y="182"/>
                    <a:pt x="50" y="182"/>
                  </a:cubicBezTo>
                  <a:cubicBezTo>
                    <a:pt x="45" y="182"/>
                    <a:pt x="41" y="182"/>
                    <a:pt x="38" y="180"/>
                  </a:cubicBezTo>
                  <a:cubicBezTo>
                    <a:pt x="35" y="179"/>
                    <a:pt x="32" y="177"/>
                    <a:pt x="30" y="174"/>
                  </a:cubicBezTo>
                  <a:cubicBezTo>
                    <a:pt x="28" y="171"/>
                    <a:pt x="26" y="168"/>
                    <a:pt x="25" y="164"/>
                  </a:cubicBezTo>
                  <a:cubicBezTo>
                    <a:pt x="24" y="160"/>
                    <a:pt x="23" y="156"/>
                    <a:pt x="23" y="151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8" y="51"/>
                    <a:pt x="14" y="49"/>
                    <a:pt x="19" y="46"/>
                  </a:cubicBezTo>
                  <a:cubicBezTo>
                    <a:pt x="23" y="44"/>
                    <a:pt x="27" y="40"/>
                    <a:pt x="30" y="36"/>
                  </a:cubicBezTo>
                  <a:cubicBezTo>
                    <a:pt x="34" y="31"/>
                    <a:pt x="36" y="25"/>
                    <a:pt x="38" y="19"/>
                  </a:cubicBezTo>
                  <a:cubicBezTo>
                    <a:pt x="39" y="13"/>
                    <a:pt x="41" y="7"/>
                    <a:pt x="4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50" y="155"/>
                    <a:pt x="51" y="159"/>
                    <a:pt x="54" y="161"/>
                  </a:cubicBezTo>
                  <a:cubicBezTo>
                    <a:pt x="57" y="164"/>
                    <a:pt x="60" y="166"/>
                    <a:pt x="64" y="166"/>
                  </a:cubicBezTo>
                  <a:cubicBezTo>
                    <a:pt x="67" y="166"/>
                    <a:pt x="70" y="165"/>
                    <a:pt x="73" y="163"/>
                  </a:cubicBezTo>
                  <a:cubicBezTo>
                    <a:pt x="75" y="162"/>
                    <a:pt x="77" y="160"/>
                    <a:pt x="79" y="158"/>
                  </a:cubicBezTo>
                  <a:lnTo>
                    <a:pt x="85" y="163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7" name="Freeform 23"/>
            <p:cNvSpPr>
              <a:spLocks noEditPoints="1"/>
            </p:cNvSpPr>
            <p:nvPr/>
          </p:nvSpPr>
          <p:spPr bwMode="auto">
            <a:xfrm>
              <a:off x="2742" y="3565"/>
              <a:ext cx="334" cy="330"/>
            </a:xfrm>
            <a:custGeom>
              <a:avLst/>
              <a:gdLst>
                <a:gd name="T0" fmla="*/ 71 w 141"/>
                <a:gd name="T1" fmla="*/ 139 h 139"/>
                <a:gd name="T2" fmla="*/ 42 w 141"/>
                <a:gd name="T3" fmla="*/ 134 h 139"/>
                <a:gd name="T4" fmla="*/ 20 w 141"/>
                <a:gd name="T5" fmla="*/ 119 h 139"/>
                <a:gd name="T6" fmla="*/ 5 w 141"/>
                <a:gd name="T7" fmla="*/ 98 h 139"/>
                <a:gd name="T8" fmla="*/ 0 w 141"/>
                <a:gd name="T9" fmla="*/ 71 h 139"/>
                <a:gd name="T10" fmla="*/ 5 w 141"/>
                <a:gd name="T11" fmla="*/ 44 h 139"/>
                <a:gd name="T12" fmla="*/ 20 w 141"/>
                <a:gd name="T13" fmla="*/ 21 h 139"/>
                <a:gd name="T14" fmla="*/ 42 w 141"/>
                <a:gd name="T15" fmla="*/ 6 h 139"/>
                <a:gd name="T16" fmla="*/ 71 w 141"/>
                <a:gd name="T17" fmla="*/ 0 h 139"/>
                <a:gd name="T18" fmla="*/ 99 w 141"/>
                <a:gd name="T19" fmla="*/ 5 h 139"/>
                <a:gd name="T20" fmla="*/ 121 w 141"/>
                <a:gd name="T21" fmla="*/ 19 h 139"/>
                <a:gd name="T22" fmla="*/ 136 w 141"/>
                <a:gd name="T23" fmla="*/ 40 h 139"/>
                <a:gd name="T24" fmla="*/ 141 w 141"/>
                <a:gd name="T25" fmla="*/ 66 h 139"/>
                <a:gd name="T26" fmla="*/ 136 w 141"/>
                <a:gd name="T27" fmla="*/ 94 h 139"/>
                <a:gd name="T28" fmla="*/ 121 w 141"/>
                <a:gd name="T29" fmla="*/ 118 h 139"/>
                <a:gd name="T30" fmla="*/ 99 w 141"/>
                <a:gd name="T31" fmla="*/ 134 h 139"/>
                <a:gd name="T32" fmla="*/ 71 w 141"/>
                <a:gd name="T33" fmla="*/ 139 h 139"/>
                <a:gd name="T34" fmla="*/ 76 w 141"/>
                <a:gd name="T35" fmla="*/ 129 h 139"/>
                <a:gd name="T36" fmla="*/ 90 w 141"/>
                <a:gd name="T37" fmla="*/ 125 h 139"/>
                <a:gd name="T38" fmla="*/ 101 w 141"/>
                <a:gd name="T39" fmla="*/ 115 h 139"/>
                <a:gd name="T40" fmla="*/ 109 w 141"/>
                <a:gd name="T41" fmla="*/ 99 h 139"/>
                <a:gd name="T42" fmla="*/ 111 w 141"/>
                <a:gd name="T43" fmla="*/ 80 h 139"/>
                <a:gd name="T44" fmla="*/ 109 w 141"/>
                <a:gd name="T45" fmla="*/ 52 h 139"/>
                <a:gd name="T46" fmla="*/ 101 w 141"/>
                <a:gd name="T47" fmla="*/ 30 h 139"/>
                <a:gd name="T48" fmla="*/ 86 w 141"/>
                <a:gd name="T49" fmla="*/ 15 h 139"/>
                <a:gd name="T50" fmla="*/ 64 w 141"/>
                <a:gd name="T51" fmla="*/ 10 h 139"/>
                <a:gd name="T52" fmla="*/ 51 w 141"/>
                <a:gd name="T53" fmla="*/ 14 h 139"/>
                <a:gd name="T54" fmla="*/ 40 w 141"/>
                <a:gd name="T55" fmla="*/ 24 h 139"/>
                <a:gd name="T56" fmla="*/ 33 w 141"/>
                <a:gd name="T57" fmla="*/ 40 h 139"/>
                <a:gd name="T58" fmla="*/ 30 w 141"/>
                <a:gd name="T59" fmla="*/ 59 h 139"/>
                <a:gd name="T60" fmla="*/ 33 w 141"/>
                <a:gd name="T61" fmla="*/ 87 h 139"/>
                <a:gd name="T62" fmla="*/ 42 w 141"/>
                <a:gd name="T63" fmla="*/ 109 h 139"/>
                <a:gd name="T64" fmla="*/ 56 w 141"/>
                <a:gd name="T65" fmla="*/ 124 h 139"/>
                <a:gd name="T66" fmla="*/ 76 w 141"/>
                <a:gd name="T67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1" h="139">
                  <a:moveTo>
                    <a:pt x="71" y="139"/>
                  </a:moveTo>
                  <a:cubicBezTo>
                    <a:pt x="60" y="139"/>
                    <a:pt x="51" y="138"/>
                    <a:pt x="42" y="134"/>
                  </a:cubicBezTo>
                  <a:cubicBezTo>
                    <a:pt x="34" y="131"/>
                    <a:pt x="26" y="126"/>
                    <a:pt x="20" y="119"/>
                  </a:cubicBezTo>
                  <a:cubicBezTo>
                    <a:pt x="14" y="113"/>
                    <a:pt x="9" y="106"/>
                    <a:pt x="5" y="98"/>
                  </a:cubicBezTo>
                  <a:cubicBezTo>
                    <a:pt x="2" y="90"/>
                    <a:pt x="0" y="81"/>
                    <a:pt x="0" y="71"/>
                  </a:cubicBezTo>
                  <a:cubicBezTo>
                    <a:pt x="0" y="61"/>
                    <a:pt x="2" y="52"/>
                    <a:pt x="5" y="44"/>
                  </a:cubicBezTo>
                  <a:cubicBezTo>
                    <a:pt x="9" y="35"/>
                    <a:pt x="14" y="27"/>
                    <a:pt x="20" y="21"/>
                  </a:cubicBezTo>
                  <a:cubicBezTo>
                    <a:pt x="26" y="15"/>
                    <a:pt x="34" y="9"/>
                    <a:pt x="42" y="6"/>
                  </a:cubicBezTo>
                  <a:cubicBezTo>
                    <a:pt x="51" y="2"/>
                    <a:pt x="60" y="0"/>
                    <a:pt x="71" y="0"/>
                  </a:cubicBezTo>
                  <a:cubicBezTo>
                    <a:pt x="81" y="0"/>
                    <a:pt x="90" y="2"/>
                    <a:pt x="99" y="5"/>
                  </a:cubicBezTo>
                  <a:cubicBezTo>
                    <a:pt x="108" y="9"/>
                    <a:pt x="115" y="13"/>
                    <a:pt x="121" y="19"/>
                  </a:cubicBezTo>
                  <a:cubicBezTo>
                    <a:pt x="128" y="25"/>
                    <a:pt x="133" y="32"/>
                    <a:pt x="136" y="40"/>
                  </a:cubicBezTo>
                  <a:cubicBezTo>
                    <a:pt x="140" y="48"/>
                    <a:pt x="141" y="57"/>
                    <a:pt x="141" y="66"/>
                  </a:cubicBezTo>
                  <a:cubicBezTo>
                    <a:pt x="141" y="76"/>
                    <a:pt x="140" y="85"/>
                    <a:pt x="136" y="94"/>
                  </a:cubicBezTo>
                  <a:cubicBezTo>
                    <a:pt x="133" y="103"/>
                    <a:pt x="128" y="111"/>
                    <a:pt x="121" y="118"/>
                  </a:cubicBezTo>
                  <a:cubicBezTo>
                    <a:pt x="115" y="124"/>
                    <a:pt x="108" y="130"/>
                    <a:pt x="99" y="134"/>
                  </a:cubicBezTo>
                  <a:cubicBezTo>
                    <a:pt x="90" y="137"/>
                    <a:pt x="81" y="139"/>
                    <a:pt x="71" y="139"/>
                  </a:cubicBezTo>
                  <a:moveTo>
                    <a:pt x="76" y="129"/>
                  </a:moveTo>
                  <a:cubicBezTo>
                    <a:pt x="81" y="129"/>
                    <a:pt x="86" y="128"/>
                    <a:pt x="90" y="125"/>
                  </a:cubicBezTo>
                  <a:cubicBezTo>
                    <a:pt x="94" y="123"/>
                    <a:pt x="98" y="119"/>
                    <a:pt x="101" y="115"/>
                  </a:cubicBezTo>
                  <a:cubicBezTo>
                    <a:pt x="105" y="110"/>
                    <a:pt x="107" y="105"/>
                    <a:pt x="109" y="99"/>
                  </a:cubicBezTo>
                  <a:cubicBezTo>
                    <a:pt x="111" y="93"/>
                    <a:pt x="111" y="86"/>
                    <a:pt x="111" y="80"/>
                  </a:cubicBezTo>
                  <a:cubicBezTo>
                    <a:pt x="111" y="70"/>
                    <a:pt x="111" y="61"/>
                    <a:pt x="109" y="52"/>
                  </a:cubicBezTo>
                  <a:cubicBezTo>
                    <a:pt x="107" y="44"/>
                    <a:pt x="105" y="37"/>
                    <a:pt x="101" y="30"/>
                  </a:cubicBezTo>
                  <a:cubicBezTo>
                    <a:pt x="97" y="24"/>
                    <a:pt x="92" y="19"/>
                    <a:pt x="86" y="15"/>
                  </a:cubicBezTo>
                  <a:cubicBezTo>
                    <a:pt x="80" y="12"/>
                    <a:pt x="73" y="10"/>
                    <a:pt x="64" y="10"/>
                  </a:cubicBezTo>
                  <a:cubicBezTo>
                    <a:pt x="60" y="10"/>
                    <a:pt x="55" y="11"/>
                    <a:pt x="51" y="14"/>
                  </a:cubicBezTo>
                  <a:cubicBezTo>
                    <a:pt x="47" y="16"/>
                    <a:pt x="43" y="20"/>
                    <a:pt x="40" y="24"/>
                  </a:cubicBezTo>
                  <a:cubicBezTo>
                    <a:pt x="37" y="29"/>
                    <a:pt x="34" y="34"/>
                    <a:pt x="33" y="40"/>
                  </a:cubicBezTo>
                  <a:cubicBezTo>
                    <a:pt x="31" y="46"/>
                    <a:pt x="30" y="52"/>
                    <a:pt x="30" y="59"/>
                  </a:cubicBezTo>
                  <a:cubicBezTo>
                    <a:pt x="30" y="69"/>
                    <a:pt x="31" y="78"/>
                    <a:pt x="33" y="87"/>
                  </a:cubicBezTo>
                  <a:cubicBezTo>
                    <a:pt x="35" y="95"/>
                    <a:pt x="38" y="103"/>
                    <a:pt x="42" y="109"/>
                  </a:cubicBezTo>
                  <a:cubicBezTo>
                    <a:pt x="46" y="115"/>
                    <a:pt x="51" y="120"/>
                    <a:pt x="56" y="124"/>
                  </a:cubicBezTo>
                  <a:cubicBezTo>
                    <a:pt x="62" y="128"/>
                    <a:pt x="68" y="129"/>
                    <a:pt x="76" y="129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8" name="Freeform 24"/>
            <p:cNvSpPr>
              <a:spLocks noEditPoints="1"/>
            </p:cNvSpPr>
            <p:nvPr/>
          </p:nvSpPr>
          <p:spPr bwMode="auto">
            <a:xfrm>
              <a:off x="3123" y="3565"/>
              <a:ext cx="337" cy="330"/>
            </a:xfrm>
            <a:custGeom>
              <a:avLst/>
              <a:gdLst>
                <a:gd name="T0" fmla="*/ 71 w 142"/>
                <a:gd name="T1" fmla="*/ 139 h 139"/>
                <a:gd name="T2" fmla="*/ 43 w 142"/>
                <a:gd name="T3" fmla="*/ 134 h 139"/>
                <a:gd name="T4" fmla="*/ 20 w 142"/>
                <a:gd name="T5" fmla="*/ 119 h 139"/>
                <a:gd name="T6" fmla="*/ 6 w 142"/>
                <a:gd name="T7" fmla="*/ 98 h 139"/>
                <a:gd name="T8" fmla="*/ 0 w 142"/>
                <a:gd name="T9" fmla="*/ 71 h 139"/>
                <a:gd name="T10" fmla="*/ 6 w 142"/>
                <a:gd name="T11" fmla="*/ 44 h 139"/>
                <a:gd name="T12" fmla="*/ 20 w 142"/>
                <a:gd name="T13" fmla="*/ 21 h 139"/>
                <a:gd name="T14" fmla="*/ 43 w 142"/>
                <a:gd name="T15" fmla="*/ 6 h 139"/>
                <a:gd name="T16" fmla="*/ 71 w 142"/>
                <a:gd name="T17" fmla="*/ 0 h 139"/>
                <a:gd name="T18" fmla="*/ 99 w 142"/>
                <a:gd name="T19" fmla="*/ 5 h 139"/>
                <a:gd name="T20" fmla="*/ 122 w 142"/>
                <a:gd name="T21" fmla="*/ 19 h 139"/>
                <a:gd name="T22" fmla="*/ 136 w 142"/>
                <a:gd name="T23" fmla="*/ 40 h 139"/>
                <a:gd name="T24" fmla="*/ 142 w 142"/>
                <a:gd name="T25" fmla="*/ 66 h 139"/>
                <a:gd name="T26" fmla="*/ 136 w 142"/>
                <a:gd name="T27" fmla="*/ 94 h 139"/>
                <a:gd name="T28" fmla="*/ 122 w 142"/>
                <a:gd name="T29" fmla="*/ 118 h 139"/>
                <a:gd name="T30" fmla="*/ 99 w 142"/>
                <a:gd name="T31" fmla="*/ 134 h 139"/>
                <a:gd name="T32" fmla="*/ 71 w 142"/>
                <a:gd name="T33" fmla="*/ 139 h 139"/>
                <a:gd name="T34" fmla="*/ 76 w 142"/>
                <a:gd name="T35" fmla="*/ 129 h 139"/>
                <a:gd name="T36" fmla="*/ 90 w 142"/>
                <a:gd name="T37" fmla="*/ 125 h 139"/>
                <a:gd name="T38" fmla="*/ 102 w 142"/>
                <a:gd name="T39" fmla="*/ 115 h 139"/>
                <a:gd name="T40" fmla="*/ 109 w 142"/>
                <a:gd name="T41" fmla="*/ 99 h 139"/>
                <a:gd name="T42" fmla="*/ 112 w 142"/>
                <a:gd name="T43" fmla="*/ 80 h 139"/>
                <a:gd name="T44" fmla="*/ 109 w 142"/>
                <a:gd name="T45" fmla="*/ 52 h 139"/>
                <a:gd name="T46" fmla="*/ 101 w 142"/>
                <a:gd name="T47" fmla="*/ 30 h 139"/>
                <a:gd name="T48" fmla="*/ 87 w 142"/>
                <a:gd name="T49" fmla="*/ 15 h 139"/>
                <a:gd name="T50" fmla="*/ 65 w 142"/>
                <a:gd name="T51" fmla="*/ 10 h 139"/>
                <a:gd name="T52" fmla="*/ 52 w 142"/>
                <a:gd name="T53" fmla="*/ 14 h 139"/>
                <a:gd name="T54" fmla="*/ 41 w 142"/>
                <a:gd name="T55" fmla="*/ 24 h 139"/>
                <a:gd name="T56" fmla="*/ 33 w 142"/>
                <a:gd name="T57" fmla="*/ 40 h 139"/>
                <a:gd name="T58" fmla="*/ 30 w 142"/>
                <a:gd name="T59" fmla="*/ 59 h 139"/>
                <a:gd name="T60" fmla="*/ 33 w 142"/>
                <a:gd name="T61" fmla="*/ 87 h 139"/>
                <a:gd name="T62" fmla="*/ 42 w 142"/>
                <a:gd name="T63" fmla="*/ 109 h 139"/>
                <a:gd name="T64" fmla="*/ 57 w 142"/>
                <a:gd name="T65" fmla="*/ 124 h 139"/>
                <a:gd name="T66" fmla="*/ 76 w 142"/>
                <a:gd name="T67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2" h="139">
                  <a:moveTo>
                    <a:pt x="71" y="139"/>
                  </a:moveTo>
                  <a:cubicBezTo>
                    <a:pt x="61" y="139"/>
                    <a:pt x="51" y="138"/>
                    <a:pt x="43" y="134"/>
                  </a:cubicBezTo>
                  <a:cubicBezTo>
                    <a:pt x="34" y="131"/>
                    <a:pt x="27" y="126"/>
                    <a:pt x="20" y="119"/>
                  </a:cubicBezTo>
                  <a:cubicBezTo>
                    <a:pt x="14" y="113"/>
                    <a:pt x="9" y="106"/>
                    <a:pt x="6" y="98"/>
                  </a:cubicBezTo>
                  <a:cubicBezTo>
                    <a:pt x="2" y="90"/>
                    <a:pt x="0" y="81"/>
                    <a:pt x="0" y="71"/>
                  </a:cubicBezTo>
                  <a:cubicBezTo>
                    <a:pt x="0" y="61"/>
                    <a:pt x="2" y="52"/>
                    <a:pt x="6" y="44"/>
                  </a:cubicBezTo>
                  <a:cubicBezTo>
                    <a:pt x="9" y="35"/>
                    <a:pt x="14" y="27"/>
                    <a:pt x="20" y="21"/>
                  </a:cubicBezTo>
                  <a:cubicBezTo>
                    <a:pt x="27" y="15"/>
                    <a:pt x="34" y="9"/>
                    <a:pt x="43" y="6"/>
                  </a:cubicBezTo>
                  <a:cubicBezTo>
                    <a:pt x="51" y="2"/>
                    <a:pt x="61" y="0"/>
                    <a:pt x="71" y="0"/>
                  </a:cubicBezTo>
                  <a:cubicBezTo>
                    <a:pt x="81" y="0"/>
                    <a:pt x="91" y="2"/>
                    <a:pt x="99" y="5"/>
                  </a:cubicBezTo>
                  <a:cubicBezTo>
                    <a:pt x="108" y="9"/>
                    <a:pt x="115" y="13"/>
                    <a:pt x="122" y="19"/>
                  </a:cubicBezTo>
                  <a:cubicBezTo>
                    <a:pt x="128" y="25"/>
                    <a:pt x="133" y="32"/>
                    <a:pt x="136" y="40"/>
                  </a:cubicBezTo>
                  <a:cubicBezTo>
                    <a:pt x="140" y="48"/>
                    <a:pt x="142" y="57"/>
                    <a:pt x="142" y="66"/>
                  </a:cubicBezTo>
                  <a:cubicBezTo>
                    <a:pt x="142" y="76"/>
                    <a:pt x="140" y="85"/>
                    <a:pt x="136" y="94"/>
                  </a:cubicBezTo>
                  <a:cubicBezTo>
                    <a:pt x="133" y="103"/>
                    <a:pt x="128" y="111"/>
                    <a:pt x="122" y="118"/>
                  </a:cubicBezTo>
                  <a:cubicBezTo>
                    <a:pt x="115" y="124"/>
                    <a:pt x="108" y="130"/>
                    <a:pt x="99" y="134"/>
                  </a:cubicBezTo>
                  <a:cubicBezTo>
                    <a:pt x="91" y="137"/>
                    <a:pt x="81" y="139"/>
                    <a:pt x="71" y="139"/>
                  </a:cubicBezTo>
                  <a:moveTo>
                    <a:pt x="76" y="129"/>
                  </a:moveTo>
                  <a:cubicBezTo>
                    <a:pt x="81" y="129"/>
                    <a:pt x="86" y="128"/>
                    <a:pt x="90" y="125"/>
                  </a:cubicBezTo>
                  <a:cubicBezTo>
                    <a:pt x="95" y="123"/>
                    <a:pt x="98" y="119"/>
                    <a:pt x="102" y="115"/>
                  </a:cubicBezTo>
                  <a:cubicBezTo>
                    <a:pt x="105" y="110"/>
                    <a:pt x="107" y="105"/>
                    <a:pt x="109" y="99"/>
                  </a:cubicBezTo>
                  <a:cubicBezTo>
                    <a:pt x="111" y="93"/>
                    <a:pt x="112" y="86"/>
                    <a:pt x="112" y="80"/>
                  </a:cubicBezTo>
                  <a:cubicBezTo>
                    <a:pt x="112" y="70"/>
                    <a:pt x="111" y="61"/>
                    <a:pt x="109" y="52"/>
                  </a:cubicBezTo>
                  <a:cubicBezTo>
                    <a:pt x="108" y="44"/>
                    <a:pt x="105" y="37"/>
                    <a:pt x="101" y="30"/>
                  </a:cubicBezTo>
                  <a:cubicBezTo>
                    <a:pt x="97" y="24"/>
                    <a:pt x="93" y="19"/>
                    <a:pt x="87" y="15"/>
                  </a:cubicBezTo>
                  <a:cubicBezTo>
                    <a:pt x="81" y="12"/>
                    <a:pt x="73" y="10"/>
                    <a:pt x="65" y="10"/>
                  </a:cubicBezTo>
                  <a:cubicBezTo>
                    <a:pt x="60" y="10"/>
                    <a:pt x="56" y="11"/>
                    <a:pt x="52" y="14"/>
                  </a:cubicBezTo>
                  <a:cubicBezTo>
                    <a:pt x="47" y="16"/>
                    <a:pt x="44" y="20"/>
                    <a:pt x="41" y="24"/>
                  </a:cubicBezTo>
                  <a:cubicBezTo>
                    <a:pt x="37" y="29"/>
                    <a:pt x="35" y="34"/>
                    <a:pt x="33" y="40"/>
                  </a:cubicBezTo>
                  <a:cubicBezTo>
                    <a:pt x="31" y="46"/>
                    <a:pt x="30" y="52"/>
                    <a:pt x="30" y="59"/>
                  </a:cubicBezTo>
                  <a:cubicBezTo>
                    <a:pt x="30" y="69"/>
                    <a:pt x="31" y="78"/>
                    <a:pt x="33" y="87"/>
                  </a:cubicBezTo>
                  <a:cubicBezTo>
                    <a:pt x="35" y="95"/>
                    <a:pt x="38" y="103"/>
                    <a:pt x="42" y="109"/>
                  </a:cubicBezTo>
                  <a:cubicBezTo>
                    <a:pt x="46" y="115"/>
                    <a:pt x="51" y="120"/>
                    <a:pt x="57" y="124"/>
                  </a:cubicBezTo>
                  <a:cubicBezTo>
                    <a:pt x="62" y="128"/>
                    <a:pt x="69" y="129"/>
                    <a:pt x="76" y="129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9" name="Freeform 25"/>
            <p:cNvSpPr>
              <a:spLocks/>
            </p:cNvSpPr>
            <p:nvPr/>
          </p:nvSpPr>
          <p:spPr bwMode="auto">
            <a:xfrm>
              <a:off x="3522" y="3408"/>
              <a:ext cx="64" cy="483"/>
            </a:xfrm>
            <a:custGeom>
              <a:avLst/>
              <a:gdLst>
                <a:gd name="T0" fmla="*/ 64 w 64"/>
                <a:gd name="T1" fmla="*/ 483 h 483"/>
                <a:gd name="T2" fmla="*/ 0 w 64"/>
                <a:gd name="T3" fmla="*/ 483 h 483"/>
                <a:gd name="T4" fmla="*/ 0 w 64"/>
                <a:gd name="T5" fmla="*/ 19 h 483"/>
                <a:gd name="T6" fmla="*/ 45 w 64"/>
                <a:gd name="T7" fmla="*/ 0 h 483"/>
                <a:gd name="T8" fmla="*/ 64 w 64"/>
                <a:gd name="T9" fmla="*/ 0 h 483"/>
                <a:gd name="T10" fmla="*/ 64 w 64"/>
                <a:gd name="T11" fmla="*/ 483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483">
                  <a:moveTo>
                    <a:pt x="64" y="483"/>
                  </a:moveTo>
                  <a:lnTo>
                    <a:pt x="0" y="483"/>
                  </a:lnTo>
                  <a:lnTo>
                    <a:pt x="0" y="19"/>
                  </a:lnTo>
                  <a:lnTo>
                    <a:pt x="45" y="0"/>
                  </a:lnTo>
                  <a:lnTo>
                    <a:pt x="64" y="0"/>
                  </a:lnTo>
                  <a:lnTo>
                    <a:pt x="64" y="483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0" name="Freeform 26"/>
            <p:cNvSpPr>
              <a:spLocks/>
            </p:cNvSpPr>
            <p:nvPr/>
          </p:nvSpPr>
          <p:spPr bwMode="auto">
            <a:xfrm>
              <a:off x="3647" y="3565"/>
              <a:ext cx="237" cy="330"/>
            </a:xfrm>
            <a:custGeom>
              <a:avLst/>
              <a:gdLst>
                <a:gd name="T0" fmla="*/ 49 w 100"/>
                <a:gd name="T1" fmla="*/ 130 h 139"/>
                <a:gd name="T2" fmla="*/ 59 w 100"/>
                <a:gd name="T3" fmla="*/ 129 h 139"/>
                <a:gd name="T4" fmla="*/ 67 w 100"/>
                <a:gd name="T5" fmla="*/ 124 h 139"/>
                <a:gd name="T6" fmla="*/ 72 w 100"/>
                <a:gd name="T7" fmla="*/ 118 h 139"/>
                <a:gd name="T8" fmla="*/ 74 w 100"/>
                <a:gd name="T9" fmla="*/ 110 h 139"/>
                <a:gd name="T10" fmla="*/ 71 w 100"/>
                <a:gd name="T11" fmla="*/ 100 h 139"/>
                <a:gd name="T12" fmla="*/ 63 w 100"/>
                <a:gd name="T13" fmla="*/ 92 h 139"/>
                <a:gd name="T14" fmla="*/ 51 w 100"/>
                <a:gd name="T15" fmla="*/ 85 h 139"/>
                <a:gd name="T16" fmla="*/ 38 w 100"/>
                <a:gd name="T17" fmla="*/ 79 h 139"/>
                <a:gd name="T18" fmla="*/ 25 w 100"/>
                <a:gd name="T19" fmla="*/ 72 h 139"/>
                <a:gd name="T20" fmla="*/ 14 w 100"/>
                <a:gd name="T21" fmla="*/ 63 h 139"/>
                <a:gd name="T22" fmla="*/ 5 w 100"/>
                <a:gd name="T23" fmla="*/ 52 h 139"/>
                <a:gd name="T24" fmla="*/ 2 w 100"/>
                <a:gd name="T25" fmla="*/ 37 h 139"/>
                <a:gd name="T26" fmla="*/ 6 w 100"/>
                <a:gd name="T27" fmla="*/ 22 h 139"/>
                <a:gd name="T28" fmla="*/ 15 w 100"/>
                <a:gd name="T29" fmla="*/ 11 h 139"/>
                <a:gd name="T30" fmla="*/ 30 w 100"/>
                <a:gd name="T31" fmla="*/ 3 h 139"/>
                <a:gd name="T32" fmla="*/ 48 w 100"/>
                <a:gd name="T33" fmla="*/ 0 h 139"/>
                <a:gd name="T34" fmla="*/ 61 w 100"/>
                <a:gd name="T35" fmla="*/ 1 h 139"/>
                <a:gd name="T36" fmla="*/ 72 w 100"/>
                <a:gd name="T37" fmla="*/ 5 h 139"/>
                <a:gd name="T38" fmla="*/ 83 w 100"/>
                <a:gd name="T39" fmla="*/ 12 h 139"/>
                <a:gd name="T40" fmla="*/ 95 w 100"/>
                <a:gd name="T41" fmla="*/ 25 h 139"/>
                <a:gd name="T42" fmla="*/ 85 w 100"/>
                <a:gd name="T43" fmla="*/ 34 h 139"/>
                <a:gd name="T44" fmla="*/ 68 w 100"/>
                <a:gd name="T45" fmla="*/ 15 h 139"/>
                <a:gd name="T46" fmla="*/ 48 w 100"/>
                <a:gd name="T47" fmla="*/ 9 h 139"/>
                <a:gd name="T48" fmla="*/ 37 w 100"/>
                <a:gd name="T49" fmla="*/ 10 h 139"/>
                <a:gd name="T50" fmla="*/ 29 w 100"/>
                <a:gd name="T51" fmla="*/ 14 h 139"/>
                <a:gd name="T52" fmla="*/ 24 w 100"/>
                <a:gd name="T53" fmla="*/ 20 h 139"/>
                <a:gd name="T54" fmla="*/ 22 w 100"/>
                <a:gd name="T55" fmla="*/ 27 h 139"/>
                <a:gd name="T56" fmla="*/ 26 w 100"/>
                <a:gd name="T57" fmla="*/ 37 h 139"/>
                <a:gd name="T58" fmla="*/ 34 w 100"/>
                <a:gd name="T59" fmla="*/ 45 h 139"/>
                <a:gd name="T60" fmla="*/ 47 w 100"/>
                <a:gd name="T61" fmla="*/ 52 h 139"/>
                <a:gd name="T62" fmla="*/ 61 w 100"/>
                <a:gd name="T63" fmla="*/ 58 h 139"/>
                <a:gd name="T64" fmla="*/ 75 w 100"/>
                <a:gd name="T65" fmla="*/ 65 h 139"/>
                <a:gd name="T66" fmla="*/ 88 w 100"/>
                <a:gd name="T67" fmla="*/ 73 h 139"/>
                <a:gd name="T68" fmla="*/ 97 w 100"/>
                <a:gd name="T69" fmla="*/ 84 h 139"/>
                <a:gd name="T70" fmla="*/ 100 w 100"/>
                <a:gd name="T71" fmla="*/ 99 h 139"/>
                <a:gd name="T72" fmla="*/ 97 w 100"/>
                <a:gd name="T73" fmla="*/ 115 h 139"/>
                <a:gd name="T74" fmla="*/ 87 w 100"/>
                <a:gd name="T75" fmla="*/ 128 h 139"/>
                <a:gd name="T76" fmla="*/ 71 w 100"/>
                <a:gd name="T77" fmla="*/ 136 h 139"/>
                <a:gd name="T78" fmla="*/ 49 w 100"/>
                <a:gd name="T79" fmla="*/ 139 h 139"/>
                <a:gd name="T80" fmla="*/ 37 w 100"/>
                <a:gd name="T81" fmla="*/ 138 h 139"/>
                <a:gd name="T82" fmla="*/ 25 w 100"/>
                <a:gd name="T83" fmla="*/ 135 h 139"/>
                <a:gd name="T84" fmla="*/ 12 w 100"/>
                <a:gd name="T85" fmla="*/ 127 h 139"/>
                <a:gd name="T86" fmla="*/ 0 w 100"/>
                <a:gd name="T87" fmla="*/ 115 h 139"/>
                <a:gd name="T88" fmla="*/ 10 w 100"/>
                <a:gd name="T89" fmla="*/ 105 h 139"/>
                <a:gd name="T90" fmla="*/ 20 w 100"/>
                <a:gd name="T91" fmla="*/ 116 h 139"/>
                <a:gd name="T92" fmla="*/ 29 w 100"/>
                <a:gd name="T93" fmla="*/ 124 h 139"/>
                <a:gd name="T94" fmla="*/ 38 w 100"/>
                <a:gd name="T95" fmla="*/ 129 h 139"/>
                <a:gd name="T96" fmla="*/ 49 w 100"/>
                <a:gd name="T97" fmla="*/ 13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0" h="139">
                  <a:moveTo>
                    <a:pt x="49" y="130"/>
                  </a:moveTo>
                  <a:cubicBezTo>
                    <a:pt x="53" y="130"/>
                    <a:pt x="56" y="130"/>
                    <a:pt x="59" y="129"/>
                  </a:cubicBezTo>
                  <a:cubicBezTo>
                    <a:pt x="62" y="127"/>
                    <a:pt x="65" y="126"/>
                    <a:pt x="67" y="124"/>
                  </a:cubicBezTo>
                  <a:cubicBezTo>
                    <a:pt x="69" y="122"/>
                    <a:pt x="71" y="120"/>
                    <a:pt x="72" y="118"/>
                  </a:cubicBezTo>
                  <a:cubicBezTo>
                    <a:pt x="73" y="115"/>
                    <a:pt x="74" y="113"/>
                    <a:pt x="74" y="110"/>
                  </a:cubicBezTo>
                  <a:cubicBezTo>
                    <a:pt x="74" y="106"/>
                    <a:pt x="73" y="103"/>
                    <a:pt x="71" y="100"/>
                  </a:cubicBezTo>
                  <a:cubicBezTo>
                    <a:pt x="69" y="97"/>
                    <a:pt x="66" y="94"/>
                    <a:pt x="63" y="92"/>
                  </a:cubicBezTo>
                  <a:cubicBezTo>
                    <a:pt x="59" y="89"/>
                    <a:pt x="56" y="87"/>
                    <a:pt x="51" y="85"/>
                  </a:cubicBezTo>
                  <a:cubicBezTo>
                    <a:pt x="47" y="83"/>
                    <a:pt x="43" y="81"/>
                    <a:pt x="38" y="79"/>
                  </a:cubicBezTo>
                  <a:cubicBezTo>
                    <a:pt x="34" y="77"/>
                    <a:pt x="29" y="74"/>
                    <a:pt x="25" y="72"/>
                  </a:cubicBezTo>
                  <a:cubicBezTo>
                    <a:pt x="21" y="70"/>
                    <a:pt x="17" y="67"/>
                    <a:pt x="14" y="63"/>
                  </a:cubicBezTo>
                  <a:cubicBezTo>
                    <a:pt x="10" y="60"/>
                    <a:pt x="8" y="57"/>
                    <a:pt x="5" y="52"/>
                  </a:cubicBezTo>
                  <a:cubicBezTo>
                    <a:pt x="3" y="48"/>
                    <a:pt x="2" y="43"/>
                    <a:pt x="2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5" y="11"/>
                  </a:cubicBezTo>
                  <a:cubicBezTo>
                    <a:pt x="19" y="7"/>
                    <a:pt x="24" y="5"/>
                    <a:pt x="30" y="3"/>
                  </a:cubicBezTo>
                  <a:cubicBezTo>
                    <a:pt x="35" y="1"/>
                    <a:pt x="41" y="0"/>
                    <a:pt x="48" y="0"/>
                  </a:cubicBezTo>
                  <a:cubicBezTo>
                    <a:pt x="52" y="0"/>
                    <a:pt x="57" y="0"/>
                    <a:pt x="61" y="1"/>
                  </a:cubicBezTo>
                  <a:cubicBezTo>
                    <a:pt x="64" y="2"/>
                    <a:pt x="68" y="3"/>
                    <a:pt x="72" y="5"/>
                  </a:cubicBezTo>
                  <a:cubicBezTo>
                    <a:pt x="76" y="6"/>
                    <a:pt x="79" y="9"/>
                    <a:pt x="83" y="12"/>
                  </a:cubicBezTo>
                  <a:cubicBezTo>
                    <a:pt x="87" y="15"/>
                    <a:pt x="90" y="20"/>
                    <a:pt x="95" y="25"/>
                  </a:cubicBezTo>
                  <a:cubicBezTo>
                    <a:pt x="85" y="34"/>
                    <a:pt x="85" y="34"/>
                    <a:pt x="85" y="34"/>
                  </a:cubicBezTo>
                  <a:cubicBezTo>
                    <a:pt x="80" y="25"/>
                    <a:pt x="74" y="19"/>
                    <a:pt x="68" y="15"/>
                  </a:cubicBezTo>
                  <a:cubicBezTo>
                    <a:pt x="61" y="11"/>
                    <a:pt x="55" y="9"/>
                    <a:pt x="48" y="9"/>
                  </a:cubicBezTo>
                  <a:cubicBezTo>
                    <a:pt x="44" y="9"/>
                    <a:pt x="40" y="9"/>
                    <a:pt x="37" y="10"/>
                  </a:cubicBezTo>
                  <a:cubicBezTo>
                    <a:pt x="34" y="11"/>
                    <a:pt x="31" y="13"/>
                    <a:pt x="29" y="14"/>
                  </a:cubicBezTo>
                  <a:cubicBezTo>
                    <a:pt x="27" y="16"/>
                    <a:pt x="25" y="18"/>
                    <a:pt x="24" y="20"/>
                  </a:cubicBezTo>
                  <a:cubicBezTo>
                    <a:pt x="23" y="22"/>
                    <a:pt x="22" y="24"/>
                    <a:pt x="22" y="27"/>
                  </a:cubicBezTo>
                  <a:cubicBezTo>
                    <a:pt x="22" y="31"/>
                    <a:pt x="23" y="34"/>
                    <a:pt x="26" y="37"/>
                  </a:cubicBezTo>
                  <a:cubicBezTo>
                    <a:pt x="28" y="40"/>
                    <a:pt x="31" y="43"/>
                    <a:pt x="34" y="45"/>
                  </a:cubicBezTo>
                  <a:cubicBezTo>
                    <a:pt x="38" y="48"/>
                    <a:pt x="42" y="50"/>
                    <a:pt x="47" y="52"/>
                  </a:cubicBezTo>
                  <a:cubicBezTo>
                    <a:pt x="51" y="54"/>
                    <a:pt x="56" y="56"/>
                    <a:pt x="61" y="58"/>
                  </a:cubicBezTo>
                  <a:cubicBezTo>
                    <a:pt x="66" y="60"/>
                    <a:pt x="71" y="62"/>
                    <a:pt x="75" y="65"/>
                  </a:cubicBezTo>
                  <a:cubicBezTo>
                    <a:pt x="80" y="67"/>
                    <a:pt x="84" y="70"/>
                    <a:pt x="88" y="73"/>
                  </a:cubicBezTo>
                  <a:cubicBezTo>
                    <a:pt x="91" y="77"/>
                    <a:pt x="94" y="80"/>
                    <a:pt x="97" y="84"/>
                  </a:cubicBezTo>
                  <a:cubicBezTo>
                    <a:pt x="99" y="89"/>
                    <a:pt x="100" y="93"/>
                    <a:pt x="100" y="99"/>
                  </a:cubicBezTo>
                  <a:cubicBezTo>
                    <a:pt x="100" y="105"/>
                    <a:pt x="99" y="110"/>
                    <a:pt x="97" y="115"/>
                  </a:cubicBezTo>
                  <a:cubicBezTo>
                    <a:pt x="95" y="120"/>
                    <a:pt x="92" y="124"/>
                    <a:pt x="87" y="128"/>
                  </a:cubicBezTo>
                  <a:cubicBezTo>
                    <a:pt x="83" y="131"/>
                    <a:pt x="78" y="134"/>
                    <a:pt x="71" y="136"/>
                  </a:cubicBezTo>
                  <a:cubicBezTo>
                    <a:pt x="65" y="138"/>
                    <a:pt x="58" y="139"/>
                    <a:pt x="49" y="139"/>
                  </a:cubicBezTo>
                  <a:cubicBezTo>
                    <a:pt x="45" y="139"/>
                    <a:pt x="41" y="139"/>
                    <a:pt x="37" y="138"/>
                  </a:cubicBezTo>
                  <a:cubicBezTo>
                    <a:pt x="33" y="138"/>
                    <a:pt x="29" y="137"/>
                    <a:pt x="25" y="135"/>
                  </a:cubicBezTo>
                  <a:cubicBezTo>
                    <a:pt x="20" y="133"/>
                    <a:pt x="16" y="131"/>
                    <a:pt x="12" y="127"/>
                  </a:cubicBezTo>
                  <a:cubicBezTo>
                    <a:pt x="8" y="124"/>
                    <a:pt x="4" y="120"/>
                    <a:pt x="0" y="115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14" y="109"/>
                    <a:pt x="17" y="113"/>
                    <a:pt x="20" y="116"/>
                  </a:cubicBezTo>
                  <a:cubicBezTo>
                    <a:pt x="23" y="120"/>
                    <a:pt x="26" y="122"/>
                    <a:pt x="29" y="124"/>
                  </a:cubicBezTo>
                  <a:cubicBezTo>
                    <a:pt x="32" y="126"/>
                    <a:pt x="35" y="128"/>
                    <a:pt x="38" y="129"/>
                  </a:cubicBezTo>
                  <a:cubicBezTo>
                    <a:pt x="42" y="130"/>
                    <a:pt x="45" y="130"/>
                    <a:pt x="49" y="130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3826987" y="359266"/>
            <a:ext cx="660852" cy="673216"/>
            <a:chOff x="-1350" y="3305"/>
            <a:chExt cx="1176" cy="1198"/>
          </a:xfrm>
        </p:grpSpPr>
        <p:sp>
          <p:nvSpPr>
            <p:cNvPr id="22" name="Freeform 5"/>
            <p:cNvSpPr>
              <a:spLocks noEditPoints="1"/>
            </p:cNvSpPr>
            <p:nvPr/>
          </p:nvSpPr>
          <p:spPr bwMode="auto">
            <a:xfrm>
              <a:off x="-1246" y="3517"/>
              <a:ext cx="967" cy="986"/>
            </a:xfrm>
            <a:custGeom>
              <a:avLst/>
              <a:gdLst>
                <a:gd name="T0" fmla="*/ 967 w 967"/>
                <a:gd name="T1" fmla="*/ 986 h 986"/>
                <a:gd name="T2" fmla="*/ 0 w 967"/>
                <a:gd name="T3" fmla="*/ 986 h 986"/>
                <a:gd name="T4" fmla="*/ 0 w 967"/>
                <a:gd name="T5" fmla="*/ 0 h 986"/>
                <a:gd name="T6" fmla="*/ 967 w 967"/>
                <a:gd name="T7" fmla="*/ 0 h 986"/>
                <a:gd name="T8" fmla="*/ 967 w 967"/>
                <a:gd name="T9" fmla="*/ 986 h 986"/>
                <a:gd name="T10" fmla="*/ 12 w 967"/>
                <a:gd name="T11" fmla="*/ 974 h 986"/>
                <a:gd name="T12" fmla="*/ 953 w 967"/>
                <a:gd name="T13" fmla="*/ 974 h 986"/>
                <a:gd name="T14" fmla="*/ 953 w 967"/>
                <a:gd name="T15" fmla="*/ 14 h 986"/>
                <a:gd name="T16" fmla="*/ 12 w 967"/>
                <a:gd name="T17" fmla="*/ 14 h 986"/>
                <a:gd name="T18" fmla="*/ 12 w 967"/>
                <a:gd name="T19" fmla="*/ 974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7" h="986">
                  <a:moveTo>
                    <a:pt x="967" y="986"/>
                  </a:moveTo>
                  <a:lnTo>
                    <a:pt x="0" y="986"/>
                  </a:lnTo>
                  <a:lnTo>
                    <a:pt x="0" y="0"/>
                  </a:lnTo>
                  <a:lnTo>
                    <a:pt x="967" y="0"/>
                  </a:lnTo>
                  <a:lnTo>
                    <a:pt x="967" y="986"/>
                  </a:lnTo>
                  <a:close/>
                  <a:moveTo>
                    <a:pt x="12" y="974"/>
                  </a:moveTo>
                  <a:lnTo>
                    <a:pt x="953" y="974"/>
                  </a:lnTo>
                  <a:lnTo>
                    <a:pt x="953" y="14"/>
                  </a:lnTo>
                  <a:lnTo>
                    <a:pt x="12" y="14"/>
                  </a:lnTo>
                  <a:lnTo>
                    <a:pt x="12" y="974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3" name="Freeform 6"/>
            <p:cNvSpPr>
              <a:spLocks noEditPoints="1"/>
            </p:cNvSpPr>
            <p:nvPr/>
          </p:nvSpPr>
          <p:spPr bwMode="auto">
            <a:xfrm>
              <a:off x="-1350" y="3305"/>
              <a:ext cx="1176" cy="1179"/>
            </a:xfrm>
            <a:custGeom>
              <a:avLst/>
              <a:gdLst>
                <a:gd name="T0" fmla="*/ 248 w 495"/>
                <a:gd name="T1" fmla="*/ 496 h 496"/>
                <a:gd name="T2" fmla="*/ 0 w 495"/>
                <a:gd name="T3" fmla="*/ 248 h 496"/>
                <a:gd name="T4" fmla="*/ 248 w 495"/>
                <a:gd name="T5" fmla="*/ 0 h 496"/>
                <a:gd name="T6" fmla="*/ 495 w 495"/>
                <a:gd name="T7" fmla="*/ 248 h 496"/>
                <a:gd name="T8" fmla="*/ 248 w 495"/>
                <a:gd name="T9" fmla="*/ 496 h 496"/>
                <a:gd name="T10" fmla="*/ 248 w 495"/>
                <a:gd name="T11" fmla="*/ 6 h 496"/>
                <a:gd name="T12" fmla="*/ 5 w 495"/>
                <a:gd name="T13" fmla="*/ 248 h 496"/>
                <a:gd name="T14" fmla="*/ 248 w 495"/>
                <a:gd name="T15" fmla="*/ 490 h 496"/>
                <a:gd name="T16" fmla="*/ 490 w 495"/>
                <a:gd name="T17" fmla="*/ 248 h 496"/>
                <a:gd name="T18" fmla="*/ 248 w 495"/>
                <a:gd name="T19" fmla="*/ 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5" h="496">
                  <a:moveTo>
                    <a:pt x="248" y="496"/>
                  </a:moveTo>
                  <a:cubicBezTo>
                    <a:pt x="111" y="496"/>
                    <a:pt x="0" y="385"/>
                    <a:pt x="0" y="248"/>
                  </a:cubicBezTo>
                  <a:cubicBezTo>
                    <a:pt x="0" y="111"/>
                    <a:pt x="111" y="0"/>
                    <a:pt x="248" y="0"/>
                  </a:cubicBezTo>
                  <a:cubicBezTo>
                    <a:pt x="384" y="0"/>
                    <a:pt x="495" y="111"/>
                    <a:pt x="495" y="248"/>
                  </a:cubicBezTo>
                  <a:cubicBezTo>
                    <a:pt x="495" y="385"/>
                    <a:pt x="384" y="496"/>
                    <a:pt x="248" y="496"/>
                  </a:cubicBezTo>
                  <a:moveTo>
                    <a:pt x="248" y="6"/>
                  </a:moveTo>
                  <a:cubicBezTo>
                    <a:pt x="114" y="6"/>
                    <a:pt x="5" y="114"/>
                    <a:pt x="5" y="248"/>
                  </a:cubicBezTo>
                  <a:cubicBezTo>
                    <a:pt x="5" y="382"/>
                    <a:pt x="114" y="490"/>
                    <a:pt x="248" y="490"/>
                  </a:cubicBezTo>
                  <a:cubicBezTo>
                    <a:pt x="381" y="490"/>
                    <a:pt x="490" y="382"/>
                    <a:pt x="490" y="248"/>
                  </a:cubicBezTo>
                  <a:cubicBezTo>
                    <a:pt x="490" y="114"/>
                    <a:pt x="381" y="6"/>
                    <a:pt x="248" y="6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auto">
            <a:xfrm>
              <a:off x="-1241" y="3688"/>
              <a:ext cx="955" cy="14"/>
            </a:xfrm>
            <a:prstGeom prst="rect">
              <a:avLst/>
            </a:pr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5" name="Rectangle 8"/>
            <p:cNvSpPr>
              <a:spLocks noChangeArrowheads="1"/>
            </p:cNvSpPr>
            <p:nvPr/>
          </p:nvSpPr>
          <p:spPr bwMode="auto">
            <a:xfrm>
              <a:off x="-768" y="3312"/>
              <a:ext cx="12" cy="668"/>
            </a:xfrm>
            <a:prstGeom prst="rect">
              <a:avLst/>
            </a:pr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6" name="Freeform 9"/>
            <p:cNvSpPr>
              <a:spLocks/>
            </p:cNvSpPr>
            <p:nvPr/>
          </p:nvSpPr>
          <p:spPr bwMode="auto">
            <a:xfrm>
              <a:off x="-1034" y="3966"/>
              <a:ext cx="546" cy="449"/>
            </a:xfrm>
            <a:custGeom>
              <a:avLst/>
              <a:gdLst>
                <a:gd name="T0" fmla="*/ 534 w 546"/>
                <a:gd name="T1" fmla="*/ 449 h 449"/>
                <a:gd name="T2" fmla="*/ 270 w 546"/>
                <a:gd name="T3" fmla="*/ 26 h 449"/>
                <a:gd name="T4" fmla="*/ 9 w 546"/>
                <a:gd name="T5" fmla="*/ 449 h 449"/>
                <a:gd name="T6" fmla="*/ 0 w 546"/>
                <a:gd name="T7" fmla="*/ 442 h 449"/>
                <a:gd name="T8" fmla="*/ 270 w 546"/>
                <a:gd name="T9" fmla="*/ 0 h 449"/>
                <a:gd name="T10" fmla="*/ 546 w 546"/>
                <a:gd name="T11" fmla="*/ 442 h 449"/>
                <a:gd name="T12" fmla="*/ 534 w 546"/>
                <a:gd name="T13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6" h="449">
                  <a:moveTo>
                    <a:pt x="534" y="449"/>
                  </a:moveTo>
                  <a:lnTo>
                    <a:pt x="270" y="26"/>
                  </a:lnTo>
                  <a:lnTo>
                    <a:pt x="9" y="449"/>
                  </a:lnTo>
                  <a:lnTo>
                    <a:pt x="0" y="442"/>
                  </a:lnTo>
                  <a:lnTo>
                    <a:pt x="270" y="0"/>
                  </a:lnTo>
                  <a:lnTo>
                    <a:pt x="546" y="442"/>
                  </a:lnTo>
                  <a:lnTo>
                    <a:pt x="534" y="449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7" name="Freeform 10"/>
            <p:cNvSpPr>
              <a:spLocks/>
            </p:cNvSpPr>
            <p:nvPr/>
          </p:nvSpPr>
          <p:spPr bwMode="auto">
            <a:xfrm>
              <a:off x="-1244" y="3517"/>
              <a:ext cx="960" cy="254"/>
            </a:xfrm>
            <a:custGeom>
              <a:avLst/>
              <a:gdLst>
                <a:gd name="T0" fmla="*/ 483 w 960"/>
                <a:gd name="T1" fmla="*/ 254 h 254"/>
                <a:gd name="T2" fmla="*/ 0 w 960"/>
                <a:gd name="T3" fmla="*/ 11 h 254"/>
                <a:gd name="T4" fmla="*/ 8 w 960"/>
                <a:gd name="T5" fmla="*/ 0 h 254"/>
                <a:gd name="T6" fmla="*/ 483 w 960"/>
                <a:gd name="T7" fmla="*/ 237 h 254"/>
                <a:gd name="T8" fmla="*/ 956 w 960"/>
                <a:gd name="T9" fmla="*/ 0 h 254"/>
                <a:gd name="T10" fmla="*/ 960 w 960"/>
                <a:gd name="T11" fmla="*/ 11 h 254"/>
                <a:gd name="T12" fmla="*/ 483 w 960"/>
                <a:gd name="T13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0" h="254">
                  <a:moveTo>
                    <a:pt x="483" y="254"/>
                  </a:moveTo>
                  <a:lnTo>
                    <a:pt x="0" y="11"/>
                  </a:lnTo>
                  <a:lnTo>
                    <a:pt x="8" y="0"/>
                  </a:lnTo>
                  <a:lnTo>
                    <a:pt x="483" y="237"/>
                  </a:lnTo>
                  <a:lnTo>
                    <a:pt x="956" y="0"/>
                  </a:lnTo>
                  <a:lnTo>
                    <a:pt x="960" y="11"/>
                  </a:lnTo>
                  <a:lnTo>
                    <a:pt x="483" y="254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3021197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750"/>
                            </p:stCondLst>
                            <p:childTnLst>
                              <p:par>
                                <p:cTn id="24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25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10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250"/>
                            </p:stCondLst>
                            <p:childTnLst>
                              <p:par>
                                <p:cTn id="3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10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dzia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a 3"/>
          <p:cNvGrpSpPr/>
          <p:nvPr userDrawn="1"/>
        </p:nvGrpSpPr>
        <p:grpSpPr>
          <a:xfrm>
            <a:off x="274440" y="812801"/>
            <a:ext cx="3476110" cy="1059542"/>
            <a:chOff x="1003301" y="885372"/>
            <a:chExt cx="4343591" cy="1323956"/>
          </a:xfrm>
        </p:grpSpPr>
        <p:grpSp>
          <p:nvGrpSpPr>
            <p:cNvPr id="7" name="Group 13"/>
            <p:cNvGrpSpPr>
              <a:grpSpLocks noChangeAspect="1"/>
            </p:cNvGrpSpPr>
            <p:nvPr userDrawn="1"/>
          </p:nvGrpSpPr>
          <p:grpSpPr bwMode="auto">
            <a:xfrm>
              <a:off x="2490262" y="978607"/>
              <a:ext cx="2856630" cy="1164473"/>
              <a:chOff x="2515" y="2849"/>
              <a:chExt cx="2566" cy="1046"/>
            </a:xfrm>
            <a:solidFill>
              <a:schemeClr val="bg1"/>
            </a:solidFill>
          </p:grpSpPr>
          <p:sp>
            <p:nvSpPr>
              <p:cNvPr id="8" name="Freeform 14"/>
              <p:cNvSpPr>
                <a:spLocks noEditPoints="1"/>
              </p:cNvSpPr>
              <p:nvPr/>
            </p:nvSpPr>
            <p:spPr bwMode="auto">
              <a:xfrm>
                <a:off x="2533" y="3006"/>
                <a:ext cx="306" cy="330"/>
              </a:xfrm>
              <a:custGeom>
                <a:avLst/>
                <a:gdLst>
                  <a:gd name="T0" fmla="*/ 66 w 129"/>
                  <a:gd name="T1" fmla="*/ 139 h 139"/>
                  <a:gd name="T2" fmla="*/ 40 w 129"/>
                  <a:gd name="T3" fmla="*/ 134 h 139"/>
                  <a:gd name="T4" fmla="*/ 19 w 129"/>
                  <a:gd name="T5" fmla="*/ 120 h 139"/>
                  <a:gd name="T6" fmla="*/ 5 w 129"/>
                  <a:gd name="T7" fmla="*/ 100 h 139"/>
                  <a:gd name="T8" fmla="*/ 0 w 129"/>
                  <a:gd name="T9" fmla="*/ 74 h 139"/>
                  <a:gd name="T10" fmla="*/ 5 w 129"/>
                  <a:gd name="T11" fmla="*/ 44 h 139"/>
                  <a:gd name="T12" fmla="*/ 18 w 129"/>
                  <a:gd name="T13" fmla="*/ 21 h 139"/>
                  <a:gd name="T14" fmla="*/ 39 w 129"/>
                  <a:gd name="T15" fmla="*/ 5 h 139"/>
                  <a:gd name="T16" fmla="*/ 66 w 129"/>
                  <a:gd name="T17" fmla="*/ 0 h 139"/>
                  <a:gd name="T18" fmla="*/ 90 w 129"/>
                  <a:gd name="T19" fmla="*/ 4 h 139"/>
                  <a:gd name="T20" fmla="*/ 109 w 129"/>
                  <a:gd name="T21" fmla="*/ 17 h 139"/>
                  <a:gd name="T22" fmla="*/ 121 w 129"/>
                  <a:gd name="T23" fmla="*/ 35 h 139"/>
                  <a:gd name="T24" fmla="*/ 125 w 129"/>
                  <a:gd name="T25" fmla="*/ 56 h 139"/>
                  <a:gd name="T26" fmla="*/ 26 w 129"/>
                  <a:gd name="T27" fmla="*/ 56 h 139"/>
                  <a:gd name="T28" fmla="*/ 29 w 129"/>
                  <a:gd name="T29" fmla="*/ 81 h 139"/>
                  <a:gd name="T30" fmla="*/ 39 w 129"/>
                  <a:gd name="T31" fmla="*/ 101 h 139"/>
                  <a:gd name="T32" fmla="*/ 54 w 129"/>
                  <a:gd name="T33" fmla="*/ 114 h 139"/>
                  <a:gd name="T34" fmla="*/ 73 w 129"/>
                  <a:gd name="T35" fmla="*/ 119 h 139"/>
                  <a:gd name="T36" fmla="*/ 89 w 129"/>
                  <a:gd name="T37" fmla="*/ 116 h 139"/>
                  <a:gd name="T38" fmla="*/ 104 w 129"/>
                  <a:gd name="T39" fmla="*/ 108 h 139"/>
                  <a:gd name="T40" fmla="*/ 115 w 129"/>
                  <a:gd name="T41" fmla="*/ 98 h 139"/>
                  <a:gd name="T42" fmla="*/ 121 w 129"/>
                  <a:gd name="T43" fmla="*/ 86 h 139"/>
                  <a:gd name="T44" fmla="*/ 129 w 129"/>
                  <a:gd name="T45" fmla="*/ 89 h 139"/>
                  <a:gd name="T46" fmla="*/ 120 w 129"/>
                  <a:gd name="T47" fmla="*/ 109 h 139"/>
                  <a:gd name="T48" fmla="*/ 105 w 129"/>
                  <a:gd name="T49" fmla="*/ 124 h 139"/>
                  <a:gd name="T50" fmla="*/ 86 w 129"/>
                  <a:gd name="T51" fmla="*/ 135 h 139"/>
                  <a:gd name="T52" fmla="*/ 66 w 129"/>
                  <a:gd name="T53" fmla="*/ 139 h 139"/>
                  <a:gd name="T54" fmla="*/ 92 w 129"/>
                  <a:gd name="T55" fmla="*/ 45 h 139"/>
                  <a:gd name="T56" fmla="*/ 89 w 129"/>
                  <a:gd name="T57" fmla="*/ 31 h 139"/>
                  <a:gd name="T58" fmla="*/ 82 w 129"/>
                  <a:gd name="T59" fmla="*/ 20 h 139"/>
                  <a:gd name="T60" fmla="*/ 71 w 129"/>
                  <a:gd name="T61" fmla="*/ 12 h 139"/>
                  <a:gd name="T62" fmla="*/ 58 w 129"/>
                  <a:gd name="T63" fmla="*/ 10 h 139"/>
                  <a:gd name="T64" fmla="*/ 46 w 129"/>
                  <a:gd name="T65" fmla="*/ 12 h 139"/>
                  <a:gd name="T66" fmla="*/ 36 w 129"/>
                  <a:gd name="T67" fmla="*/ 20 h 139"/>
                  <a:gd name="T68" fmla="*/ 29 w 129"/>
                  <a:gd name="T69" fmla="*/ 31 h 139"/>
                  <a:gd name="T70" fmla="*/ 26 w 129"/>
                  <a:gd name="T71" fmla="*/ 45 h 139"/>
                  <a:gd name="T72" fmla="*/ 92 w 129"/>
                  <a:gd name="T73" fmla="*/ 4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9" h="139">
                    <a:moveTo>
                      <a:pt x="66" y="139"/>
                    </a:moveTo>
                    <a:cubicBezTo>
                      <a:pt x="57" y="139"/>
                      <a:pt x="48" y="137"/>
                      <a:pt x="40" y="134"/>
                    </a:cubicBezTo>
                    <a:cubicBezTo>
                      <a:pt x="32" y="131"/>
                      <a:pt x="25" y="126"/>
                      <a:pt x="19" y="120"/>
                    </a:cubicBezTo>
                    <a:cubicBezTo>
                      <a:pt x="13" y="114"/>
                      <a:pt x="9" y="107"/>
                      <a:pt x="5" y="100"/>
                    </a:cubicBezTo>
                    <a:cubicBezTo>
                      <a:pt x="2" y="92"/>
                      <a:pt x="0" y="83"/>
                      <a:pt x="0" y="74"/>
                    </a:cubicBezTo>
                    <a:cubicBezTo>
                      <a:pt x="0" y="64"/>
                      <a:pt x="2" y="54"/>
                      <a:pt x="5" y="44"/>
                    </a:cubicBezTo>
                    <a:cubicBezTo>
                      <a:pt x="8" y="35"/>
                      <a:pt x="12" y="27"/>
                      <a:pt x="18" y="21"/>
                    </a:cubicBezTo>
                    <a:cubicBezTo>
                      <a:pt x="24" y="14"/>
                      <a:pt x="31" y="9"/>
                      <a:pt x="39" y="5"/>
                    </a:cubicBezTo>
                    <a:cubicBezTo>
                      <a:pt x="47" y="1"/>
                      <a:pt x="56" y="0"/>
                      <a:pt x="66" y="0"/>
                    </a:cubicBezTo>
                    <a:cubicBezTo>
                      <a:pt x="75" y="0"/>
                      <a:pt x="83" y="1"/>
                      <a:pt x="90" y="4"/>
                    </a:cubicBezTo>
                    <a:cubicBezTo>
                      <a:pt x="97" y="7"/>
                      <a:pt x="104" y="11"/>
                      <a:pt x="109" y="17"/>
                    </a:cubicBezTo>
                    <a:cubicBezTo>
                      <a:pt x="114" y="22"/>
                      <a:pt x="118" y="28"/>
                      <a:pt x="121" y="35"/>
                    </a:cubicBezTo>
                    <a:cubicBezTo>
                      <a:pt x="124" y="41"/>
                      <a:pt x="125" y="49"/>
                      <a:pt x="125" y="56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26" y="65"/>
                      <a:pt x="27" y="73"/>
                      <a:pt x="29" y="81"/>
                    </a:cubicBezTo>
                    <a:cubicBezTo>
                      <a:pt x="31" y="89"/>
                      <a:pt x="35" y="95"/>
                      <a:pt x="39" y="101"/>
                    </a:cubicBezTo>
                    <a:cubicBezTo>
                      <a:pt x="43" y="106"/>
                      <a:pt x="48" y="111"/>
                      <a:pt x="54" y="114"/>
                    </a:cubicBezTo>
                    <a:cubicBezTo>
                      <a:pt x="59" y="117"/>
                      <a:pt x="66" y="119"/>
                      <a:pt x="73" y="119"/>
                    </a:cubicBezTo>
                    <a:cubicBezTo>
                      <a:pt x="79" y="119"/>
                      <a:pt x="84" y="118"/>
                      <a:pt x="89" y="116"/>
                    </a:cubicBezTo>
                    <a:cubicBezTo>
                      <a:pt x="95" y="114"/>
                      <a:pt x="100" y="112"/>
                      <a:pt x="104" y="108"/>
                    </a:cubicBezTo>
                    <a:cubicBezTo>
                      <a:pt x="108" y="105"/>
                      <a:pt x="112" y="102"/>
                      <a:pt x="115" y="98"/>
                    </a:cubicBezTo>
                    <a:cubicBezTo>
                      <a:pt x="118" y="94"/>
                      <a:pt x="120" y="90"/>
                      <a:pt x="121" y="86"/>
                    </a:cubicBezTo>
                    <a:cubicBezTo>
                      <a:pt x="129" y="89"/>
                      <a:pt x="129" y="89"/>
                      <a:pt x="129" y="89"/>
                    </a:cubicBezTo>
                    <a:cubicBezTo>
                      <a:pt x="127" y="96"/>
                      <a:pt x="124" y="103"/>
                      <a:pt x="120" y="109"/>
                    </a:cubicBezTo>
                    <a:cubicBezTo>
                      <a:pt x="115" y="115"/>
                      <a:pt x="110" y="120"/>
                      <a:pt x="105" y="124"/>
                    </a:cubicBezTo>
                    <a:cubicBezTo>
                      <a:pt x="99" y="129"/>
                      <a:pt x="93" y="132"/>
                      <a:pt x="86" y="135"/>
                    </a:cubicBezTo>
                    <a:cubicBezTo>
                      <a:pt x="79" y="138"/>
                      <a:pt x="73" y="139"/>
                      <a:pt x="66" y="139"/>
                    </a:cubicBezTo>
                    <a:moveTo>
                      <a:pt x="92" y="45"/>
                    </a:moveTo>
                    <a:cubicBezTo>
                      <a:pt x="92" y="40"/>
                      <a:pt x="91" y="36"/>
                      <a:pt x="89" y="31"/>
                    </a:cubicBezTo>
                    <a:cubicBezTo>
                      <a:pt x="88" y="27"/>
                      <a:pt x="85" y="23"/>
                      <a:pt x="82" y="20"/>
                    </a:cubicBezTo>
                    <a:cubicBezTo>
                      <a:pt x="79" y="17"/>
                      <a:pt x="75" y="14"/>
                      <a:pt x="71" y="12"/>
                    </a:cubicBezTo>
                    <a:cubicBezTo>
                      <a:pt x="67" y="10"/>
                      <a:pt x="62" y="10"/>
                      <a:pt x="58" y="10"/>
                    </a:cubicBezTo>
                    <a:cubicBezTo>
                      <a:pt x="54" y="10"/>
                      <a:pt x="50" y="10"/>
                      <a:pt x="46" y="12"/>
                    </a:cubicBezTo>
                    <a:cubicBezTo>
                      <a:pt x="42" y="14"/>
                      <a:pt x="39" y="17"/>
                      <a:pt x="36" y="20"/>
                    </a:cubicBezTo>
                    <a:cubicBezTo>
                      <a:pt x="33" y="23"/>
                      <a:pt x="31" y="27"/>
                      <a:pt x="29" y="31"/>
                    </a:cubicBezTo>
                    <a:cubicBezTo>
                      <a:pt x="27" y="36"/>
                      <a:pt x="26" y="40"/>
                      <a:pt x="26" y="45"/>
                    </a:cubicBezTo>
                    <a:lnTo>
                      <a:pt x="92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9" name="Freeform 15"/>
              <p:cNvSpPr>
                <a:spLocks/>
              </p:cNvSpPr>
              <p:nvPr/>
            </p:nvSpPr>
            <p:spPr bwMode="auto">
              <a:xfrm>
                <a:off x="2849" y="3013"/>
                <a:ext cx="324" cy="316"/>
              </a:xfrm>
              <a:custGeom>
                <a:avLst/>
                <a:gdLst>
                  <a:gd name="T0" fmla="*/ 33 w 324"/>
                  <a:gd name="T1" fmla="*/ 316 h 316"/>
                  <a:gd name="T2" fmla="*/ 0 w 324"/>
                  <a:gd name="T3" fmla="*/ 316 h 316"/>
                  <a:gd name="T4" fmla="*/ 132 w 324"/>
                  <a:gd name="T5" fmla="*/ 155 h 316"/>
                  <a:gd name="T6" fmla="*/ 19 w 324"/>
                  <a:gd name="T7" fmla="*/ 0 h 316"/>
                  <a:gd name="T8" fmla="*/ 94 w 324"/>
                  <a:gd name="T9" fmla="*/ 0 h 316"/>
                  <a:gd name="T10" fmla="*/ 170 w 324"/>
                  <a:gd name="T11" fmla="*/ 105 h 316"/>
                  <a:gd name="T12" fmla="*/ 258 w 324"/>
                  <a:gd name="T13" fmla="*/ 0 h 316"/>
                  <a:gd name="T14" fmla="*/ 293 w 324"/>
                  <a:gd name="T15" fmla="*/ 0 h 316"/>
                  <a:gd name="T16" fmla="*/ 187 w 324"/>
                  <a:gd name="T17" fmla="*/ 128 h 316"/>
                  <a:gd name="T18" fmla="*/ 324 w 324"/>
                  <a:gd name="T19" fmla="*/ 316 h 316"/>
                  <a:gd name="T20" fmla="*/ 248 w 324"/>
                  <a:gd name="T21" fmla="*/ 316 h 316"/>
                  <a:gd name="T22" fmla="*/ 149 w 324"/>
                  <a:gd name="T23" fmla="*/ 176 h 316"/>
                  <a:gd name="T24" fmla="*/ 33 w 324"/>
                  <a:gd name="T25" fmla="*/ 316 h 3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4" h="316">
                    <a:moveTo>
                      <a:pt x="33" y="316"/>
                    </a:moveTo>
                    <a:lnTo>
                      <a:pt x="0" y="316"/>
                    </a:lnTo>
                    <a:lnTo>
                      <a:pt x="132" y="155"/>
                    </a:lnTo>
                    <a:lnTo>
                      <a:pt x="19" y="0"/>
                    </a:lnTo>
                    <a:lnTo>
                      <a:pt x="94" y="0"/>
                    </a:lnTo>
                    <a:lnTo>
                      <a:pt x="170" y="105"/>
                    </a:lnTo>
                    <a:lnTo>
                      <a:pt x="258" y="0"/>
                    </a:lnTo>
                    <a:lnTo>
                      <a:pt x="293" y="0"/>
                    </a:lnTo>
                    <a:lnTo>
                      <a:pt x="187" y="128"/>
                    </a:lnTo>
                    <a:lnTo>
                      <a:pt x="324" y="316"/>
                    </a:lnTo>
                    <a:lnTo>
                      <a:pt x="248" y="316"/>
                    </a:lnTo>
                    <a:lnTo>
                      <a:pt x="149" y="176"/>
                    </a:lnTo>
                    <a:lnTo>
                      <a:pt x="33" y="3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10" name="Freeform 16"/>
              <p:cNvSpPr>
                <a:spLocks/>
              </p:cNvSpPr>
              <p:nvPr/>
            </p:nvSpPr>
            <p:spPr bwMode="auto">
              <a:xfrm>
                <a:off x="3157" y="2904"/>
                <a:ext cx="203" cy="432"/>
              </a:xfrm>
              <a:custGeom>
                <a:avLst/>
                <a:gdLst>
                  <a:gd name="T0" fmla="*/ 86 w 86"/>
                  <a:gd name="T1" fmla="*/ 162 h 182"/>
                  <a:gd name="T2" fmla="*/ 71 w 86"/>
                  <a:gd name="T3" fmla="*/ 177 h 182"/>
                  <a:gd name="T4" fmla="*/ 50 w 86"/>
                  <a:gd name="T5" fmla="*/ 182 h 182"/>
                  <a:gd name="T6" fmla="*/ 38 w 86"/>
                  <a:gd name="T7" fmla="*/ 180 h 182"/>
                  <a:gd name="T8" fmla="*/ 30 w 86"/>
                  <a:gd name="T9" fmla="*/ 173 h 182"/>
                  <a:gd name="T10" fmla="*/ 25 w 86"/>
                  <a:gd name="T11" fmla="*/ 164 h 182"/>
                  <a:gd name="T12" fmla="*/ 23 w 86"/>
                  <a:gd name="T13" fmla="*/ 151 h 182"/>
                  <a:gd name="T14" fmla="*/ 23 w 86"/>
                  <a:gd name="T15" fmla="*/ 57 h 182"/>
                  <a:gd name="T16" fmla="*/ 0 w 86"/>
                  <a:gd name="T17" fmla="*/ 57 h 182"/>
                  <a:gd name="T18" fmla="*/ 0 w 86"/>
                  <a:gd name="T19" fmla="*/ 50 h 182"/>
                  <a:gd name="T20" fmla="*/ 19 w 86"/>
                  <a:gd name="T21" fmla="*/ 46 h 182"/>
                  <a:gd name="T22" fmla="*/ 31 w 86"/>
                  <a:gd name="T23" fmla="*/ 35 h 182"/>
                  <a:gd name="T24" fmla="*/ 38 w 86"/>
                  <a:gd name="T25" fmla="*/ 19 h 182"/>
                  <a:gd name="T26" fmla="*/ 42 w 86"/>
                  <a:gd name="T27" fmla="*/ 0 h 182"/>
                  <a:gd name="T28" fmla="*/ 50 w 86"/>
                  <a:gd name="T29" fmla="*/ 0 h 182"/>
                  <a:gd name="T30" fmla="*/ 50 w 86"/>
                  <a:gd name="T31" fmla="*/ 45 h 182"/>
                  <a:gd name="T32" fmla="*/ 80 w 86"/>
                  <a:gd name="T33" fmla="*/ 45 h 182"/>
                  <a:gd name="T34" fmla="*/ 80 w 86"/>
                  <a:gd name="T35" fmla="*/ 57 h 182"/>
                  <a:gd name="T36" fmla="*/ 50 w 86"/>
                  <a:gd name="T37" fmla="*/ 57 h 182"/>
                  <a:gd name="T38" fmla="*/ 50 w 86"/>
                  <a:gd name="T39" fmla="*/ 151 h 182"/>
                  <a:gd name="T40" fmla="*/ 54 w 86"/>
                  <a:gd name="T41" fmla="*/ 161 h 182"/>
                  <a:gd name="T42" fmla="*/ 64 w 86"/>
                  <a:gd name="T43" fmla="*/ 165 h 182"/>
                  <a:gd name="T44" fmla="*/ 73 w 86"/>
                  <a:gd name="T45" fmla="*/ 163 h 182"/>
                  <a:gd name="T46" fmla="*/ 79 w 86"/>
                  <a:gd name="T47" fmla="*/ 158 h 182"/>
                  <a:gd name="T48" fmla="*/ 86 w 86"/>
                  <a:gd name="T49" fmla="*/ 162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6" h="182">
                    <a:moveTo>
                      <a:pt x="86" y="162"/>
                    </a:moveTo>
                    <a:cubicBezTo>
                      <a:pt x="82" y="168"/>
                      <a:pt x="77" y="173"/>
                      <a:pt x="71" y="177"/>
                    </a:cubicBezTo>
                    <a:cubicBezTo>
                      <a:pt x="65" y="180"/>
                      <a:pt x="58" y="182"/>
                      <a:pt x="50" y="182"/>
                    </a:cubicBezTo>
                    <a:cubicBezTo>
                      <a:pt x="45" y="182"/>
                      <a:pt x="41" y="181"/>
                      <a:pt x="38" y="180"/>
                    </a:cubicBezTo>
                    <a:cubicBezTo>
                      <a:pt x="35" y="178"/>
                      <a:pt x="32" y="176"/>
                      <a:pt x="30" y="173"/>
                    </a:cubicBezTo>
                    <a:cubicBezTo>
                      <a:pt x="28" y="171"/>
                      <a:pt x="26" y="167"/>
                      <a:pt x="25" y="164"/>
                    </a:cubicBezTo>
                    <a:cubicBezTo>
                      <a:pt x="24" y="160"/>
                      <a:pt x="23" y="156"/>
                      <a:pt x="23" y="151"/>
                    </a:cubicBezTo>
                    <a:cubicBezTo>
                      <a:pt x="23" y="57"/>
                      <a:pt x="23" y="57"/>
                      <a:pt x="23" y="5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8" y="50"/>
                      <a:pt x="14" y="49"/>
                      <a:pt x="19" y="46"/>
                    </a:cubicBezTo>
                    <a:cubicBezTo>
                      <a:pt x="23" y="43"/>
                      <a:pt x="27" y="40"/>
                      <a:pt x="31" y="35"/>
                    </a:cubicBezTo>
                    <a:cubicBezTo>
                      <a:pt x="34" y="30"/>
                      <a:pt x="36" y="25"/>
                      <a:pt x="38" y="19"/>
                    </a:cubicBezTo>
                    <a:cubicBezTo>
                      <a:pt x="40" y="13"/>
                      <a:pt x="41" y="6"/>
                      <a:pt x="42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0" y="45"/>
                      <a:pt x="50" y="45"/>
                      <a:pt x="50" y="45"/>
                    </a:cubicBezTo>
                    <a:cubicBezTo>
                      <a:pt x="80" y="45"/>
                      <a:pt x="80" y="45"/>
                      <a:pt x="80" y="45"/>
                    </a:cubicBezTo>
                    <a:cubicBezTo>
                      <a:pt x="80" y="57"/>
                      <a:pt x="80" y="57"/>
                      <a:pt x="80" y="57"/>
                    </a:cubicBezTo>
                    <a:cubicBezTo>
                      <a:pt x="50" y="57"/>
                      <a:pt x="50" y="57"/>
                      <a:pt x="50" y="57"/>
                    </a:cubicBezTo>
                    <a:cubicBezTo>
                      <a:pt x="50" y="151"/>
                      <a:pt x="50" y="151"/>
                      <a:pt x="50" y="151"/>
                    </a:cubicBezTo>
                    <a:cubicBezTo>
                      <a:pt x="50" y="155"/>
                      <a:pt x="51" y="158"/>
                      <a:pt x="54" y="161"/>
                    </a:cubicBezTo>
                    <a:cubicBezTo>
                      <a:pt x="57" y="164"/>
                      <a:pt x="60" y="165"/>
                      <a:pt x="64" y="165"/>
                    </a:cubicBezTo>
                    <a:cubicBezTo>
                      <a:pt x="67" y="165"/>
                      <a:pt x="70" y="164"/>
                      <a:pt x="73" y="163"/>
                    </a:cubicBezTo>
                    <a:cubicBezTo>
                      <a:pt x="75" y="162"/>
                      <a:pt x="77" y="160"/>
                      <a:pt x="79" y="158"/>
                    </a:cubicBezTo>
                    <a:lnTo>
                      <a:pt x="86" y="1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11" name="Freeform 17"/>
              <p:cNvSpPr>
                <a:spLocks noEditPoints="1"/>
              </p:cNvSpPr>
              <p:nvPr/>
            </p:nvSpPr>
            <p:spPr bwMode="auto">
              <a:xfrm>
                <a:off x="3382" y="3006"/>
                <a:ext cx="305" cy="330"/>
              </a:xfrm>
              <a:custGeom>
                <a:avLst/>
                <a:gdLst>
                  <a:gd name="T0" fmla="*/ 66 w 129"/>
                  <a:gd name="T1" fmla="*/ 139 h 139"/>
                  <a:gd name="T2" fmla="*/ 40 w 129"/>
                  <a:gd name="T3" fmla="*/ 134 h 139"/>
                  <a:gd name="T4" fmla="*/ 20 w 129"/>
                  <a:gd name="T5" fmla="*/ 120 h 139"/>
                  <a:gd name="T6" fmla="*/ 6 w 129"/>
                  <a:gd name="T7" fmla="*/ 100 h 139"/>
                  <a:gd name="T8" fmla="*/ 0 w 129"/>
                  <a:gd name="T9" fmla="*/ 74 h 139"/>
                  <a:gd name="T10" fmla="*/ 5 w 129"/>
                  <a:gd name="T11" fmla="*/ 44 h 139"/>
                  <a:gd name="T12" fmla="*/ 18 w 129"/>
                  <a:gd name="T13" fmla="*/ 21 h 139"/>
                  <a:gd name="T14" fmla="*/ 39 w 129"/>
                  <a:gd name="T15" fmla="*/ 5 h 139"/>
                  <a:gd name="T16" fmla="*/ 66 w 129"/>
                  <a:gd name="T17" fmla="*/ 0 h 139"/>
                  <a:gd name="T18" fmla="*/ 90 w 129"/>
                  <a:gd name="T19" fmla="*/ 4 h 139"/>
                  <a:gd name="T20" fmla="*/ 109 w 129"/>
                  <a:gd name="T21" fmla="*/ 17 h 139"/>
                  <a:gd name="T22" fmla="*/ 121 w 129"/>
                  <a:gd name="T23" fmla="*/ 35 h 139"/>
                  <a:gd name="T24" fmla="*/ 126 w 129"/>
                  <a:gd name="T25" fmla="*/ 56 h 139"/>
                  <a:gd name="T26" fmla="*/ 26 w 129"/>
                  <a:gd name="T27" fmla="*/ 56 h 139"/>
                  <a:gd name="T28" fmla="*/ 29 w 129"/>
                  <a:gd name="T29" fmla="*/ 81 h 139"/>
                  <a:gd name="T30" fmla="*/ 39 w 129"/>
                  <a:gd name="T31" fmla="*/ 101 h 139"/>
                  <a:gd name="T32" fmla="*/ 54 w 129"/>
                  <a:gd name="T33" fmla="*/ 114 h 139"/>
                  <a:gd name="T34" fmla="*/ 73 w 129"/>
                  <a:gd name="T35" fmla="*/ 119 h 139"/>
                  <a:gd name="T36" fmla="*/ 90 w 129"/>
                  <a:gd name="T37" fmla="*/ 116 h 139"/>
                  <a:gd name="T38" fmla="*/ 104 w 129"/>
                  <a:gd name="T39" fmla="*/ 108 h 139"/>
                  <a:gd name="T40" fmla="*/ 115 w 129"/>
                  <a:gd name="T41" fmla="*/ 98 h 139"/>
                  <a:gd name="T42" fmla="*/ 122 w 129"/>
                  <a:gd name="T43" fmla="*/ 86 h 139"/>
                  <a:gd name="T44" fmla="*/ 129 w 129"/>
                  <a:gd name="T45" fmla="*/ 89 h 139"/>
                  <a:gd name="T46" fmla="*/ 120 w 129"/>
                  <a:gd name="T47" fmla="*/ 109 h 139"/>
                  <a:gd name="T48" fmla="*/ 105 w 129"/>
                  <a:gd name="T49" fmla="*/ 124 h 139"/>
                  <a:gd name="T50" fmla="*/ 86 w 129"/>
                  <a:gd name="T51" fmla="*/ 135 h 139"/>
                  <a:gd name="T52" fmla="*/ 66 w 129"/>
                  <a:gd name="T53" fmla="*/ 139 h 139"/>
                  <a:gd name="T54" fmla="*/ 92 w 129"/>
                  <a:gd name="T55" fmla="*/ 45 h 139"/>
                  <a:gd name="T56" fmla="*/ 90 w 129"/>
                  <a:gd name="T57" fmla="*/ 31 h 139"/>
                  <a:gd name="T58" fmla="*/ 82 w 129"/>
                  <a:gd name="T59" fmla="*/ 20 h 139"/>
                  <a:gd name="T60" fmla="*/ 71 w 129"/>
                  <a:gd name="T61" fmla="*/ 12 h 139"/>
                  <a:gd name="T62" fmla="*/ 58 w 129"/>
                  <a:gd name="T63" fmla="*/ 10 h 139"/>
                  <a:gd name="T64" fmla="*/ 46 w 129"/>
                  <a:gd name="T65" fmla="*/ 12 h 139"/>
                  <a:gd name="T66" fmla="*/ 37 w 129"/>
                  <a:gd name="T67" fmla="*/ 20 h 139"/>
                  <a:gd name="T68" fmla="*/ 30 w 129"/>
                  <a:gd name="T69" fmla="*/ 31 h 139"/>
                  <a:gd name="T70" fmla="*/ 26 w 129"/>
                  <a:gd name="T71" fmla="*/ 45 h 139"/>
                  <a:gd name="T72" fmla="*/ 92 w 129"/>
                  <a:gd name="T73" fmla="*/ 4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9" h="139">
                    <a:moveTo>
                      <a:pt x="66" y="139"/>
                    </a:moveTo>
                    <a:cubicBezTo>
                      <a:pt x="57" y="139"/>
                      <a:pt x="48" y="137"/>
                      <a:pt x="40" y="134"/>
                    </a:cubicBezTo>
                    <a:cubicBezTo>
                      <a:pt x="33" y="131"/>
                      <a:pt x="26" y="126"/>
                      <a:pt x="20" y="120"/>
                    </a:cubicBezTo>
                    <a:cubicBezTo>
                      <a:pt x="14" y="114"/>
                      <a:pt x="9" y="107"/>
                      <a:pt x="6" y="100"/>
                    </a:cubicBezTo>
                    <a:cubicBezTo>
                      <a:pt x="2" y="92"/>
                      <a:pt x="0" y="83"/>
                      <a:pt x="0" y="74"/>
                    </a:cubicBezTo>
                    <a:cubicBezTo>
                      <a:pt x="0" y="64"/>
                      <a:pt x="2" y="54"/>
                      <a:pt x="5" y="44"/>
                    </a:cubicBezTo>
                    <a:cubicBezTo>
                      <a:pt x="8" y="35"/>
                      <a:pt x="13" y="27"/>
                      <a:pt x="18" y="21"/>
                    </a:cubicBezTo>
                    <a:cubicBezTo>
                      <a:pt x="24" y="14"/>
                      <a:pt x="31" y="9"/>
                      <a:pt x="39" y="5"/>
                    </a:cubicBezTo>
                    <a:cubicBezTo>
                      <a:pt x="47" y="1"/>
                      <a:pt x="56" y="0"/>
                      <a:pt x="66" y="0"/>
                    </a:cubicBezTo>
                    <a:cubicBezTo>
                      <a:pt x="75" y="0"/>
                      <a:pt x="83" y="1"/>
                      <a:pt x="90" y="4"/>
                    </a:cubicBezTo>
                    <a:cubicBezTo>
                      <a:pt x="98" y="7"/>
                      <a:pt x="104" y="11"/>
                      <a:pt x="109" y="17"/>
                    </a:cubicBezTo>
                    <a:cubicBezTo>
                      <a:pt x="114" y="22"/>
                      <a:pt x="118" y="28"/>
                      <a:pt x="121" y="35"/>
                    </a:cubicBezTo>
                    <a:cubicBezTo>
                      <a:pt x="124" y="41"/>
                      <a:pt x="126" y="49"/>
                      <a:pt x="126" y="56"/>
                    </a:cubicBezTo>
                    <a:cubicBezTo>
                      <a:pt x="26" y="56"/>
                      <a:pt x="26" y="56"/>
                      <a:pt x="26" y="56"/>
                    </a:cubicBezTo>
                    <a:cubicBezTo>
                      <a:pt x="26" y="65"/>
                      <a:pt x="27" y="73"/>
                      <a:pt x="29" y="81"/>
                    </a:cubicBezTo>
                    <a:cubicBezTo>
                      <a:pt x="32" y="89"/>
                      <a:pt x="35" y="95"/>
                      <a:pt x="39" y="101"/>
                    </a:cubicBezTo>
                    <a:cubicBezTo>
                      <a:pt x="43" y="106"/>
                      <a:pt x="48" y="111"/>
                      <a:pt x="54" y="114"/>
                    </a:cubicBezTo>
                    <a:cubicBezTo>
                      <a:pt x="60" y="117"/>
                      <a:pt x="66" y="119"/>
                      <a:pt x="73" y="119"/>
                    </a:cubicBezTo>
                    <a:cubicBezTo>
                      <a:pt x="79" y="119"/>
                      <a:pt x="84" y="118"/>
                      <a:pt x="90" y="116"/>
                    </a:cubicBezTo>
                    <a:cubicBezTo>
                      <a:pt x="95" y="114"/>
                      <a:pt x="100" y="112"/>
                      <a:pt x="104" y="108"/>
                    </a:cubicBezTo>
                    <a:cubicBezTo>
                      <a:pt x="109" y="105"/>
                      <a:pt x="112" y="102"/>
                      <a:pt x="115" y="98"/>
                    </a:cubicBezTo>
                    <a:cubicBezTo>
                      <a:pt x="118" y="94"/>
                      <a:pt x="120" y="90"/>
                      <a:pt x="122" y="86"/>
                    </a:cubicBezTo>
                    <a:cubicBezTo>
                      <a:pt x="129" y="89"/>
                      <a:pt x="129" y="89"/>
                      <a:pt x="129" y="89"/>
                    </a:cubicBezTo>
                    <a:cubicBezTo>
                      <a:pt x="127" y="96"/>
                      <a:pt x="124" y="103"/>
                      <a:pt x="120" y="109"/>
                    </a:cubicBezTo>
                    <a:cubicBezTo>
                      <a:pt x="116" y="115"/>
                      <a:pt x="111" y="120"/>
                      <a:pt x="105" y="124"/>
                    </a:cubicBezTo>
                    <a:cubicBezTo>
                      <a:pt x="99" y="129"/>
                      <a:pt x="93" y="132"/>
                      <a:pt x="86" y="135"/>
                    </a:cubicBezTo>
                    <a:cubicBezTo>
                      <a:pt x="80" y="138"/>
                      <a:pt x="73" y="139"/>
                      <a:pt x="66" y="139"/>
                    </a:cubicBezTo>
                    <a:moveTo>
                      <a:pt x="92" y="45"/>
                    </a:moveTo>
                    <a:cubicBezTo>
                      <a:pt x="92" y="40"/>
                      <a:pt x="92" y="36"/>
                      <a:pt x="90" y="31"/>
                    </a:cubicBezTo>
                    <a:cubicBezTo>
                      <a:pt x="88" y="27"/>
                      <a:pt x="85" y="23"/>
                      <a:pt x="82" y="20"/>
                    </a:cubicBezTo>
                    <a:cubicBezTo>
                      <a:pt x="79" y="17"/>
                      <a:pt x="76" y="14"/>
                      <a:pt x="71" y="12"/>
                    </a:cubicBezTo>
                    <a:cubicBezTo>
                      <a:pt x="67" y="10"/>
                      <a:pt x="63" y="10"/>
                      <a:pt x="58" y="10"/>
                    </a:cubicBezTo>
                    <a:cubicBezTo>
                      <a:pt x="54" y="10"/>
                      <a:pt x="50" y="10"/>
                      <a:pt x="46" y="12"/>
                    </a:cubicBezTo>
                    <a:cubicBezTo>
                      <a:pt x="43" y="14"/>
                      <a:pt x="39" y="17"/>
                      <a:pt x="37" y="20"/>
                    </a:cubicBezTo>
                    <a:cubicBezTo>
                      <a:pt x="34" y="23"/>
                      <a:pt x="31" y="27"/>
                      <a:pt x="30" y="31"/>
                    </a:cubicBezTo>
                    <a:cubicBezTo>
                      <a:pt x="28" y="36"/>
                      <a:pt x="26" y="40"/>
                      <a:pt x="26" y="45"/>
                    </a:cubicBezTo>
                    <a:lnTo>
                      <a:pt x="92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12" name="Freeform 18"/>
              <p:cNvSpPr>
                <a:spLocks/>
              </p:cNvSpPr>
              <p:nvPr/>
            </p:nvSpPr>
            <p:spPr bwMode="auto">
              <a:xfrm>
                <a:off x="3747" y="3006"/>
                <a:ext cx="265" cy="323"/>
              </a:xfrm>
              <a:custGeom>
                <a:avLst/>
                <a:gdLst>
                  <a:gd name="T0" fmla="*/ 0 w 112"/>
                  <a:gd name="T1" fmla="*/ 2 h 136"/>
                  <a:gd name="T2" fmla="*/ 27 w 112"/>
                  <a:gd name="T3" fmla="*/ 2 h 136"/>
                  <a:gd name="T4" fmla="*/ 27 w 112"/>
                  <a:gd name="T5" fmla="*/ 27 h 136"/>
                  <a:gd name="T6" fmla="*/ 52 w 112"/>
                  <a:gd name="T7" fmla="*/ 6 h 136"/>
                  <a:gd name="T8" fmla="*/ 78 w 112"/>
                  <a:gd name="T9" fmla="*/ 0 h 136"/>
                  <a:gd name="T10" fmla="*/ 92 w 112"/>
                  <a:gd name="T11" fmla="*/ 3 h 136"/>
                  <a:gd name="T12" fmla="*/ 102 w 112"/>
                  <a:gd name="T13" fmla="*/ 12 h 136"/>
                  <a:gd name="T14" fmla="*/ 109 w 112"/>
                  <a:gd name="T15" fmla="*/ 24 h 136"/>
                  <a:gd name="T16" fmla="*/ 112 w 112"/>
                  <a:gd name="T17" fmla="*/ 40 h 136"/>
                  <a:gd name="T18" fmla="*/ 112 w 112"/>
                  <a:gd name="T19" fmla="*/ 136 h 136"/>
                  <a:gd name="T20" fmla="*/ 85 w 112"/>
                  <a:gd name="T21" fmla="*/ 136 h 136"/>
                  <a:gd name="T22" fmla="*/ 85 w 112"/>
                  <a:gd name="T23" fmla="*/ 45 h 136"/>
                  <a:gd name="T24" fmla="*/ 80 w 112"/>
                  <a:gd name="T25" fmla="*/ 24 h 136"/>
                  <a:gd name="T26" fmla="*/ 64 w 112"/>
                  <a:gd name="T27" fmla="*/ 18 h 136"/>
                  <a:gd name="T28" fmla="*/ 55 w 112"/>
                  <a:gd name="T29" fmla="*/ 19 h 136"/>
                  <a:gd name="T30" fmla="*/ 46 w 112"/>
                  <a:gd name="T31" fmla="*/ 23 h 136"/>
                  <a:gd name="T32" fmla="*/ 36 w 112"/>
                  <a:gd name="T33" fmla="*/ 29 h 136"/>
                  <a:gd name="T34" fmla="*/ 27 w 112"/>
                  <a:gd name="T35" fmla="*/ 37 h 136"/>
                  <a:gd name="T36" fmla="*/ 27 w 112"/>
                  <a:gd name="T37" fmla="*/ 136 h 136"/>
                  <a:gd name="T38" fmla="*/ 0 w 112"/>
                  <a:gd name="T39" fmla="*/ 136 h 136"/>
                  <a:gd name="T40" fmla="*/ 0 w 112"/>
                  <a:gd name="T41" fmla="*/ 2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12" h="136">
                    <a:moveTo>
                      <a:pt x="0" y="2"/>
                    </a:moveTo>
                    <a:cubicBezTo>
                      <a:pt x="27" y="2"/>
                      <a:pt x="27" y="2"/>
                      <a:pt x="27" y="2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35" y="18"/>
                      <a:pt x="43" y="11"/>
                      <a:pt x="52" y="6"/>
                    </a:cubicBezTo>
                    <a:cubicBezTo>
                      <a:pt x="60" y="2"/>
                      <a:pt x="69" y="0"/>
                      <a:pt x="78" y="0"/>
                    </a:cubicBezTo>
                    <a:cubicBezTo>
                      <a:pt x="83" y="0"/>
                      <a:pt x="87" y="1"/>
                      <a:pt x="92" y="3"/>
                    </a:cubicBezTo>
                    <a:cubicBezTo>
                      <a:pt x="96" y="5"/>
                      <a:pt x="99" y="8"/>
                      <a:pt x="102" y="12"/>
                    </a:cubicBezTo>
                    <a:cubicBezTo>
                      <a:pt x="105" y="15"/>
                      <a:pt x="108" y="19"/>
                      <a:pt x="109" y="24"/>
                    </a:cubicBezTo>
                    <a:cubicBezTo>
                      <a:pt x="111" y="29"/>
                      <a:pt x="112" y="35"/>
                      <a:pt x="112" y="40"/>
                    </a:cubicBezTo>
                    <a:cubicBezTo>
                      <a:pt x="112" y="136"/>
                      <a:pt x="112" y="136"/>
                      <a:pt x="112" y="136"/>
                    </a:cubicBezTo>
                    <a:cubicBezTo>
                      <a:pt x="85" y="136"/>
                      <a:pt x="85" y="136"/>
                      <a:pt x="85" y="136"/>
                    </a:cubicBezTo>
                    <a:cubicBezTo>
                      <a:pt x="85" y="45"/>
                      <a:pt x="85" y="45"/>
                      <a:pt x="85" y="45"/>
                    </a:cubicBezTo>
                    <a:cubicBezTo>
                      <a:pt x="85" y="36"/>
                      <a:pt x="83" y="29"/>
                      <a:pt x="80" y="24"/>
                    </a:cubicBezTo>
                    <a:cubicBezTo>
                      <a:pt x="76" y="20"/>
                      <a:pt x="70" y="18"/>
                      <a:pt x="64" y="18"/>
                    </a:cubicBezTo>
                    <a:cubicBezTo>
                      <a:pt x="61" y="18"/>
                      <a:pt x="58" y="18"/>
                      <a:pt x="55" y="19"/>
                    </a:cubicBezTo>
                    <a:cubicBezTo>
                      <a:pt x="52" y="20"/>
                      <a:pt x="49" y="21"/>
                      <a:pt x="46" y="23"/>
                    </a:cubicBezTo>
                    <a:cubicBezTo>
                      <a:pt x="42" y="25"/>
                      <a:pt x="39" y="27"/>
                      <a:pt x="36" y="29"/>
                    </a:cubicBezTo>
                    <a:cubicBezTo>
                      <a:pt x="33" y="31"/>
                      <a:pt x="30" y="34"/>
                      <a:pt x="27" y="37"/>
                    </a:cubicBezTo>
                    <a:cubicBezTo>
                      <a:pt x="27" y="136"/>
                      <a:pt x="27" y="136"/>
                      <a:pt x="27" y="136"/>
                    </a:cubicBezTo>
                    <a:cubicBezTo>
                      <a:pt x="0" y="136"/>
                      <a:pt x="0" y="136"/>
                      <a:pt x="0" y="136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13" name="Freeform 19"/>
              <p:cNvSpPr>
                <a:spLocks noEditPoints="1"/>
              </p:cNvSpPr>
              <p:nvPr/>
            </p:nvSpPr>
            <p:spPr bwMode="auto">
              <a:xfrm>
                <a:off x="4069" y="2849"/>
                <a:ext cx="303" cy="487"/>
              </a:xfrm>
              <a:custGeom>
                <a:avLst/>
                <a:gdLst>
                  <a:gd name="T0" fmla="*/ 101 w 128"/>
                  <a:gd name="T1" fmla="*/ 189 h 205"/>
                  <a:gd name="T2" fmla="*/ 91 w 128"/>
                  <a:gd name="T3" fmla="*/ 196 h 205"/>
                  <a:gd name="T4" fmla="*/ 80 w 128"/>
                  <a:gd name="T5" fmla="*/ 201 h 205"/>
                  <a:gd name="T6" fmla="*/ 68 w 128"/>
                  <a:gd name="T7" fmla="*/ 204 h 205"/>
                  <a:gd name="T8" fmla="*/ 57 w 128"/>
                  <a:gd name="T9" fmla="*/ 205 h 205"/>
                  <a:gd name="T10" fmla="*/ 35 w 128"/>
                  <a:gd name="T11" fmla="*/ 200 h 205"/>
                  <a:gd name="T12" fmla="*/ 17 w 128"/>
                  <a:gd name="T13" fmla="*/ 185 h 205"/>
                  <a:gd name="T14" fmla="*/ 5 w 128"/>
                  <a:gd name="T15" fmla="*/ 163 h 205"/>
                  <a:gd name="T16" fmla="*/ 0 w 128"/>
                  <a:gd name="T17" fmla="*/ 137 h 205"/>
                  <a:gd name="T18" fmla="*/ 6 w 128"/>
                  <a:gd name="T19" fmla="*/ 110 h 205"/>
                  <a:gd name="T20" fmla="*/ 21 w 128"/>
                  <a:gd name="T21" fmla="*/ 88 h 205"/>
                  <a:gd name="T22" fmla="*/ 43 w 128"/>
                  <a:gd name="T23" fmla="*/ 72 h 205"/>
                  <a:gd name="T24" fmla="*/ 71 w 128"/>
                  <a:gd name="T25" fmla="*/ 66 h 205"/>
                  <a:gd name="T26" fmla="*/ 88 w 128"/>
                  <a:gd name="T27" fmla="*/ 69 h 205"/>
                  <a:gd name="T28" fmla="*/ 101 w 128"/>
                  <a:gd name="T29" fmla="*/ 78 h 205"/>
                  <a:gd name="T30" fmla="*/ 101 w 128"/>
                  <a:gd name="T31" fmla="*/ 7 h 205"/>
                  <a:gd name="T32" fmla="*/ 120 w 128"/>
                  <a:gd name="T33" fmla="*/ 0 h 205"/>
                  <a:gd name="T34" fmla="*/ 128 w 128"/>
                  <a:gd name="T35" fmla="*/ 0 h 205"/>
                  <a:gd name="T36" fmla="*/ 128 w 128"/>
                  <a:gd name="T37" fmla="*/ 205 h 205"/>
                  <a:gd name="T38" fmla="*/ 101 w 128"/>
                  <a:gd name="T39" fmla="*/ 205 h 205"/>
                  <a:gd name="T40" fmla="*/ 101 w 128"/>
                  <a:gd name="T41" fmla="*/ 189 h 205"/>
                  <a:gd name="T42" fmla="*/ 101 w 128"/>
                  <a:gd name="T43" fmla="*/ 111 h 205"/>
                  <a:gd name="T44" fmla="*/ 98 w 128"/>
                  <a:gd name="T45" fmla="*/ 96 h 205"/>
                  <a:gd name="T46" fmla="*/ 91 w 128"/>
                  <a:gd name="T47" fmla="*/ 85 h 205"/>
                  <a:gd name="T48" fmla="*/ 80 w 128"/>
                  <a:gd name="T49" fmla="*/ 78 h 205"/>
                  <a:gd name="T50" fmla="*/ 68 w 128"/>
                  <a:gd name="T51" fmla="*/ 76 h 205"/>
                  <a:gd name="T52" fmla="*/ 53 w 128"/>
                  <a:gd name="T53" fmla="*/ 80 h 205"/>
                  <a:gd name="T54" fmla="*/ 41 w 128"/>
                  <a:gd name="T55" fmla="*/ 91 h 205"/>
                  <a:gd name="T56" fmla="*/ 33 w 128"/>
                  <a:gd name="T57" fmla="*/ 108 h 205"/>
                  <a:gd name="T58" fmla="*/ 30 w 128"/>
                  <a:gd name="T59" fmla="*/ 129 h 205"/>
                  <a:gd name="T60" fmla="*/ 33 w 128"/>
                  <a:gd name="T61" fmla="*/ 153 h 205"/>
                  <a:gd name="T62" fmla="*/ 42 w 128"/>
                  <a:gd name="T63" fmla="*/ 173 h 205"/>
                  <a:gd name="T64" fmla="*/ 55 w 128"/>
                  <a:gd name="T65" fmla="*/ 186 h 205"/>
                  <a:gd name="T66" fmla="*/ 72 w 128"/>
                  <a:gd name="T67" fmla="*/ 191 h 205"/>
                  <a:gd name="T68" fmla="*/ 80 w 128"/>
                  <a:gd name="T69" fmla="*/ 189 h 205"/>
                  <a:gd name="T70" fmla="*/ 88 w 128"/>
                  <a:gd name="T71" fmla="*/ 186 h 205"/>
                  <a:gd name="T72" fmla="*/ 95 w 128"/>
                  <a:gd name="T73" fmla="*/ 182 h 205"/>
                  <a:gd name="T74" fmla="*/ 101 w 128"/>
                  <a:gd name="T75" fmla="*/ 177 h 205"/>
                  <a:gd name="T76" fmla="*/ 101 w 128"/>
                  <a:gd name="T77" fmla="*/ 111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8" h="205">
                    <a:moveTo>
                      <a:pt x="101" y="189"/>
                    </a:moveTo>
                    <a:cubicBezTo>
                      <a:pt x="98" y="191"/>
                      <a:pt x="95" y="194"/>
                      <a:pt x="91" y="196"/>
                    </a:cubicBezTo>
                    <a:cubicBezTo>
                      <a:pt x="88" y="198"/>
                      <a:pt x="84" y="199"/>
                      <a:pt x="80" y="201"/>
                    </a:cubicBezTo>
                    <a:cubicBezTo>
                      <a:pt x="76" y="202"/>
                      <a:pt x="72" y="203"/>
                      <a:pt x="68" y="204"/>
                    </a:cubicBezTo>
                    <a:cubicBezTo>
                      <a:pt x="64" y="205"/>
                      <a:pt x="61" y="205"/>
                      <a:pt x="57" y="205"/>
                    </a:cubicBezTo>
                    <a:cubicBezTo>
                      <a:pt x="49" y="205"/>
                      <a:pt x="42" y="203"/>
                      <a:pt x="35" y="200"/>
                    </a:cubicBezTo>
                    <a:cubicBezTo>
                      <a:pt x="28" y="196"/>
                      <a:pt x="22" y="191"/>
                      <a:pt x="17" y="185"/>
                    </a:cubicBezTo>
                    <a:cubicBezTo>
                      <a:pt x="12" y="179"/>
                      <a:pt x="8" y="171"/>
                      <a:pt x="5" y="163"/>
                    </a:cubicBezTo>
                    <a:cubicBezTo>
                      <a:pt x="2" y="155"/>
                      <a:pt x="0" y="146"/>
                      <a:pt x="0" y="137"/>
                    </a:cubicBezTo>
                    <a:cubicBezTo>
                      <a:pt x="0" y="128"/>
                      <a:pt x="2" y="119"/>
                      <a:pt x="6" y="110"/>
                    </a:cubicBezTo>
                    <a:cubicBezTo>
                      <a:pt x="10" y="102"/>
                      <a:pt x="15" y="94"/>
                      <a:pt x="21" y="88"/>
                    </a:cubicBezTo>
                    <a:cubicBezTo>
                      <a:pt x="27" y="81"/>
                      <a:pt x="35" y="76"/>
                      <a:pt x="43" y="72"/>
                    </a:cubicBezTo>
                    <a:cubicBezTo>
                      <a:pt x="52" y="68"/>
                      <a:pt x="61" y="66"/>
                      <a:pt x="71" y="66"/>
                    </a:cubicBezTo>
                    <a:cubicBezTo>
                      <a:pt x="77" y="66"/>
                      <a:pt x="83" y="67"/>
                      <a:pt x="88" y="69"/>
                    </a:cubicBezTo>
                    <a:cubicBezTo>
                      <a:pt x="93" y="71"/>
                      <a:pt x="97" y="74"/>
                      <a:pt x="101" y="78"/>
                    </a:cubicBezTo>
                    <a:cubicBezTo>
                      <a:pt x="101" y="7"/>
                      <a:pt x="101" y="7"/>
                      <a:pt x="101" y="7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8" y="0"/>
                      <a:pt x="128" y="0"/>
                      <a:pt x="128" y="0"/>
                    </a:cubicBezTo>
                    <a:cubicBezTo>
                      <a:pt x="128" y="205"/>
                      <a:pt x="128" y="205"/>
                      <a:pt x="128" y="205"/>
                    </a:cubicBezTo>
                    <a:cubicBezTo>
                      <a:pt x="101" y="205"/>
                      <a:pt x="101" y="205"/>
                      <a:pt x="101" y="205"/>
                    </a:cubicBezTo>
                    <a:lnTo>
                      <a:pt x="101" y="189"/>
                    </a:lnTo>
                    <a:close/>
                    <a:moveTo>
                      <a:pt x="101" y="111"/>
                    </a:moveTo>
                    <a:cubicBezTo>
                      <a:pt x="101" y="106"/>
                      <a:pt x="100" y="101"/>
                      <a:pt x="98" y="96"/>
                    </a:cubicBezTo>
                    <a:cubicBezTo>
                      <a:pt x="96" y="92"/>
                      <a:pt x="94" y="88"/>
                      <a:pt x="91" y="85"/>
                    </a:cubicBezTo>
                    <a:cubicBezTo>
                      <a:pt x="87" y="82"/>
                      <a:pt x="84" y="80"/>
                      <a:pt x="80" y="78"/>
                    </a:cubicBezTo>
                    <a:cubicBezTo>
                      <a:pt x="76" y="76"/>
                      <a:pt x="72" y="76"/>
                      <a:pt x="68" y="76"/>
                    </a:cubicBezTo>
                    <a:cubicBezTo>
                      <a:pt x="63" y="76"/>
                      <a:pt x="58" y="77"/>
                      <a:pt x="53" y="80"/>
                    </a:cubicBezTo>
                    <a:cubicBezTo>
                      <a:pt x="48" y="82"/>
                      <a:pt x="44" y="86"/>
                      <a:pt x="41" y="91"/>
                    </a:cubicBezTo>
                    <a:cubicBezTo>
                      <a:pt x="37" y="95"/>
                      <a:pt x="35" y="101"/>
                      <a:pt x="33" y="108"/>
                    </a:cubicBezTo>
                    <a:cubicBezTo>
                      <a:pt x="31" y="114"/>
                      <a:pt x="30" y="122"/>
                      <a:pt x="30" y="129"/>
                    </a:cubicBezTo>
                    <a:cubicBezTo>
                      <a:pt x="30" y="138"/>
                      <a:pt x="31" y="146"/>
                      <a:pt x="33" y="153"/>
                    </a:cubicBezTo>
                    <a:cubicBezTo>
                      <a:pt x="35" y="161"/>
                      <a:pt x="38" y="167"/>
                      <a:pt x="42" y="173"/>
                    </a:cubicBezTo>
                    <a:cubicBezTo>
                      <a:pt x="46" y="178"/>
                      <a:pt x="50" y="183"/>
                      <a:pt x="55" y="186"/>
                    </a:cubicBezTo>
                    <a:cubicBezTo>
                      <a:pt x="61" y="189"/>
                      <a:pt x="66" y="191"/>
                      <a:pt x="72" y="191"/>
                    </a:cubicBezTo>
                    <a:cubicBezTo>
                      <a:pt x="75" y="191"/>
                      <a:pt x="77" y="190"/>
                      <a:pt x="80" y="189"/>
                    </a:cubicBezTo>
                    <a:cubicBezTo>
                      <a:pt x="83" y="189"/>
                      <a:pt x="86" y="188"/>
                      <a:pt x="88" y="186"/>
                    </a:cubicBezTo>
                    <a:cubicBezTo>
                      <a:pt x="91" y="185"/>
                      <a:pt x="93" y="184"/>
                      <a:pt x="95" y="182"/>
                    </a:cubicBezTo>
                    <a:cubicBezTo>
                      <a:pt x="98" y="180"/>
                      <a:pt x="99" y="179"/>
                      <a:pt x="101" y="177"/>
                    </a:cubicBezTo>
                    <a:lnTo>
                      <a:pt x="101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14" name="Freeform 20"/>
              <p:cNvSpPr>
                <a:spLocks noEditPoints="1"/>
              </p:cNvSpPr>
              <p:nvPr/>
            </p:nvSpPr>
            <p:spPr bwMode="auto">
              <a:xfrm>
                <a:off x="4431" y="3006"/>
                <a:ext cx="304" cy="330"/>
              </a:xfrm>
              <a:custGeom>
                <a:avLst/>
                <a:gdLst>
                  <a:gd name="T0" fmla="*/ 65 w 128"/>
                  <a:gd name="T1" fmla="*/ 139 h 139"/>
                  <a:gd name="T2" fmla="*/ 40 w 128"/>
                  <a:gd name="T3" fmla="*/ 134 h 139"/>
                  <a:gd name="T4" fmla="*/ 19 w 128"/>
                  <a:gd name="T5" fmla="*/ 120 h 139"/>
                  <a:gd name="T6" fmla="*/ 5 w 128"/>
                  <a:gd name="T7" fmla="*/ 100 h 139"/>
                  <a:gd name="T8" fmla="*/ 0 w 128"/>
                  <a:gd name="T9" fmla="*/ 74 h 139"/>
                  <a:gd name="T10" fmla="*/ 4 w 128"/>
                  <a:gd name="T11" fmla="*/ 44 h 139"/>
                  <a:gd name="T12" fmla="*/ 18 w 128"/>
                  <a:gd name="T13" fmla="*/ 21 h 139"/>
                  <a:gd name="T14" fmla="*/ 38 w 128"/>
                  <a:gd name="T15" fmla="*/ 5 h 139"/>
                  <a:gd name="T16" fmla="*/ 65 w 128"/>
                  <a:gd name="T17" fmla="*/ 0 h 139"/>
                  <a:gd name="T18" fmla="*/ 89 w 128"/>
                  <a:gd name="T19" fmla="*/ 4 h 139"/>
                  <a:gd name="T20" fmla="*/ 108 w 128"/>
                  <a:gd name="T21" fmla="*/ 17 h 139"/>
                  <a:gd name="T22" fmla="*/ 120 w 128"/>
                  <a:gd name="T23" fmla="*/ 35 h 139"/>
                  <a:gd name="T24" fmla="*/ 125 w 128"/>
                  <a:gd name="T25" fmla="*/ 56 h 139"/>
                  <a:gd name="T26" fmla="*/ 25 w 128"/>
                  <a:gd name="T27" fmla="*/ 56 h 139"/>
                  <a:gd name="T28" fmla="*/ 28 w 128"/>
                  <a:gd name="T29" fmla="*/ 81 h 139"/>
                  <a:gd name="T30" fmla="*/ 38 w 128"/>
                  <a:gd name="T31" fmla="*/ 101 h 139"/>
                  <a:gd name="T32" fmla="*/ 53 w 128"/>
                  <a:gd name="T33" fmla="*/ 114 h 139"/>
                  <a:gd name="T34" fmla="*/ 72 w 128"/>
                  <a:gd name="T35" fmla="*/ 119 h 139"/>
                  <a:gd name="T36" fmla="*/ 89 w 128"/>
                  <a:gd name="T37" fmla="*/ 116 h 139"/>
                  <a:gd name="T38" fmla="*/ 103 w 128"/>
                  <a:gd name="T39" fmla="*/ 108 h 139"/>
                  <a:gd name="T40" fmla="*/ 114 w 128"/>
                  <a:gd name="T41" fmla="*/ 98 h 139"/>
                  <a:gd name="T42" fmla="*/ 121 w 128"/>
                  <a:gd name="T43" fmla="*/ 86 h 139"/>
                  <a:gd name="T44" fmla="*/ 128 w 128"/>
                  <a:gd name="T45" fmla="*/ 89 h 139"/>
                  <a:gd name="T46" fmla="*/ 119 w 128"/>
                  <a:gd name="T47" fmla="*/ 109 h 139"/>
                  <a:gd name="T48" fmla="*/ 104 w 128"/>
                  <a:gd name="T49" fmla="*/ 124 h 139"/>
                  <a:gd name="T50" fmla="*/ 86 w 128"/>
                  <a:gd name="T51" fmla="*/ 135 h 139"/>
                  <a:gd name="T52" fmla="*/ 65 w 128"/>
                  <a:gd name="T53" fmla="*/ 139 h 139"/>
                  <a:gd name="T54" fmla="*/ 92 w 128"/>
                  <a:gd name="T55" fmla="*/ 45 h 139"/>
                  <a:gd name="T56" fmla="*/ 89 w 128"/>
                  <a:gd name="T57" fmla="*/ 31 h 139"/>
                  <a:gd name="T58" fmla="*/ 81 w 128"/>
                  <a:gd name="T59" fmla="*/ 20 h 139"/>
                  <a:gd name="T60" fmla="*/ 70 w 128"/>
                  <a:gd name="T61" fmla="*/ 12 h 139"/>
                  <a:gd name="T62" fmla="*/ 57 w 128"/>
                  <a:gd name="T63" fmla="*/ 10 h 139"/>
                  <a:gd name="T64" fmla="*/ 45 w 128"/>
                  <a:gd name="T65" fmla="*/ 12 h 139"/>
                  <a:gd name="T66" fmla="*/ 36 w 128"/>
                  <a:gd name="T67" fmla="*/ 20 h 139"/>
                  <a:gd name="T68" fmla="*/ 29 w 128"/>
                  <a:gd name="T69" fmla="*/ 31 h 139"/>
                  <a:gd name="T70" fmla="*/ 25 w 128"/>
                  <a:gd name="T71" fmla="*/ 45 h 139"/>
                  <a:gd name="T72" fmla="*/ 92 w 128"/>
                  <a:gd name="T73" fmla="*/ 4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8" h="139">
                    <a:moveTo>
                      <a:pt x="65" y="139"/>
                    </a:moveTo>
                    <a:cubicBezTo>
                      <a:pt x="56" y="139"/>
                      <a:pt x="47" y="137"/>
                      <a:pt x="40" y="134"/>
                    </a:cubicBezTo>
                    <a:cubicBezTo>
                      <a:pt x="32" y="131"/>
                      <a:pt x="25" y="126"/>
                      <a:pt x="19" y="120"/>
                    </a:cubicBezTo>
                    <a:cubicBezTo>
                      <a:pt x="13" y="114"/>
                      <a:pt x="8" y="107"/>
                      <a:pt x="5" y="100"/>
                    </a:cubicBezTo>
                    <a:cubicBezTo>
                      <a:pt x="1" y="92"/>
                      <a:pt x="0" y="83"/>
                      <a:pt x="0" y="74"/>
                    </a:cubicBezTo>
                    <a:cubicBezTo>
                      <a:pt x="0" y="64"/>
                      <a:pt x="1" y="54"/>
                      <a:pt x="4" y="44"/>
                    </a:cubicBezTo>
                    <a:cubicBezTo>
                      <a:pt x="7" y="35"/>
                      <a:pt x="12" y="27"/>
                      <a:pt x="18" y="21"/>
                    </a:cubicBezTo>
                    <a:cubicBezTo>
                      <a:pt x="23" y="14"/>
                      <a:pt x="30" y="9"/>
                      <a:pt x="38" y="5"/>
                    </a:cubicBezTo>
                    <a:cubicBezTo>
                      <a:pt x="46" y="1"/>
                      <a:pt x="55" y="0"/>
                      <a:pt x="65" y="0"/>
                    </a:cubicBezTo>
                    <a:cubicBezTo>
                      <a:pt x="74" y="0"/>
                      <a:pt x="82" y="1"/>
                      <a:pt x="89" y="4"/>
                    </a:cubicBezTo>
                    <a:cubicBezTo>
                      <a:pt x="97" y="7"/>
                      <a:pt x="103" y="11"/>
                      <a:pt x="108" y="17"/>
                    </a:cubicBezTo>
                    <a:cubicBezTo>
                      <a:pt x="113" y="22"/>
                      <a:pt x="117" y="28"/>
                      <a:pt x="120" y="35"/>
                    </a:cubicBezTo>
                    <a:cubicBezTo>
                      <a:pt x="123" y="41"/>
                      <a:pt x="125" y="49"/>
                      <a:pt x="125" y="56"/>
                    </a:cubicBezTo>
                    <a:cubicBezTo>
                      <a:pt x="25" y="56"/>
                      <a:pt x="25" y="56"/>
                      <a:pt x="25" y="56"/>
                    </a:cubicBezTo>
                    <a:cubicBezTo>
                      <a:pt x="25" y="65"/>
                      <a:pt x="26" y="73"/>
                      <a:pt x="28" y="81"/>
                    </a:cubicBezTo>
                    <a:cubicBezTo>
                      <a:pt x="31" y="89"/>
                      <a:pt x="34" y="95"/>
                      <a:pt x="38" y="101"/>
                    </a:cubicBezTo>
                    <a:cubicBezTo>
                      <a:pt x="42" y="106"/>
                      <a:pt x="47" y="111"/>
                      <a:pt x="53" y="114"/>
                    </a:cubicBezTo>
                    <a:cubicBezTo>
                      <a:pt x="59" y="117"/>
                      <a:pt x="65" y="119"/>
                      <a:pt x="72" y="119"/>
                    </a:cubicBezTo>
                    <a:cubicBezTo>
                      <a:pt x="78" y="119"/>
                      <a:pt x="83" y="118"/>
                      <a:pt x="89" y="116"/>
                    </a:cubicBezTo>
                    <a:cubicBezTo>
                      <a:pt x="94" y="114"/>
                      <a:pt x="99" y="112"/>
                      <a:pt x="103" y="108"/>
                    </a:cubicBezTo>
                    <a:cubicBezTo>
                      <a:pt x="108" y="105"/>
                      <a:pt x="111" y="102"/>
                      <a:pt x="114" y="98"/>
                    </a:cubicBezTo>
                    <a:cubicBezTo>
                      <a:pt x="117" y="94"/>
                      <a:pt x="120" y="90"/>
                      <a:pt x="121" y="86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26" y="96"/>
                      <a:pt x="123" y="103"/>
                      <a:pt x="119" y="109"/>
                    </a:cubicBezTo>
                    <a:cubicBezTo>
                      <a:pt x="115" y="115"/>
                      <a:pt x="110" y="120"/>
                      <a:pt x="104" y="124"/>
                    </a:cubicBezTo>
                    <a:cubicBezTo>
                      <a:pt x="98" y="129"/>
                      <a:pt x="92" y="132"/>
                      <a:pt x="86" y="135"/>
                    </a:cubicBezTo>
                    <a:cubicBezTo>
                      <a:pt x="79" y="138"/>
                      <a:pt x="72" y="139"/>
                      <a:pt x="65" y="139"/>
                    </a:cubicBezTo>
                    <a:moveTo>
                      <a:pt x="92" y="45"/>
                    </a:moveTo>
                    <a:cubicBezTo>
                      <a:pt x="92" y="40"/>
                      <a:pt x="91" y="36"/>
                      <a:pt x="89" y="31"/>
                    </a:cubicBezTo>
                    <a:cubicBezTo>
                      <a:pt x="87" y="27"/>
                      <a:pt x="85" y="23"/>
                      <a:pt x="81" y="20"/>
                    </a:cubicBezTo>
                    <a:cubicBezTo>
                      <a:pt x="78" y="17"/>
                      <a:pt x="75" y="14"/>
                      <a:pt x="70" y="12"/>
                    </a:cubicBezTo>
                    <a:cubicBezTo>
                      <a:pt x="66" y="10"/>
                      <a:pt x="62" y="10"/>
                      <a:pt x="57" y="10"/>
                    </a:cubicBezTo>
                    <a:cubicBezTo>
                      <a:pt x="53" y="10"/>
                      <a:pt x="49" y="10"/>
                      <a:pt x="45" y="12"/>
                    </a:cubicBezTo>
                    <a:cubicBezTo>
                      <a:pt x="42" y="14"/>
                      <a:pt x="39" y="17"/>
                      <a:pt x="36" y="20"/>
                    </a:cubicBezTo>
                    <a:cubicBezTo>
                      <a:pt x="33" y="23"/>
                      <a:pt x="31" y="27"/>
                      <a:pt x="29" y="31"/>
                    </a:cubicBezTo>
                    <a:cubicBezTo>
                      <a:pt x="27" y="36"/>
                      <a:pt x="26" y="40"/>
                      <a:pt x="25" y="45"/>
                    </a:cubicBezTo>
                    <a:lnTo>
                      <a:pt x="92" y="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15" name="Freeform 21"/>
              <p:cNvSpPr>
                <a:spLocks noEditPoints="1"/>
              </p:cNvSpPr>
              <p:nvPr/>
            </p:nvSpPr>
            <p:spPr bwMode="auto">
              <a:xfrm>
                <a:off x="4780" y="2849"/>
                <a:ext cx="301" cy="487"/>
              </a:xfrm>
              <a:custGeom>
                <a:avLst/>
                <a:gdLst>
                  <a:gd name="T0" fmla="*/ 101 w 127"/>
                  <a:gd name="T1" fmla="*/ 189 h 205"/>
                  <a:gd name="T2" fmla="*/ 91 w 127"/>
                  <a:gd name="T3" fmla="*/ 196 h 205"/>
                  <a:gd name="T4" fmla="*/ 80 w 127"/>
                  <a:gd name="T5" fmla="*/ 201 h 205"/>
                  <a:gd name="T6" fmla="*/ 68 w 127"/>
                  <a:gd name="T7" fmla="*/ 204 h 205"/>
                  <a:gd name="T8" fmla="*/ 57 w 127"/>
                  <a:gd name="T9" fmla="*/ 205 h 205"/>
                  <a:gd name="T10" fmla="*/ 34 w 127"/>
                  <a:gd name="T11" fmla="*/ 200 h 205"/>
                  <a:gd name="T12" fmla="*/ 16 w 127"/>
                  <a:gd name="T13" fmla="*/ 185 h 205"/>
                  <a:gd name="T14" fmla="*/ 4 w 127"/>
                  <a:gd name="T15" fmla="*/ 163 h 205"/>
                  <a:gd name="T16" fmla="*/ 0 w 127"/>
                  <a:gd name="T17" fmla="*/ 137 h 205"/>
                  <a:gd name="T18" fmla="*/ 6 w 127"/>
                  <a:gd name="T19" fmla="*/ 110 h 205"/>
                  <a:gd name="T20" fmla="*/ 21 w 127"/>
                  <a:gd name="T21" fmla="*/ 88 h 205"/>
                  <a:gd name="T22" fmla="*/ 43 w 127"/>
                  <a:gd name="T23" fmla="*/ 72 h 205"/>
                  <a:gd name="T24" fmla="*/ 70 w 127"/>
                  <a:gd name="T25" fmla="*/ 66 h 205"/>
                  <a:gd name="T26" fmla="*/ 87 w 127"/>
                  <a:gd name="T27" fmla="*/ 69 h 205"/>
                  <a:gd name="T28" fmla="*/ 101 w 127"/>
                  <a:gd name="T29" fmla="*/ 78 h 205"/>
                  <a:gd name="T30" fmla="*/ 101 w 127"/>
                  <a:gd name="T31" fmla="*/ 7 h 205"/>
                  <a:gd name="T32" fmla="*/ 119 w 127"/>
                  <a:gd name="T33" fmla="*/ 0 h 205"/>
                  <a:gd name="T34" fmla="*/ 127 w 127"/>
                  <a:gd name="T35" fmla="*/ 0 h 205"/>
                  <a:gd name="T36" fmla="*/ 127 w 127"/>
                  <a:gd name="T37" fmla="*/ 205 h 205"/>
                  <a:gd name="T38" fmla="*/ 101 w 127"/>
                  <a:gd name="T39" fmla="*/ 205 h 205"/>
                  <a:gd name="T40" fmla="*/ 101 w 127"/>
                  <a:gd name="T41" fmla="*/ 189 h 205"/>
                  <a:gd name="T42" fmla="*/ 101 w 127"/>
                  <a:gd name="T43" fmla="*/ 111 h 205"/>
                  <a:gd name="T44" fmla="*/ 98 w 127"/>
                  <a:gd name="T45" fmla="*/ 96 h 205"/>
                  <a:gd name="T46" fmla="*/ 90 w 127"/>
                  <a:gd name="T47" fmla="*/ 85 h 205"/>
                  <a:gd name="T48" fmla="*/ 79 w 127"/>
                  <a:gd name="T49" fmla="*/ 78 h 205"/>
                  <a:gd name="T50" fmla="*/ 67 w 127"/>
                  <a:gd name="T51" fmla="*/ 76 h 205"/>
                  <a:gd name="T52" fmla="*/ 53 w 127"/>
                  <a:gd name="T53" fmla="*/ 80 h 205"/>
                  <a:gd name="T54" fmla="*/ 40 w 127"/>
                  <a:gd name="T55" fmla="*/ 91 h 205"/>
                  <a:gd name="T56" fmla="*/ 32 w 127"/>
                  <a:gd name="T57" fmla="*/ 108 h 205"/>
                  <a:gd name="T58" fmla="*/ 29 w 127"/>
                  <a:gd name="T59" fmla="*/ 129 h 205"/>
                  <a:gd name="T60" fmla="*/ 33 w 127"/>
                  <a:gd name="T61" fmla="*/ 153 h 205"/>
                  <a:gd name="T62" fmla="*/ 42 w 127"/>
                  <a:gd name="T63" fmla="*/ 173 h 205"/>
                  <a:gd name="T64" fmla="*/ 55 w 127"/>
                  <a:gd name="T65" fmla="*/ 186 h 205"/>
                  <a:gd name="T66" fmla="*/ 71 w 127"/>
                  <a:gd name="T67" fmla="*/ 191 h 205"/>
                  <a:gd name="T68" fmla="*/ 80 w 127"/>
                  <a:gd name="T69" fmla="*/ 189 h 205"/>
                  <a:gd name="T70" fmla="*/ 88 w 127"/>
                  <a:gd name="T71" fmla="*/ 186 h 205"/>
                  <a:gd name="T72" fmla="*/ 95 w 127"/>
                  <a:gd name="T73" fmla="*/ 182 h 205"/>
                  <a:gd name="T74" fmla="*/ 101 w 127"/>
                  <a:gd name="T75" fmla="*/ 177 h 205"/>
                  <a:gd name="T76" fmla="*/ 101 w 127"/>
                  <a:gd name="T77" fmla="*/ 111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27" h="205">
                    <a:moveTo>
                      <a:pt x="101" y="189"/>
                    </a:moveTo>
                    <a:cubicBezTo>
                      <a:pt x="98" y="191"/>
                      <a:pt x="94" y="194"/>
                      <a:pt x="91" y="196"/>
                    </a:cubicBezTo>
                    <a:cubicBezTo>
                      <a:pt x="87" y="198"/>
                      <a:pt x="83" y="199"/>
                      <a:pt x="80" y="201"/>
                    </a:cubicBezTo>
                    <a:cubicBezTo>
                      <a:pt x="76" y="202"/>
                      <a:pt x="72" y="203"/>
                      <a:pt x="68" y="204"/>
                    </a:cubicBezTo>
                    <a:cubicBezTo>
                      <a:pt x="64" y="205"/>
                      <a:pt x="60" y="205"/>
                      <a:pt x="57" y="205"/>
                    </a:cubicBezTo>
                    <a:cubicBezTo>
                      <a:pt x="49" y="205"/>
                      <a:pt x="41" y="203"/>
                      <a:pt x="34" y="200"/>
                    </a:cubicBezTo>
                    <a:cubicBezTo>
                      <a:pt x="28" y="196"/>
                      <a:pt x="22" y="191"/>
                      <a:pt x="16" y="185"/>
                    </a:cubicBezTo>
                    <a:cubicBezTo>
                      <a:pt x="11" y="179"/>
                      <a:pt x="7" y="171"/>
                      <a:pt x="4" y="163"/>
                    </a:cubicBezTo>
                    <a:cubicBezTo>
                      <a:pt x="1" y="155"/>
                      <a:pt x="0" y="146"/>
                      <a:pt x="0" y="137"/>
                    </a:cubicBezTo>
                    <a:cubicBezTo>
                      <a:pt x="0" y="128"/>
                      <a:pt x="2" y="119"/>
                      <a:pt x="6" y="110"/>
                    </a:cubicBezTo>
                    <a:cubicBezTo>
                      <a:pt x="9" y="102"/>
                      <a:pt x="14" y="94"/>
                      <a:pt x="21" y="88"/>
                    </a:cubicBezTo>
                    <a:cubicBezTo>
                      <a:pt x="27" y="81"/>
                      <a:pt x="34" y="76"/>
                      <a:pt x="43" y="72"/>
                    </a:cubicBezTo>
                    <a:cubicBezTo>
                      <a:pt x="51" y="68"/>
                      <a:pt x="60" y="66"/>
                      <a:pt x="70" y="66"/>
                    </a:cubicBezTo>
                    <a:cubicBezTo>
                      <a:pt x="77" y="66"/>
                      <a:pt x="82" y="67"/>
                      <a:pt x="87" y="69"/>
                    </a:cubicBezTo>
                    <a:cubicBezTo>
                      <a:pt x="92" y="71"/>
                      <a:pt x="97" y="74"/>
                      <a:pt x="101" y="78"/>
                    </a:cubicBezTo>
                    <a:cubicBezTo>
                      <a:pt x="101" y="7"/>
                      <a:pt x="101" y="7"/>
                      <a:pt x="101" y="7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27" y="205"/>
                      <a:pt x="127" y="205"/>
                      <a:pt x="127" y="205"/>
                    </a:cubicBezTo>
                    <a:cubicBezTo>
                      <a:pt x="101" y="205"/>
                      <a:pt x="101" y="205"/>
                      <a:pt x="101" y="205"/>
                    </a:cubicBezTo>
                    <a:lnTo>
                      <a:pt x="101" y="189"/>
                    </a:lnTo>
                    <a:close/>
                    <a:moveTo>
                      <a:pt x="101" y="111"/>
                    </a:moveTo>
                    <a:cubicBezTo>
                      <a:pt x="101" y="106"/>
                      <a:pt x="100" y="101"/>
                      <a:pt x="98" y="96"/>
                    </a:cubicBezTo>
                    <a:cubicBezTo>
                      <a:pt x="96" y="92"/>
                      <a:pt x="93" y="88"/>
                      <a:pt x="90" y="85"/>
                    </a:cubicBezTo>
                    <a:cubicBezTo>
                      <a:pt x="87" y="82"/>
                      <a:pt x="83" y="80"/>
                      <a:pt x="79" y="78"/>
                    </a:cubicBezTo>
                    <a:cubicBezTo>
                      <a:pt x="76" y="76"/>
                      <a:pt x="71" y="76"/>
                      <a:pt x="67" y="76"/>
                    </a:cubicBezTo>
                    <a:cubicBezTo>
                      <a:pt x="62" y="76"/>
                      <a:pt x="57" y="77"/>
                      <a:pt x="53" y="80"/>
                    </a:cubicBezTo>
                    <a:cubicBezTo>
                      <a:pt x="48" y="82"/>
                      <a:pt x="44" y="86"/>
                      <a:pt x="40" y="91"/>
                    </a:cubicBezTo>
                    <a:cubicBezTo>
                      <a:pt x="37" y="95"/>
                      <a:pt x="34" y="101"/>
                      <a:pt x="32" y="108"/>
                    </a:cubicBezTo>
                    <a:cubicBezTo>
                      <a:pt x="30" y="114"/>
                      <a:pt x="29" y="122"/>
                      <a:pt x="29" y="129"/>
                    </a:cubicBezTo>
                    <a:cubicBezTo>
                      <a:pt x="29" y="138"/>
                      <a:pt x="30" y="146"/>
                      <a:pt x="33" y="153"/>
                    </a:cubicBezTo>
                    <a:cubicBezTo>
                      <a:pt x="35" y="161"/>
                      <a:pt x="38" y="167"/>
                      <a:pt x="42" y="173"/>
                    </a:cubicBezTo>
                    <a:cubicBezTo>
                      <a:pt x="45" y="178"/>
                      <a:pt x="50" y="183"/>
                      <a:pt x="55" y="186"/>
                    </a:cubicBezTo>
                    <a:cubicBezTo>
                      <a:pt x="60" y="189"/>
                      <a:pt x="66" y="191"/>
                      <a:pt x="71" y="191"/>
                    </a:cubicBezTo>
                    <a:cubicBezTo>
                      <a:pt x="74" y="191"/>
                      <a:pt x="77" y="190"/>
                      <a:pt x="80" y="189"/>
                    </a:cubicBezTo>
                    <a:cubicBezTo>
                      <a:pt x="83" y="189"/>
                      <a:pt x="85" y="188"/>
                      <a:pt x="88" y="186"/>
                    </a:cubicBezTo>
                    <a:cubicBezTo>
                      <a:pt x="90" y="185"/>
                      <a:pt x="93" y="184"/>
                      <a:pt x="95" y="182"/>
                    </a:cubicBezTo>
                    <a:cubicBezTo>
                      <a:pt x="97" y="180"/>
                      <a:pt x="99" y="179"/>
                      <a:pt x="101" y="177"/>
                    </a:cubicBezTo>
                    <a:lnTo>
                      <a:pt x="101" y="1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16" name="Freeform 22"/>
              <p:cNvSpPr>
                <a:spLocks/>
              </p:cNvSpPr>
              <p:nvPr/>
            </p:nvSpPr>
            <p:spPr bwMode="auto">
              <a:xfrm>
                <a:off x="2515" y="3463"/>
                <a:ext cx="201" cy="432"/>
              </a:xfrm>
              <a:custGeom>
                <a:avLst/>
                <a:gdLst>
                  <a:gd name="T0" fmla="*/ 85 w 85"/>
                  <a:gd name="T1" fmla="*/ 163 h 182"/>
                  <a:gd name="T2" fmla="*/ 71 w 85"/>
                  <a:gd name="T3" fmla="*/ 177 h 182"/>
                  <a:gd name="T4" fmla="*/ 50 w 85"/>
                  <a:gd name="T5" fmla="*/ 182 h 182"/>
                  <a:gd name="T6" fmla="*/ 38 w 85"/>
                  <a:gd name="T7" fmla="*/ 180 h 182"/>
                  <a:gd name="T8" fmla="*/ 30 w 85"/>
                  <a:gd name="T9" fmla="*/ 174 h 182"/>
                  <a:gd name="T10" fmla="*/ 25 w 85"/>
                  <a:gd name="T11" fmla="*/ 164 h 182"/>
                  <a:gd name="T12" fmla="*/ 23 w 85"/>
                  <a:gd name="T13" fmla="*/ 151 h 182"/>
                  <a:gd name="T14" fmla="*/ 23 w 85"/>
                  <a:gd name="T15" fmla="*/ 57 h 182"/>
                  <a:gd name="T16" fmla="*/ 0 w 85"/>
                  <a:gd name="T17" fmla="*/ 57 h 182"/>
                  <a:gd name="T18" fmla="*/ 0 w 85"/>
                  <a:gd name="T19" fmla="*/ 51 h 182"/>
                  <a:gd name="T20" fmla="*/ 19 w 85"/>
                  <a:gd name="T21" fmla="*/ 46 h 182"/>
                  <a:gd name="T22" fmla="*/ 30 w 85"/>
                  <a:gd name="T23" fmla="*/ 36 h 182"/>
                  <a:gd name="T24" fmla="*/ 38 w 85"/>
                  <a:gd name="T25" fmla="*/ 19 h 182"/>
                  <a:gd name="T26" fmla="*/ 42 w 85"/>
                  <a:gd name="T27" fmla="*/ 0 h 182"/>
                  <a:gd name="T28" fmla="*/ 50 w 85"/>
                  <a:gd name="T29" fmla="*/ 0 h 182"/>
                  <a:gd name="T30" fmla="*/ 50 w 85"/>
                  <a:gd name="T31" fmla="*/ 46 h 182"/>
                  <a:gd name="T32" fmla="*/ 80 w 85"/>
                  <a:gd name="T33" fmla="*/ 46 h 182"/>
                  <a:gd name="T34" fmla="*/ 80 w 85"/>
                  <a:gd name="T35" fmla="*/ 57 h 182"/>
                  <a:gd name="T36" fmla="*/ 50 w 85"/>
                  <a:gd name="T37" fmla="*/ 57 h 182"/>
                  <a:gd name="T38" fmla="*/ 50 w 85"/>
                  <a:gd name="T39" fmla="*/ 151 h 182"/>
                  <a:gd name="T40" fmla="*/ 54 w 85"/>
                  <a:gd name="T41" fmla="*/ 161 h 182"/>
                  <a:gd name="T42" fmla="*/ 64 w 85"/>
                  <a:gd name="T43" fmla="*/ 166 h 182"/>
                  <a:gd name="T44" fmla="*/ 73 w 85"/>
                  <a:gd name="T45" fmla="*/ 163 h 182"/>
                  <a:gd name="T46" fmla="*/ 79 w 85"/>
                  <a:gd name="T47" fmla="*/ 158 h 182"/>
                  <a:gd name="T48" fmla="*/ 85 w 85"/>
                  <a:gd name="T49" fmla="*/ 163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5" h="182">
                    <a:moveTo>
                      <a:pt x="85" y="163"/>
                    </a:moveTo>
                    <a:cubicBezTo>
                      <a:pt x="82" y="169"/>
                      <a:pt x="77" y="174"/>
                      <a:pt x="71" y="177"/>
                    </a:cubicBezTo>
                    <a:cubicBezTo>
                      <a:pt x="65" y="181"/>
                      <a:pt x="58" y="182"/>
                      <a:pt x="50" y="182"/>
                    </a:cubicBezTo>
                    <a:cubicBezTo>
                      <a:pt x="45" y="182"/>
                      <a:pt x="41" y="182"/>
                      <a:pt x="38" y="180"/>
                    </a:cubicBezTo>
                    <a:cubicBezTo>
                      <a:pt x="35" y="179"/>
                      <a:pt x="32" y="177"/>
                      <a:pt x="30" y="174"/>
                    </a:cubicBezTo>
                    <a:cubicBezTo>
                      <a:pt x="28" y="171"/>
                      <a:pt x="26" y="168"/>
                      <a:pt x="25" y="164"/>
                    </a:cubicBezTo>
                    <a:cubicBezTo>
                      <a:pt x="24" y="160"/>
                      <a:pt x="23" y="156"/>
                      <a:pt x="23" y="151"/>
                    </a:cubicBezTo>
                    <a:cubicBezTo>
                      <a:pt x="23" y="57"/>
                      <a:pt x="23" y="57"/>
                      <a:pt x="23" y="57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8" y="51"/>
                      <a:pt x="14" y="49"/>
                      <a:pt x="19" y="46"/>
                    </a:cubicBezTo>
                    <a:cubicBezTo>
                      <a:pt x="23" y="44"/>
                      <a:pt x="27" y="40"/>
                      <a:pt x="30" y="36"/>
                    </a:cubicBezTo>
                    <a:cubicBezTo>
                      <a:pt x="34" y="31"/>
                      <a:pt x="36" y="25"/>
                      <a:pt x="38" y="19"/>
                    </a:cubicBezTo>
                    <a:cubicBezTo>
                      <a:pt x="39" y="13"/>
                      <a:pt x="41" y="7"/>
                      <a:pt x="42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0" y="46"/>
                      <a:pt x="50" y="46"/>
                      <a:pt x="50" y="46"/>
                    </a:cubicBezTo>
                    <a:cubicBezTo>
                      <a:pt x="80" y="46"/>
                      <a:pt x="80" y="46"/>
                      <a:pt x="80" y="46"/>
                    </a:cubicBezTo>
                    <a:cubicBezTo>
                      <a:pt x="80" y="57"/>
                      <a:pt x="80" y="57"/>
                      <a:pt x="80" y="57"/>
                    </a:cubicBezTo>
                    <a:cubicBezTo>
                      <a:pt x="50" y="57"/>
                      <a:pt x="50" y="57"/>
                      <a:pt x="50" y="57"/>
                    </a:cubicBezTo>
                    <a:cubicBezTo>
                      <a:pt x="50" y="151"/>
                      <a:pt x="50" y="151"/>
                      <a:pt x="50" y="151"/>
                    </a:cubicBezTo>
                    <a:cubicBezTo>
                      <a:pt x="50" y="155"/>
                      <a:pt x="51" y="159"/>
                      <a:pt x="54" y="161"/>
                    </a:cubicBezTo>
                    <a:cubicBezTo>
                      <a:pt x="57" y="164"/>
                      <a:pt x="60" y="166"/>
                      <a:pt x="64" y="166"/>
                    </a:cubicBezTo>
                    <a:cubicBezTo>
                      <a:pt x="67" y="166"/>
                      <a:pt x="70" y="165"/>
                      <a:pt x="73" y="163"/>
                    </a:cubicBezTo>
                    <a:cubicBezTo>
                      <a:pt x="75" y="162"/>
                      <a:pt x="77" y="160"/>
                      <a:pt x="79" y="158"/>
                    </a:cubicBezTo>
                    <a:lnTo>
                      <a:pt x="85" y="1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17" name="Freeform 23"/>
              <p:cNvSpPr>
                <a:spLocks noEditPoints="1"/>
              </p:cNvSpPr>
              <p:nvPr/>
            </p:nvSpPr>
            <p:spPr bwMode="auto">
              <a:xfrm>
                <a:off x="2742" y="3565"/>
                <a:ext cx="334" cy="330"/>
              </a:xfrm>
              <a:custGeom>
                <a:avLst/>
                <a:gdLst>
                  <a:gd name="T0" fmla="*/ 71 w 141"/>
                  <a:gd name="T1" fmla="*/ 139 h 139"/>
                  <a:gd name="T2" fmla="*/ 42 w 141"/>
                  <a:gd name="T3" fmla="*/ 134 h 139"/>
                  <a:gd name="T4" fmla="*/ 20 w 141"/>
                  <a:gd name="T5" fmla="*/ 119 h 139"/>
                  <a:gd name="T6" fmla="*/ 5 w 141"/>
                  <a:gd name="T7" fmla="*/ 98 h 139"/>
                  <a:gd name="T8" fmla="*/ 0 w 141"/>
                  <a:gd name="T9" fmla="*/ 71 h 139"/>
                  <a:gd name="T10" fmla="*/ 5 w 141"/>
                  <a:gd name="T11" fmla="*/ 44 h 139"/>
                  <a:gd name="T12" fmla="*/ 20 w 141"/>
                  <a:gd name="T13" fmla="*/ 21 h 139"/>
                  <a:gd name="T14" fmla="*/ 42 w 141"/>
                  <a:gd name="T15" fmla="*/ 6 h 139"/>
                  <a:gd name="T16" fmla="*/ 71 w 141"/>
                  <a:gd name="T17" fmla="*/ 0 h 139"/>
                  <a:gd name="T18" fmla="*/ 99 w 141"/>
                  <a:gd name="T19" fmla="*/ 5 h 139"/>
                  <a:gd name="T20" fmla="*/ 121 w 141"/>
                  <a:gd name="T21" fmla="*/ 19 h 139"/>
                  <a:gd name="T22" fmla="*/ 136 w 141"/>
                  <a:gd name="T23" fmla="*/ 40 h 139"/>
                  <a:gd name="T24" fmla="*/ 141 w 141"/>
                  <a:gd name="T25" fmla="*/ 66 h 139"/>
                  <a:gd name="T26" fmla="*/ 136 w 141"/>
                  <a:gd name="T27" fmla="*/ 94 h 139"/>
                  <a:gd name="T28" fmla="*/ 121 w 141"/>
                  <a:gd name="T29" fmla="*/ 118 h 139"/>
                  <a:gd name="T30" fmla="*/ 99 w 141"/>
                  <a:gd name="T31" fmla="*/ 134 h 139"/>
                  <a:gd name="T32" fmla="*/ 71 w 141"/>
                  <a:gd name="T33" fmla="*/ 139 h 139"/>
                  <a:gd name="T34" fmla="*/ 76 w 141"/>
                  <a:gd name="T35" fmla="*/ 129 h 139"/>
                  <a:gd name="T36" fmla="*/ 90 w 141"/>
                  <a:gd name="T37" fmla="*/ 125 h 139"/>
                  <a:gd name="T38" fmla="*/ 101 w 141"/>
                  <a:gd name="T39" fmla="*/ 115 h 139"/>
                  <a:gd name="T40" fmla="*/ 109 w 141"/>
                  <a:gd name="T41" fmla="*/ 99 h 139"/>
                  <a:gd name="T42" fmla="*/ 111 w 141"/>
                  <a:gd name="T43" fmla="*/ 80 h 139"/>
                  <a:gd name="T44" fmla="*/ 109 w 141"/>
                  <a:gd name="T45" fmla="*/ 52 h 139"/>
                  <a:gd name="T46" fmla="*/ 101 w 141"/>
                  <a:gd name="T47" fmla="*/ 30 h 139"/>
                  <a:gd name="T48" fmla="*/ 86 w 141"/>
                  <a:gd name="T49" fmla="*/ 15 h 139"/>
                  <a:gd name="T50" fmla="*/ 64 w 141"/>
                  <a:gd name="T51" fmla="*/ 10 h 139"/>
                  <a:gd name="T52" fmla="*/ 51 w 141"/>
                  <a:gd name="T53" fmla="*/ 14 h 139"/>
                  <a:gd name="T54" fmla="*/ 40 w 141"/>
                  <a:gd name="T55" fmla="*/ 24 h 139"/>
                  <a:gd name="T56" fmla="*/ 33 w 141"/>
                  <a:gd name="T57" fmla="*/ 40 h 139"/>
                  <a:gd name="T58" fmla="*/ 30 w 141"/>
                  <a:gd name="T59" fmla="*/ 59 h 139"/>
                  <a:gd name="T60" fmla="*/ 33 w 141"/>
                  <a:gd name="T61" fmla="*/ 87 h 139"/>
                  <a:gd name="T62" fmla="*/ 42 w 141"/>
                  <a:gd name="T63" fmla="*/ 109 h 139"/>
                  <a:gd name="T64" fmla="*/ 56 w 141"/>
                  <a:gd name="T65" fmla="*/ 124 h 139"/>
                  <a:gd name="T66" fmla="*/ 76 w 141"/>
                  <a:gd name="T67" fmla="*/ 12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1" h="139">
                    <a:moveTo>
                      <a:pt x="71" y="139"/>
                    </a:moveTo>
                    <a:cubicBezTo>
                      <a:pt x="60" y="139"/>
                      <a:pt x="51" y="138"/>
                      <a:pt x="42" y="134"/>
                    </a:cubicBezTo>
                    <a:cubicBezTo>
                      <a:pt x="34" y="131"/>
                      <a:pt x="26" y="126"/>
                      <a:pt x="20" y="119"/>
                    </a:cubicBezTo>
                    <a:cubicBezTo>
                      <a:pt x="14" y="113"/>
                      <a:pt x="9" y="106"/>
                      <a:pt x="5" y="98"/>
                    </a:cubicBezTo>
                    <a:cubicBezTo>
                      <a:pt x="2" y="90"/>
                      <a:pt x="0" y="81"/>
                      <a:pt x="0" y="71"/>
                    </a:cubicBezTo>
                    <a:cubicBezTo>
                      <a:pt x="0" y="61"/>
                      <a:pt x="2" y="52"/>
                      <a:pt x="5" y="44"/>
                    </a:cubicBezTo>
                    <a:cubicBezTo>
                      <a:pt x="9" y="35"/>
                      <a:pt x="14" y="27"/>
                      <a:pt x="20" y="21"/>
                    </a:cubicBezTo>
                    <a:cubicBezTo>
                      <a:pt x="26" y="15"/>
                      <a:pt x="34" y="9"/>
                      <a:pt x="42" y="6"/>
                    </a:cubicBezTo>
                    <a:cubicBezTo>
                      <a:pt x="51" y="2"/>
                      <a:pt x="60" y="0"/>
                      <a:pt x="71" y="0"/>
                    </a:cubicBezTo>
                    <a:cubicBezTo>
                      <a:pt x="81" y="0"/>
                      <a:pt x="90" y="2"/>
                      <a:pt x="99" y="5"/>
                    </a:cubicBezTo>
                    <a:cubicBezTo>
                      <a:pt x="108" y="9"/>
                      <a:pt x="115" y="13"/>
                      <a:pt x="121" y="19"/>
                    </a:cubicBezTo>
                    <a:cubicBezTo>
                      <a:pt x="128" y="25"/>
                      <a:pt x="133" y="32"/>
                      <a:pt x="136" y="40"/>
                    </a:cubicBezTo>
                    <a:cubicBezTo>
                      <a:pt x="140" y="48"/>
                      <a:pt x="141" y="57"/>
                      <a:pt x="141" y="66"/>
                    </a:cubicBezTo>
                    <a:cubicBezTo>
                      <a:pt x="141" y="76"/>
                      <a:pt x="140" y="85"/>
                      <a:pt x="136" y="94"/>
                    </a:cubicBezTo>
                    <a:cubicBezTo>
                      <a:pt x="133" y="103"/>
                      <a:pt x="128" y="111"/>
                      <a:pt x="121" y="118"/>
                    </a:cubicBezTo>
                    <a:cubicBezTo>
                      <a:pt x="115" y="124"/>
                      <a:pt x="108" y="130"/>
                      <a:pt x="99" y="134"/>
                    </a:cubicBezTo>
                    <a:cubicBezTo>
                      <a:pt x="90" y="137"/>
                      <a:pt x="81" y="139"/>
                      <a:pt x="71" y="139"/>
                    </a:cubicBezTo>
                    <a:moveTo>
                      <a:pt x="76" y="129"/>
                    </a:moveTo>
                    <a:cubicBezTo>
                      <a:pt x="81" y="129"/>
                      <a:pt x="86" y="128"/>
                      <a:pt x="90" y="125"/>
                    </a:cubicBezTo>
                    <a:cubicBezTo>
                      <a:pt x="94" y="123"/>
                      <a:pt x="98" y="119"/>
                      <a:pt x="101" y="115"/>
                    </a:cubicBezTo>
                    <a:cubicBezTo>
                      <a:pt x="105" y="110"/>
                      <a:pt x="107" y="105"/>
                      <a:pt x="109" y="99"/>
                    </a:cubicBezTo>
                    <a:cubicBezTo>
                      <a:pt x="111" y="93"/>
                      <a:pt x="111" y="86"/>
                      <a:pt x="111" y="80"/>
                    </a:cubicBezTo>
                    <a:cubicBezTo>
                      <a:pt x="111" y="70"/>
                      <a:pt x="111" y="61"/>
                      <a:pt x="109" y="52"/>
                    </a:cubicBezTo>
                    <a:cubicBezTo>
                      <a:pt x="107" y="44"/>
                      <a:pt x="105" y="37"/>
                      <a:pt x="101" y="30"/>
                    </a:cubicBezTo>
                    <a:cubicBezTo>
                      <a:pt x="97" y="24"/>
                      <a:pt x="92" y="19"/>
                      <a:pt x="86" y="15"/>
                    </a:cubicBezTo>
                    <a:cubicBezTo>
                      <a:pt x="80" y="12"/>
                      <a:pt x="73" y="10"/>
                      <a:pt x="64" y="10"/>
                    </a:cubicBezTo>
                    <a:cubicBezTo>
                      <a:pt x="60" y="10"/>
                      <a:pt x="55" y="11"/>
                      <a:pt x="51" y="14"/>
                    </a:cubicBezTo>
                    <a:cubicBezTo>
                      <a:pt x="47" y="16"/>
                      <a:pt x="43" y="20"/>
                      <a:pt x="40" y="24"/>
                    </a:cubicBezTo>
                    <a:cubicBezTo>
                      <a:pt x="37" y="29"/>
                      <a:pt x="34" y="34"/>
                      <a:pt x="33" y="40"/>
                    </a:cubicBezTo>
                    <a:cubicBezTo>
                      <a:pt x="31" y="46"/>
                      <a:pt x="30" y="52"/>
                      <a:pt x="30" y="59"/>
                    </a:cubicBezTo>
                    <a:cubicBezTo>
                      <a:pt x="30" y="69"/>
                      <a:pt x="31" y="78"/>
                      <a:pt x="33" y="87"/>
                    </a:cubicBezTo>
                    <a:cubicBezTo>
                      <a:pt x="35" y="95"/>
                      <a:pt x="38" y="103"/>
                      <a:pt x="42" y="109"/>
                    </a:cubicBezTo>
                    <a:cubicBezTo>
                      <a:pt x="46" y="115"/>
                      <a:pt x="51" y="120"/>
                      <a:pt x="56" y="124"/>
                    </a:cubicBezTo>
                    <a:cubicBezTo>
                      <a:pt x="62" y="128"/>
                      <a:pt x="68" y="129"/>
                      <a:pt x="76" y="12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18" name="Freeform 24"/>
              <p:cNvSpPr>
                <a:spLocks noEditPoints="1"/>
              </p:cNvSpPr>
              <p:nvPr/>
            </p:nvSpPr>
            <p:spPr bwMode="auto">
              <a:xfrm>
                <a:off x="3123" y="3565"/>
                <a:ext cx="337" cy="330"/>
              </a:xfrm>
              <a:custGeom>
                <a:avLst/>
                <a:gdLst>
                  <a:gd name="T0" fmla="*/ 71 w 142"/>
                  <a:gd name="T1" fmla="*/ 139 h 139"/>
                  <a:gd name="T2" fmla="*/ 43 w 142"/>
                  <a:gd name="T3" fmla="*/ 134 h 139"/>
                  <a:gd name="T4" fmla="*/ 20 w 142"/>
                  <a:gd name="T5" fmla="*/ 119 h 139"/>
                  <a:gd name="T6" fmla="*/ 6 w 142"/>
                  <a:gd name="T7" fmla="*/ 98 h 139"/>
                  <a:gd name="T8" fmla="*/ 0 w 142"/>
                  <a:gd name="T9" fmla="*/ 71 h 139"/>
                  <a:gd name="T10" fmla="*/ 6 w 142"/>
                  <a:gd name="T11" fmla="*/ 44 h 139"/>
                  <a:gd name="T12" fmla="*/ 20 w 142"/>
                  <a:gd name="T13" fmla="*/ 21 h 139"/>
                  <a:gd name="T14" fmla="*/ 43 w 142"/>
                  <a:gd name="T15" fmla="*/ 6 h 139"/>
                  <a:gd name="T16" fmla="*/ 71 w 142"/>
                  <a:gd name="T17" fmla="*/ 0 h 139"/>
                  <a:gd name="T18" fmla="*/ 99 w 142"/>
                  <a:gd name="T19" fmla="*/ 5 h 139"/>
                  <a:gd name="T20" fmla="*/ 122 w 142"/>
                  <a:gd name="T21" fmla="*/ 19 h 139"/>
                  <a:gd name="T22" fmla="*/ 136 w 142"/>
                  <a:gd name="T23" fmla="*/ 40 h 139"/>
                  <a:gd name="T24" fmla="*/ 142 w 142"/>
                  <a:gd name="T25" fmla="*/ 66 h 139"/>
                  <a:gd name="T26" fmla="*/ 136 w 142"/>
                  <a:gd name="T27" fmla="*/ 94 h 139"/>
                  <a:gd name="T28" fmla="*/ 122 w 142"/>
                  <a:gd name="T29" fmla="*/ 118 h 139"/>
                  <a:gd name="T30" fmla="*/ 99 w 142"/>
                  <a:gd name="T31" fmla="*/ 134 h 139"/>
                  <a:gd name="T32" fmla="*/ 71 w 142"/>
                  <a:gd name="T33" fmla="*/ 139 h 139"/>
                  <a:gd name="T34" fmla="*/ 76 w 142"/>
                  <a:gd name="T35" fmla="*/ 129 h 139"/>
                  <a:gd name="T36" fmla="*/ 90 w 142"/>
                  <a:gd name="T37" fmla="*/ 125 h 139"/>
                  <a:gd name="T38" fmla="*/ 102 w 142"/>
                  <a:gd name="T39" fmla="*/ 115 h 139"/>
                  <a:gd name="T40" fmla="*/ 109 w 142"/>
                  <a:gd name="T41" fmla="*/ 99 h 139"/>
                  <a:gd name="T42" fmla="*/ 112 w 142"/>
                  <a:gd name="T43" fmla="*/ 80 h 139"/>
                  <a:gd name="T44" fmla="*/ 109 w 142"/>
                  <a:gd name="T45" fmla="*/ 52 h 139"/>
                  <a:gd name="T46" fmla="*/ 101 w 142"/>
                  <a:gd name="T47" fmla="*/ 30 h 139"/>
                  <a:gd name="T48" fmla="*/ 87 w 142"/>
                  <a:gd name="T49" fmla="*/ 15 h 139"/>
                  <a:gd name="T50" fmla="*/ 65 w 142"/>
                  <a:gd name="T51" fmla="*/ 10 h 139"/>
                  <a:gd name="T52" fmla="*/ 52 w 142"/>
                  <a:gd name="T53" fmla="*/ 14 h 139"/>
                  <a:gd name="T54" fmla="*/ 41 w 142"/>
                  <a:gd name="T55" fmla="*/ 24 h 139"/>
                  <a:gd name="T56" fmla="*/ 33 w 142"/>
                  <a:gd name="T57" fmla="*/ 40 h 139"/>
                  <a:gd name="T58" fmla="*/ 30 w 142"/>
                  <a:gd name="T59" fmla="*/ 59 h 139"/>
                  <a:gd name="T60" fmla="*/ 33 w 142"/>
                  <a:gd name="T61" fmla="*/ 87 h 139"/>
                  <a:gd name="T62" fmla="*/ 42 w 142"/>
                  <a:gd name="T63" fmla="*/ 109 h 139"/>
                  <a:gd name="T64" fmla="*/ 57 w 142"/>
                  <a:gd name="T65" fmla="*/ 124 h 139"/>
                  <a:gd name="T66" fmla="*/ 76 w 142"/>
                  <a:gd name="T67" fmla="*/ 12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2" h="139">
                    <a:moveTo>
                      <a:pt x="71" y="139"/>
                    </a:moveTo>
                    <a:cubicBezTo>
                      <a:pt x="61" y="139"/>
                      <a:pt x="51" y="138"/>
                      <a:pt x="43" y="134"/>
                    </a:cubicBezTo>
                    <a:cubicBezTo>
                      <a:pt x="34" y="131"/>
                      <a:pt x="27" y="126"/>
                      <a:pt x="20" y="119"/>
                    </a:cubicBezTo>
                    <a:cubicBezTo>
                      <a:pt x="14" y="113"/>
                      <a:pt x="9" y="106"/>
                      <a:pt x="6" y="98"/>
                    </a:cubicBezTo>
                    <a:cubicBezTo>
                      <a:pt x="2" y="90"/>
                      <a:pt x="0" y="81"/>
                      <a:pt x="0" y="71"/>
                    </a:cubicBezTo>
                    <a:cubicBezTo>
                      <a:pt x="0" y="61"/>
                      <a:pt x="2" y="52"/>
                      <a:pt x="6" y="44"/>
                    </a:cubicBezTo>
                    <a:cubicBezTo>
                      <a:pt x="9" y="35"/>
                      <a:pt x="14" y="27"/>
                      <a:pt x="20" y="21"/>
                    </a:cubicBezTo>
                    <a:cubicBezTo>
                      <a:pt x="27" y="15"/>
                      <a:pt x="34" y="9"/>
                      <a:pt x="43" y="6"/>
                    </a:cubicBezTo>
                    <a:cubicBezTo>
                      <a:pt x="51" y="2"/>
                      <a:pt x="61" y="0"/>
                      <a:pt x="71" y="0"/>
                    </a:cubicBezTo>
                    <a:cubicBezTo>
                      <a:pt x="81" y="0"/>
                      <a:pt x="91" y="2"/>
                      <a:pt x="99" y="5"/>
                    </a:cubicBezTo>
                    <a:cubicBezTo>
                      <a:pt x="108" y="9"/>
                      <a:pt x="115" y="13"/>
                      <a:pt x="122" y="19"/>
                    </a:cubicBezTo>
                    <a:cubicBezTo>
                      <a:pt x="128" y="25"/>
                      <a:pt x="133" y="32"/>
                      <a:pt x="136" y="40"/>
                    </a:cubicBezTo>
                    <a:cubicBezTo>
                      <a:pt x="140" y="48"/>
                      <a:pt x="142" y="57"/>
                      <a:pt x="142" y="66"/>
                    </a:cubicBezTo>
                    <a:cubicBezTo>
                      <a:pt x="142" y="76"/>
                      <a:pt x="140" y="85"/>
                      <a:pt x="136" y="94"/>
                    </a:cubicBezTo>
                    <a:cubicBezTo>
                      <a:pt x="133" y="103"/>
                      <a:pt x="128" y="111"/>
                      <a:pt x="122" y="118"/>
                    </a:cubicBezTo>
                    <a:cubicBezTo>
                      <a:pt x="115" y="124"/>
                      <a:pt x="108" y="130"/>
                      <a:pt x="99" y="134"/>
                    </a:cubicBezTo>
                    <a:cubicBezTo>
                      <a:pt x="91" y="137"/>
                      <a:pt x="81" y="139"/>
                      <a:pt x="71" y="139"/>
                    </a:cubicBezTo>
                    <a:moveTo>
                      <a:pt x="76" y="129"/>
                    </a:moveTo>
                    <a:cubicBezTo>
                      <a:pt x="81" y="129"/>
                      <a:pt x="86" y="128"/>
                      <a:pt x="90" y="125"/>
                    </a:cubicBezTo>
                    <a:cubicBezTo>
                      <a:pt x="95" y="123"/>
                      <a:pt x="98" y="119"/>
                      <a:pt x="102" y="115"/>
                    </a:cubicBezTo>
                    <a:cubicBezTo>
                      <a:pt x="105" y="110"/>
                      <a:pt x="107" y="105"/>
                      <a:pt x="109" y="99"/>
                    </a:cubicBezTo>
                    <a:cubicBezTo>
                      <a:pt x="111" y="93"/>
                      <a:pt x="112" y="86"/>
                      <a:pt x="112" y="80"/>
                    </a:cubicBezTo>
                    <a:cubicBezTo>
                      <a:pt x="112" y="70"/>
                      <a:pt x="111" y="61"/>
                      <a:pt x="109" y="52"/>
                    </a:cubicBezTo>
                    <a:cubicBezTo>
                      <a:pt x="108" y="44"/>
                      <a:pt x="105" y="37"/>
                      <a:pt x="101" y="30"/>
                    </a:cubicBezTo>
                    <a:cubicBezTo>
                      <a:pt x="97" y="24"/>
                      <a:pt x="93" y="19"/>
                      <a:pt x="87" y="15"/>
                    </a:cubicBezTo>
                    <a:cubicBezTo>
                      <a:pt x="81" y="12"/>
                      <a:pt x="73" y="10"/>
                      <a:pt x="65" y="10"/>
                    </a:cubicBezTo>
                    <a:cubicBezTo>
                      <a:pt x="60" y="10"/>
                      <a:pt x="56" y="11"/>
                      <a:pt x="52" y="14"/>
                    </a:cubicBezTo>
                    <a:cubicBezTo>
                      <a:pt x="47" y="16"/>
                      <a:pt x="44" y="20"/>
                      <a:pt x="41" y="24"/>
                    </a:cubicBezTo>
                    <a:cubicBezTo>
                      <a:pt x="37" y="29"/>
                      <a:pt x="35" y="34"/>
                      <a:pt x="33" y="40"/>
                    </a:cubicBezTo>
                    <a:cubicBezTo>
                      <a:pt x="31" y="46"/>
                      <a:pt x="30" y="52"/>
                      <a:pt x="30" y="59"/>
                    </a:cubicBezTo>
                    <a:cubicBezTo>
                      <a:pt x="30" y="69"/>
                      <a:pt x="31" y="78"/>
                      <a:pt x="33" y="87"/>
                    </a:cubicBezTo>
                    <a:cubicBezTo>
                      <a:pt x="35" y="95"/>
                      <a:pt x="38" y="103"/>
                      <a:pt x="42" y="109"/>
                    </a:cubicBezTo>
                    <a:cubicBezTo>
                      <a:pt x="46" y="115"/>
                      <a:pt x="51" y="120"/>
                      <a:pt x="57" y="124"/>
                    </a:cubicBezTo>
                    <a:cubicBezTo>
                      <a:pt x="62" y="128"/>
                      <a:pt x="69" y="129"/>
                      <a:pt x="76" y="12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19" name="Freeform 25"/>
              <p:cNvSpPr>
                <a:spLocks/>
              </p:cNvSpPr>
              <p:nvPr/>
            </p:nvSpPr>
            <p:spPr bwMode="auto">
              <a:xfrm>
                <a:off x="3522" y="3408"/>
                <a:ext cx="64" cy="483"/>
              </a:xfrm>
              <a:custGeom>
                <a:avLst/>
                <a:gdLst>
                  <a:gd name="T0" fmla="*/ 64 w 64"/>
                  <a:gd name="T1" fmla="*/ 483 h 483"/>
                  <a:gd name="T2" fmla="*/ 0 w 64"/>
                  <a:gd name="T3" fmla="*/ 483 h 483"/>
                  <a:gd name="T4" fmla="*/ 0 w 64"/>
                  <a:gd name="T5" fmla="*/ 19 h 483"/>
                  <a:gd name="T6" fmla="*/ 45 w 64"/>
                  <a:gd name="T7" fmla="*/ 0 h 483"/>
                  <a:gd name="T8" fmla="*/ 64 w 64"/>
                  <a:gd name="T9" fmla="*/ 0 h 483"/>
                  <a:gd name="T10" fmla="*/ 64 w 64"/>
                  <a:gd name="T11" fmla="*/ 483 h 4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4" h="483">
                    <a:moveTo>
                      <a:pt x="64" y="483"/>
                    </a:moveTo>
                    <a:lnTo>
                      <a:pt x="0" y="483"/>
                    </a:lnTo>
                    <a:lnTo>
                      <a:pt x="0" y="19"/>
                    </a:lnTo>
                    <a:lnTo>
                      <a:pt x="45" y="0"/>
                    </a:lnTo>
                    <a:lnTo>
                      <a:pt x="64" y="0"/>
                    </a:lnTo>
                    <a:lnTo>
                      <a:pt x="64" y="48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20" name="Freeform 26"/>
              <p:cNvSpPr>
                <a:spLocks/>
              </p:cNvSpPr>
              <p:nvPr/>
            </p:nvSpPr>
            <p:spPr bwMode="auto">
              <a:xfrm>
                <a:off x="3647" y="3565"/>
                <a:ext cx="237" cy="330"/>
              </a:xfrm>
              <a:custGeom>
                <a:avLst/>
                <a:gdLst>
                  <a:gd name="T0" fmla="*/ 49 w 100"/>
                  <a:gd name="T1" fmla="*/ 130 h 139"/>
                  <a:gd name="T2" fmla="*/ 59 w 100"/>
                  <a:gd name="T3" fmla="*/ 129 h 139"/>
                  <a:gd name="T4" fmla="*/ 67 w 100"/>
                  <a:gd name="T5" fmla="*/ 124 h 139"/>
                  <a:gd name="T6" fmla="*/ 72 w 100"/>
                  <a:gd name="T7" fmla="*/ 118 h 139"/>
                  <a:gd name="T8" fmla="*/ 74 w 100"/>
                  <a:gd name="T9" fmla="*/ 110 h 139"/>
                  <a:gd name="T10" fmla="*/ 71 w 100"/>
                  <a:gd name="T11" fmla="*/ 100 h 139"/>
                  <a:gd name="T12" fmla="*/ 63 w 100"/>
                  <a:gd name="T13" fmla="*/ 92 h 139"/>
                  <a:gd name="T14" fmla="*/ 51 w 100"/>
                  <a:gd name="T15" fmla="*/ 85 h 139"/>
                  <a:gd name="T16" fmla="*/ 38 w 100"/>
                  <a:gd name="T17" fmla="*/ 79 h 139"/>
                  <a:gd name="T18" fmla="*/ 25 w 100"/>
                  <a:gd name="T19" fmla="*/ 72 h 139"/>
                  <a:gd name="T20" fmla="*/ 14 w 100"/>
                  <a:gd name="T21" fmla="*/ 63 h 139"/>
                  <a:gd name="T22" fmla="*/ 5 w 100"/>
                  <a:gd name="T23" fmla="*/ 52 h 139"/>
                  <a:gd name="T24" fmla="*/ 2 w 100"/>
                  <a:gd name="T25" fmla="*/ 37 h 139"/>
                  <a:gd name="T26" fmla="*/ 6 w 100"/>
                  <a:gd name="T27" fmla="*/ 22 h 139"/>
                  <a:gd name="T28" fmla="*/ 15 w 100"/>
                  <a:gd name="T29" fmla="*/ 11 h 139"/>
                  <a:gd name="T30" fmla="*/ 30 w 100"/>
                  <a:gd name="T31" fmla="*/ 3 h 139"/>
                  <a:gd name="T32" fmla="*/ 48 w 100"/>
                  <a:gd name="T33" fmla="*/ 0 h 139"/>
                  <a:gd name="T34" fmla="*/ 61 w 100"/>
                  <a:gd name="T35" fmla="*/ 1 h 139"/>
                  <a:gd name="T36" fmla="*/ 72 w 100"/>
                  <a:gd name="T37" fmla="*/ 5 h 139"/>
                  <a:gd name="T38" fmla="*/ 83 w 100"/>
                  <a:gd name="T39" fmla="*/ 12 h 139"/>
                  <a:gd name="T40" fmla="*/ 95 w 100"/>
                  <a:gd name="T41" fmla="*/ 25 h 139"/>
                  <a:gd name="T42" fmla="*/ 85 w 100"/>
                  <a:gd name="T43" fmla="*/ 34 h 139"/>
                  <a:gd name="T44" fmla="*/ 68 w 100"/>
                  <a:gd name="T45" fmla="*/ 15 h 139"/>
                  <a:gd name="T46" fmla="*/ 48 w 100"/>
                  <a:gd name="T47" fmla="*/ 9 h 139"/>
                  <a:gd name="T48" fmla="*/ 37 w 100"/>
                  <a:gd name="T49" fmla="*/ 10 h 139"/>
                  <a:gd name="T50" fmla="*/ 29 w 100"/>
                  <a:gd name="T51" fmla="*/ 14 h 139"/>
                  <a:gd name="T52" fmla="*/ 24 w 100"/>
                  <a:gd name="T53" fmla="*/ 20 h 139"/>
                  <a:gd name="T54" fmla="*/ 22 w 100"/>
                  <a:gd name="T55" fmla="*/ 27 h 139"/>
                  <a:gd name="T56" fmla="*/ 26 w 100"/>
                  <a:gd name="T57" fmla="*/ 37 h 139"/>
                  <a:gd name="T58" fmla="*/ 34 w 100"/>
                  <a:gd name="T59" fmla="*/ 45 h 139"/>
                  <a:gd name="T60" fmla="*/ 47 w 100"/>
                  <a:gd name="T61" fmla="*/ 52 h 139"/>
                  <a:gd name="T62" fmla="*/ 61 w 100"/>
                  <a:gd name="T63" fmla="*/ 58 h 139"/>
                  <a:gd name="T64" fmla="*/ 75 w 100"/>
                  <a:gd name="T65" fmla="*/ 65 h 139"/>
                  <a:gd name="T66" fmla="*/ 88 w 100"/>
                  <a:gd name="T67" fmla="*/ 73 h 139"/>
                  <a:gd name="T68" fmla="*/ 97 w 100"/>
                  <a:gd name="T69" fmla="*/ 84 h 139"/>
                  <a:gd name="T70" fmla="*/ 100 w 100"/>
                  <a:gd name="T71" fmla="*/ 99 h 139"/>
                  <a:gd name="T72" fmla="*/ 97 w 100"/>
                  <a:gd name="T73" fmla="*/ 115 h 139"/>
                  <a:gd name="T74" fmla="*/ 87 w 100"/>
                  <a:gd name="T75" fmla="*/ 128 h 139"/>
                  <a:gd name="T76" fmla="*/ 71 w 100"/>
                  <a:gd name="T77" fmla="*/ 136 h 139"/>
                  <a:gd name="T78" fmla="*/ 49 w 100"/>
                  <a:gd name="T79" fmla="*/ 139 h 139"/>
                  <a:gd name="T80" fmla="*/ 37 w 100"/>
                  <a:gd name="T81" fmla="*/ 138 h 139"/>
                  <a:gd name="T82" fmla="*/ 25 w 100"/>
                  <a:gd name="T83" fmla="*/ 135 h 139"/>
                  <a:gd name="T84" fmla="*/ 12 w 100"/>
                  <a:gd name="T85" fmla="*/ 127 h 139"/>
                  <a:gd name="T86" fmla="*/ 0 w 100"/>
                  <a:gd name="T87" fmla="*/ 115 h 139"/>
                  <a:gd name="T88" fmla="*/ 10 w 100"/>
                  <a:gd name="T89" fmla="*/ 105 h 139"/>
                  <a:gd name="T90" fmla="*/ 20 w 100"/>
                  <a:gd name="T91" fmla="*/ 116 h 139"/>
                  <a:gd name="T92" fmla="*/ 29 w 100"/>
                  <a:gd name="T93" fmla="*/ 124 h 139"/>
                  <a:gd name="T94" fmla="*/ 38 w 100"/>
                  <a:gd name="T95" fmla="*/ 129 h 139"/>
                  <a:gd name="T96" fmla="*/ 49 w 100"/>
                  <a:gd name="T97" fmla="*/ 13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00" h="139">
                    <a:moveTo>
                      <a:pt x="49" y="130"/>
                    </a:moveTo>
                    <a:cubicBezTo>
                      <a:pt x="53" y="130"/>
                      <a:pt x="56" y="130"/>
                      <a:pt x="59" y="129"/>
                    </a:cubicBezTo>
                    <a:cubicBezTo>
                      <a:pt x="62" y="127"/>
                      <a:pt x="65" y="126"/>
                      <a:pt x="67" y="124"/>
                    </a:cubicBezTo>
                    <a:cubicBezTo>
                      <a:pt x="69" y="122"/>
                      <a:pt x="71" y="120"/>
                      <a:pt x="72" y="118"/>
                    </a:cubicBezTo>
                    <a:cubicBezTo>
                      <a:pt x="73" y="115"/>
                      <a:pt x="74" y="113"/>
                      <a:pt x="74" y="110"/>
                    </a:cubicBezTo>
                    <a:cubicBezTo>
                      <a:pt x="74" y="106"/>
                      <a:pt x="73" y="103"/>
                      <a:pt x="71" y="100"/>
                    </a:cubicBezTo>
                    <a:cubicBezTo>
                      <a:pt x="69" y="97"/>
                      <a:pt x="66" y="94"/>
                      <a:pt x="63" y="92"/>
                    </a:cubicBezTo>
                    <a:cubicBezTo>
                      <a:pt x="59" y="89"/>
                      <a:pt x="56" y="87"/>
                      <a:pt x="51" y="85"/>
                    </a:cubicBezTo>
                    <a:cubicBezTo>
                      <a:pt x="47" y="83"/>
                      <a:pt x="43" y="81"/>
                      <a:pt x="38" y="79"/>
                    </a:cubicBezTo>
                    <a:cubicBezTo>
                      <a:pt x="34" y="77"/>
                      <a:pt x="29" y="74"/>
                      <a:pt x="25" y="72"/>
                    </a:cubicBezTo>
                    <a:cubicBezTo>
                      <a:pt x="21" y="70"/>
                      <a:pt x="17" y="67"/>
                      <a:pt x="14" y="63"/>
                    </a:cubicBezTo>
                    <a:cubicBezTo>
                      <a:pt x="10" y="60"/>
                      <a:pt x="8" y="57"/>
                      <a:pt x="5" y="52"/>
                    </a:cubicBezTo>
                    <a:cubicBezTo>
                      <a:pt x="3" y="48"/>
                      <a:pt x="2" y="43"/>
                      <a:pt x="2" y="37"/>
                    </a:cubicBezTo>
                    <a:cubicBezTo>
                      <a:pt x="2" y="32"/>
                      <a:pt x="4" y="27"/>
                      <a:pt x="6" y="22"/>
                    </a:cubicBezTo>
                    <a:cubicBezTo>
                      <a:pt x="8" y="18"/>
                      <a:pt x="11" y="14"/>
                      <a:pt x="15" y="11"/>
                    </a:cubicBezTo>
                    <a:cubicBezTo>
                      <a:pt x="19" y="7"/>
                      <a:pt x="24" y="5"/>
                      <a:pt x="30" y="3"/>
                    </a:cubicBezTo>
                    <a:cubicBezTo>
                      <a:pt x="35" y="1"/>
                      <a:pt x="41" y="0"/>
                      <a:pt x="48" y="0"/>
                    </a:cubicBezTo>
                    <a:cubicBezTo>
                      <a:pt x="52" y="0"/>
                      <a:pt x="57" y="0"/>
                      <a:pt x="61" y="1"/>
                    </a:cubicBezTo>
                    <a:cubicBezTo>
                      <a:pt x="64" y="2"/>
                      <a:pt x="68" y="3"/>
                      <a:pt x="72" y="5"/>
                    </a:cubicBezTo>
                    <a:cubicBezTo>
                      <a:pt x="76" y="6"/>
                      <a:pt x="79" y="9"/>
                      <a:pt x="83" y="12"/>
                    </a:cubicBezTo>
                    <a:cubicBezTo>
                      <a:pt x="87" y="15"/>
                      <a:pt x="90" y="20"/>
                      <a:pt x="95" y="25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80" y="25"/>
                      <a:pt x="74" y="19"/>
                      <a:pt x="68" y="15"/>
                    </a:cubicBezTo>
                    <a:cubicBezTo>
                      <a:pt x="61" y="11"/>
                      <a:pt x="55" y="9"/>
                      <a:pt x="48" y="9"/>
                    </a:cubicBezTo>
                    <a:cubicBezTo>
                      <a:pt x="44" y="9"/>
                      <a:pt x="40" y="9"/>
                      <a:pt x="37" y="10"/>
                    </a:cubicBezTo>
                    <a:cubicBezTo>
                      <a:pt x="34" y="11"/>
                      <a:pt x="31" y="13"/>
                      <a:pt x="29" y="14"/>
                    </a:cubicBezTo>
                    <a:cubicBezTo>
                      <a:pt x="27" y="16"/>
                      <a:pt x="25" y="18"/>
                      <a:pt x="24" y="20"/>
                    </a:cubicBezTo>
                    <a:cubicBezTo>
                      <a:pt x="23" y="22"/>
                      <a:pt x="22" y="24"/>
                      <a:pt x="22" y="27"/>
                    </a:cubicBezTo>
                    <a:cubicBezTo>
                      <a:pt x="22" y="31"/>
                      <a:pt x="23" y="34"/>
                      <a:pt x="26" y="37"/>
                    </a:cubicBezTo>
                    <a:cubicBezTo>
                      <a:pt x="28" y="40"/>
                      <a:pt x="31" y="43"/>
                      <a:pt x="34" y="45"/>
                    </a:cubicBezTo>
                    <a:cubicBezTo>
                      <a:pt x="38" y="48"/>
                      <a:pt x="42" y="50"/>
                      <a:pt x="47" y="52"/>
                    </a:cubicBezTo>
                    <a:cubicBezTo>
                      <a:pt x="51" y="54"/>
                      <a:pt x="56" y="56"/>
                      <a:pt x="61" y="58"/>
                    </a:cubicBezTo>
                    <a:cubicBezTo>
                      <a:pt x="66" y="60"/>
                      <a:pt x="71" y="62"/>
                      <a:pt x="75" y="65"/>
                    </a:cubicBezTo>
                    <a:cubicBezTo>
                      <a:pt x="80" y="67"/>
                      <a:pt x="84" y="70"/>
                      <a:pt x="88" y="73"/>
                    </a:cubicBezTo>
                    <a:cubicBezTo>
                      <a:pt x="91" y="77"/>
                      <a:pt x="94" y="80"/>
                      <a:pt x="97" y="84"/>
                    </a:cubicBezTo>
                    <a:cubicBezTo>
                      <a:pt x="99" y="89"/>
                      <a:pt x="100" y="93"/>
                      <a:pt x="100" y="99"/>
                    </a:cubicBezTo>
                    <a:cubicBezTo>
                      <a:pt x="100" y="105"/>
                      <a:pt x="99" y="110"/>
                      <a:pt x="97" y="115"/>
                    </a:cubicBezTo>
                    <a:cubicBezTo>
                      <a:pt x="95" y="120"/>
                      <a:pt x="92" y="124"/>
                      <a:pt x="87" y="128"/>
                    </a:cubicBezTo>
                    <a:cubicBezTo>
                      <a:pt x="83" y="131"/>
                      <a:pt x="78" y="134"/>
                      <a:pt x="71" y="136"/>
                    </a:cubicBezTo>
                    <a:cubicBezTo>
                      <a:pt x="65" y="138"/>
                      <a:pt x="58" y="139"/>
                      <a:pt x="49" y="139"/>
                    </a:cubicBezTo>
                    <a:cubicBezTo>
                      <a:pt x="45" y="139"/>
                      <a:pt x="41" y="139"/>
                      <a:pt x="37" y="138"/>
                    </a:cubicBezTo>
                    <a:cubicBezTo>
                      <a:pt x="33" y="138"/>
                      <a:pt x="29" y="137"/>
                      <a:pt x="25" y="135"/>
                    </a:cubicBezTo>
                    <a:cubicBezTo>
                      <a:pt x="20" y="133"/>
                      <a:pt x="16" y="131"/>
                      <a:pt x="12" y="127"/>
                    </a:cubicBezTo>
                    <a:cubicBezTo>
                      <a:pt x="8" y="124"/>
                      <a:pt x="4" y="120"/>
                      <a:pt x="0" y="115"/>
                    </a:cubicBezTo>
                    <a:cubicBezTo>
                      <a:pt x="10" y="105"/>
                      <a:pt x="10" y="105"/>
                      <a:pt x="10" y="105"/>
                    </a:cubicBezTo>
                    <a:cubicBezTo>
                      <a:pt x="14" y="109"/>
                      <a:pt x="17" y="113"/>
                      <a:pt x="20" y="116"/>
                    </a:cubicBezTo>
                    <a:cubicBezTo>
                      <a:pt x="23" y="120"/>
                      <a:pt x="26" y="122"/>
                      <a:pt x="29" y="124"/>
                    </a:cubicBezTo>
                    <a:cubicBezTo>
                      <a:pt x="32" y="126"/>
                      <a:pt x="35" y="128"/>
                      <a:pt x="38" y="129"/>
                    </a:cubicBezTo>
                    <a:cubicBezTo>
                      <a:pt x="42" y="130"/>
                      <a:pt x="45" y="130"/>
                      <a:pt x="49" y="13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 userDrawn="1"/>
          </p:nvGrpSpPr>
          <p:grpSpPr bwMode="auto">
            <a:xfrm>
              <a:off x="1003301" y="885372"/>
              <a:ext cx="1299641" cy="1323956"/>
              <a:chOff x="-1350" y="3305"/>
              <a:chExt cx="1176" cy="1198"/>
            </a:xfrm>
            <a:solidFill>
              <a:schemeClr val="bg1"/>
            </a:solidFill>
          </p:grpSpPr>
          <p:sp>
            <p:nvSpPr>
              <p:cNvPr id="22" name="Freeform 5"/>
              <p:cNvSpPr>
                <a:spLocks noEditPoints="1"/>
              </p:cNvSpPr>
              <p:nvPr/>
            </p:nvSpPr>
            <p:spPr bwMode="auto">
              <a:xfrm>
                <a:off x="-1246" y="3517"/>
                <a:ext cx="967" cy="986"/>
              </a:xfrm>
              <a:custGeom>
                <a:avLst/>
                <a:gdLst>
                  <a:gd name="T0" fmla="*/ 967 w 967"/>
                  <a:gd name="T1" fmla="*/ 986 h 986"/>
                  <a:gd name="T2" fmla="*/ 0 w 967"/>
                  <a:gd name="T3" fmla="*/ 986 h 986"/>
                  <a:gd name="T4" fmla="*/ 0 w 967"/>
                  <a:gd name="T5" fmla="*/ 0 h 986"/>
                  <a:gd name="T6" fmla="*/ 967 w 967"/>
                  <a:gd name="T7" fmla="*/ 0 h 986"/>
                  <a:gd name="T8" fmla="*/ 967 w 967"/>
                  <a:gd name="T9" fmla="*/ 986 h 986"/>
                  <a:gd name="T10" fmla="*/ 12 w 967"/>
                  <a:gd name="T11" fmla="*/ 974 h 986"/>
                  <a:gd name="T12" fmla="*/ 953 w 967"/>
                  <a:gd name="T13" fmla="*/ 974 h 986"/>
                  <a:gd name="T14" fmla="*/ 953 w 967"/>
                  <a:gd name="T15" fmla="*/ 14 h 986"/>
                  <a:gd name="T16" fmla="*/ 12 w 967"/>
                  <a:gd name="T17" fmla="*/ 14 h 986"/>
                  <a:gd name="T18" fmla="*/ 12 w 967"/>
                  <a:gd name="T19" fmla="*/ 974 h 9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67" h="986">
                    <a:moveTo>
                      <a:pt x="967" y="986"/>
                    </a:moveTo>
                    <a:lnTo>
                      <a:pt x="0" y="986"/>
                    </a:lnTo>
                    <a:lnTo>
                      <a:pt x="0" y="0"/>
                    </a:lnTo>
                    <a:lnTo>
                      <a:pt x="967" y="0"/>
                    </a:lnTo>
                    <a:lnTo>
                      <a:pt x="967" y="986"/>
                    </a:lnTo>
                    <a:close/>
                    <a:moveTo>
                      <a:pt x="12" y="974"/>
                    </a:moveTo>
                    <a:lnTo>
                      <a:pt x="953" y="974"/>
                    </a:lnTo>
                    <a:lnTo>
                      <a:pt x="953" y="14"/>
                    </a:lnTo>
                    <a:lnTo>
                      <a:pt x="12" y="14"/>
                    </a:lnTo>
                    <a:lnTo>
                      <a:pt x="12" y="9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23" name="Freeform 6"/>
              <p:cNvSpPr>
                <a:spLocks noEditPoints="1"/>
              </p:cNvSpPr>
              <p:nvPr/>
            </p:nvSpPr>
            <p:spPr bwMode="auto">
              <a:xfrm>
                <a:off x="-1350" y="3305"/>
                <a:ext cx="1176" cy="1179"/>
              </a:xfrm>
              <a:custGeom>
                <a:avLst/>
                <a:gdLst>
                  <a:gd name="T0" fmla="*/ 248 w 495"/>
                  <a:gd name="T1" fmla="*/ 496 h 496"/>
                  <a:gd name="T2" fmla="*/ 0 w 495"/>
                  <a:gd name="T3" fmla="*/ 248 h 496"/>
                  <a:gd name="T4" fmla="*/ 248 w 495"/>
                  <a:gd name="T5" fmla="*/ 0 h 496"/>
                  <a:gd name="T6" fmla="*/ 495 w 495"/>
                  <a:gd name="T7" fmla="*/ 248 h 496"/>
                  <a:gd name="T8" fmla="*/ 248 w 495"/>
                  <a:gd name="T9" fmla="*/ 496 h 496"/>
                  <a:gd name="T10" fmla="*/ 248 w 495"/>
                  <a:gd name="T11" fmla="*/ 6 h 496"/>
                  <a:gd name="T12" fmla="*/ 5 w 495"/>
                  <a:gd name="T13" fmla="*/ 248 h 496"/>
                  <a:gd name="T14" fmla="*/ 248 w 495"/>
                  <a:gd name="T15" fmla="*/ 490 h 496"/>
                  <a:gd name="T16" fmla="*/ 490 w 495"/>
                  <a:gd name="T17" fmla="*/ 248 h 496"/>
                  <a:gd name="T18" fmla="*/ 248 w 495"/>
                  <a:gd name="T19" fmla="*/ 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5" h="496">
                    <a:moveTo>
                      <a:pt x="248" y="496"/>
                    </a:moveTo>
                    <a:cubicBezTo>
                      <a:pt x="111" y="496"/>
                      <a:pt x="0" y="385"/>
                      <a:pt x="0" y="248"/>
                    </a:cubicBezTo>
                    <a:cubicBezTo>
                      <a:pt x="0" y="111"/>
                      <a:pt x="111" y="0"/>
                      <a:pt x="248" y="0"/>
                    </a:cubicBezTo>
                    <a:cubicBezTo>
                      <a:pt x="384" y="0"/>
                      <a:pt x="495" y="111"/>
                      <a:pt x="495" y="248"/>
                    </a:cubicBezTo>
                    <a:cubicBezTo>
                      <a:pt x="495" y="385"/>
                      <a:pt x="384" y="496"/>
                      <a:pt x="248" y="496"/>
                    </a:cubicBezTo>
                    <a:moveTo>
                      <a:pt x="248" y="6"/>
                    </a:moveTo>
                    <a:cubicBezTo>
                      <a:pt x="114" y="6"/>
                      <a:pt x="5" y="114"/>
                      <a:pt x="5" y="248"/>
                    </a:cubicBezTo>
                    <a:cubicBezTo>
                      <a:pt x="5" y="382"/>
                      <a:pt x="114" y="490"/>
                      <a:pt x="248" y="490"/>
                    </a:cubicBezTo>
                    <a:cubicBezTo>
                      <a:pt x="381" y="490"/>
                      <a:pt x="490" y="382"/>
                      <a:pt x="490" y="248"/>
                    </a:cubicBezTo>
                    <a:cubicBezTo>
                      <a:pt x="490" y="114"/>
                      <a:pt x="381" y="6"/>
                      <a:pt x="248" y="6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24" name="Rectangle 7"/>
              <p:cNvSpPr>
                <a:spLocks noChangeArrowheads="1"/>
              </p:cNvSpPr>
              <p:nvPr/>
            </p:nvSpPr>
            <p:spPr bwMode="auto">
              <a:xfrm>
                <a:off x="-1241" y="3688"/>
                <a:ext cx="955" cy="14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25" name="Rectangle 8"/>
              <p:cNvSpPr>
                <a:spLocks noChangeArrowheads="1"/>
              </p:cNvSpPr>
              <p:nvPr/>
            </p:nvSpPr>
            <p:spPr bwMode="auto">
              <a:xfrm>
                <a:off x="-768" y="3312"/>
                <a:ext cx="12" cy="66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26" name="Freeform 9"/>
              <p:cNvSpPr>
                <a:spLocks/>
              </p:cNvSpPr>
              <p:nvPr/>
            </p:nvSpPr>
            <p:spPr bwMode="auto">
              <a:xfrm>
                <a:off x="-1034" y="3966"/>
                <a:ext cx="546" cy="449"/>
              </a:xfrm>
              <a:custGeom>
                <a:avLst/>
                <a:gdLst>
                  <a:gd name="T0" fmla="*/ 534 w 546"/>
                  <a:gd name="T1" fmla="*/ 449 h 449"/>
                  <a:gd name="T2" fmla="*/ 270 w 546"/>
                  <a:gd name="T3" fmla="*/ 26 h 449"/>
                  <a:gd name="T4" fmla="*/ 9 w 546"/>
                  <a:gd name="T5" fmla="*/ 449 h 449"/>
                  <a:gd name="T6" fmla="*/ 0 w 546"/>
                  <a:gd name="T7" fmla="*/ 442 h 449"/>
                  <a:gd name="T8" fmla="*/ 270 w 546"/>
                  <a:gd name="T9" fmla="*/ 0 h 449"/>
                  <a:gd name="T10" fmla="*/ 546 w 546"/>
                  <a:gd name="T11" fmla="*/ 442 h 449"/>
                  <a:gd name="T12" fmla="*/ 534 w 546"/>
                  <a:gd name="T13" fmla="*/ 449 h 4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46" h="449">
                    <a:moveTo>
                      <a:pt x="534" y="449"/>
                    </a:moveTo>
                    <a:lnTo>
                      <a:pt x="270" y="26"/>
                    </a:lnTo>
                    <a:lnTo>
                      <a:pt x="9" y="449"/>
                    </a:lnTo>
                    <a:lnTo>
                      <a:pt x="0" y="442"/>
                    </a:lnTo>
                    <a:lnTo>
                      <a:pt x="270" y="0"/>
                    </a:lnTo>
                    <a:lnTo>
                      <a:pt x="546" y="442"/>
                    </a:lnTo>
                    <a:lnTo>
                      <a:pt x="534" y="44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  <p:sp>
            <p:nvSpPr>
              <p:cNvPr id="27" name="Freeform 10"/>
              <p:cNvSpPr>
                <a:spLocks/>
              </p:cNvSpPr>
              <p:nvPr/>
            </p:nvSpPr>
            <p:spPr bwMode="auto">
              <a:xfrm>
                <a:off x="-1244" y="3517"/>
                <a:ext cx="960" cy="254"/>
              </a:xfrm>
              <a:custGeom>
                <a:avLst/>
                <a:gdLst>
                  <a:gd name="T0" fmla="*/ 483 w 960"/>
                  <a:gd name="T1" fmla="*/ 254 h 254"/>
                  <a:gd name="T2" fmla="*/ 0 w 960"/>
                  <a:gd name="T3" fmla="*/ 11 h 254"/>
                  <a:gd name="T4" fmla="*/ 8 w 960"/>
                  <a:gd name="T5" fmla="*/ 0 h 254"/>
                  <a:gd name="T6" fmla="*/ 483 w 960"/>
                  <a:gd name="T7" fmla="*/ 237 h 254"/>
                  <a:gd name="T8" fmla="*/ 956 w 960"/>
                  <a:gd name="T9" fmla="*/ 0 h 254"/>
                  <a:gd name="T10" fmla="*/ 960 w 960"/>
                  <a:gd name="T11" fmla="*/ 11 h 254"/>
                  <a:gd name="T12" fmla="*/ 483 w 960"/>
                  <a:gd name="T13" fmla="*/ 254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0" h="254">
                    <a:moveTo>
                      <a:pt x="483" y="254"/>
                    </a:moveTo>
                    <a:lnTo>
                      <a:pt x="0" y="11"/>
                    </a:lnTo>
                    <a:lnTo>
                      <a:pt x="8" y="0"/>
                    </a:lnTo>
                    <a:lnTo>
                      <a:pt x="483" y="237"/>
                    </a:lnTo>
                    <a:lnTo>
                      <a:pt x="956" y="0"/>
                    </a:lnTo>
                    <a:lnTo>
                      <a:pt x="960" y="11"/>
                    </a:lnTo>
                    <a:lnTo>
                      <a:pt x="483" y="2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l-PL"/>
              </a:p>
            </p:txBody>
          </p:sp>
        </p:grpSp>
      </p:grpSp>
      <p:sp>
        <p:nvSpPr>
          <p:cNvPr id="36" name="Symbol zastępczy tekstu 35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70121" y="4042185"/>
            <a:ext cx="4722793" cy="646331"/>
          </a:xfrm>
          <a:noFill/>
        </p:spPr>
        <p:txBody>
          <a:bodyPr wrap="square" rtlCol="0" anchor="b">
            <a:spAutoFit/>
          </a:bodyPr>
          <a:lstStyle>
            <a:lvl1pPr marL="0" indent="0">
              <a:buNone/>
              <a:defRPr lang="pl-PL" sz="4000" smtClean="0">
                <a:solidFill>
                  <a:schemeClr val="bg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Tytuł</a:t>
            </a:r>
          </a:p>
        </p:txBody>
      </p:sp>
      <p:sp>
        <p:nvSpPr>
          <p:cNvPr id="39" name="Symbol zastępczy tekstu 38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70121" y="5130641"/>
            <a:ext cx="4722793" cy="3693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l-PL" sz="200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PODTYTUŁ</a:t>
            </a:r>
          </a:p>
        </p:txBody>
      </p:sp>
      <p:pic>
        <p:nvPicPr>
          <p:cNvPr id="3" name="Obraz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9346" y="-862336"/>
            <a:ext cx="12275127" cy="11252201"/>
          </a:xfrm>
          <a:prstGeom prst="rect">
            <a:avLst/>
          </a:prstGeom>
        </p:spPr>
      </p:pic>
      <p:cxnSp>
        <p:nvCxnSpPr>
          <p:cNvPr id="6" name="Łącznik prosty 5"/>
          <p:cNvCxnSpPr/>
          <p:nvPr userDrawn="1"/>
        </p:nvCxnSpPr>
        <p:spPr>
          <a:xfrm flipH="1">
            <a:off x="-101600" y="4905829"/>
            <a:ext cx="5094514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15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75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10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dję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8794082" cy="424732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8" name="Symbol zastępczy obrazu 9"/>
          <p:cNvSpPr>
            <a:spLocks noGrp="1"/>
          </p:cNvSpPr>
          <p:nvPr>
            <p:ph type="pic" sz="quarter" idx="14"/>
          </p:nvPr>
        </p:nvSpPr>
        <p:spPr>
          <a:xfrm>
            <a:off x="292416" y="1289716"/>
            <a:ext cx="11664950" cy="5180934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endParaRPr lang="pl-PL"/>
          </a:p>
          <a:p>
            <a:endParaRPr lang="pl-PL"/>
          </a:p>
          <a:p>
            <a:endParaRPr lang="pl-PL"/>
          </a:p>
          <a:p>
            <a:endParaRPr lang="pl-PL"/>
          </a:p>
          <a:p>
            <a:r>
              <a:rPr lang="pl-PL"/>
              <a:t>Kliknij ikonę aby dodać zdjęcie</a:t>
            </a:r>
          </a:p>
        </p:txBody>
      </p:sp>
    </p:spTree>
    <p:extLst>
      <p:ext uri="{BB962C8B-B14F-4D97-AF65-F5344CB8AC3E}">
        <p14:creationId xmlns:p14="http://schemas.microsoft.com/office/powerpoint/2010/main" val="4142335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is - lista - zdję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59043"/>
            <a:ext cx="3339360" cy="299895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3446578" cy="424732"/>
          </a:xfrm>
        </p:spPr>
        <p:txBody>
          <a:bodyPr anchor="ctr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2416" y="6356350"/>
            <a:ext cx="964884" cy="365125"/>
          </a:xfrm>
        </p:spPr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60500" y="6356350"/>
            <a:ext cx="3235326" cy="365125"/>
          </a:xfrm>
        </p:spPr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99026" y="6356350"/>
            <a:ext cx="1501774" cy="365125"/>
          </a:xfrm>
        </p:spPr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12" name="Symbol zastępczy obrazu 11"/>
          <p:cNvSpPr>
            <a:spLocks noGrp="1"/>
          </p:cNvSpPr>
          <p:nvPr>
            <p:ph type="pic" sz="quarter" idx="13"/>
          </p:nvPr>
        </p:nvSpPr>
        <p:spPr>
          <a:xfrm>
            <a:off x="6604000" y="0"/>
            <a:ext cx="55880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endParaRPr lang="pl-PL"/>
          </a:p>
          <a:p>
            <a:endParaRPr lang="pl-PL"/>
          </a:p>
          <a:p>
            <a:endParaRPr lang="pl-PL"/>
          </a:p>
          <a:p>
            <a:r>
              <a:rPr lang="pl-PL"/>
              <a:t>Kliknij ikonę aby dodać zdjęcie</a:t>
            </a:r>
          </a:p>
        </p:txBody>
      </p:sp>
      <p:sp>
        <p:nvSpPr>
          <p:cNvPr id="13" name="Symbol zastępczy tekstu 13"/>
          <p:cNvSpPr>
            <a:spLocks noGrp="1"/>
          </p:cNvSpPr>
          <p:nvPr>
            <p:ph type="body" sz="quarter" idx="15" hasCustomPrompt="1"/>
          </p:nvPr>
        </p:nvSpPr>
        <p:spPr>
          <a:xfrm>
            <a:off x="292416" y="1366258"/>
            <a:ext cx="5803584" cy="1870049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6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14" name="Symbol zastępczy tekstu 13"/>
          <p:cNvSpPr>
            <a:spLocks noGrp="1"/>
          </p:cNvSpPr>
          <p:nvPr>
            <p:ph type="body" sz="quarter" idx="16" hasCustomPrompt="1"/>
          </p:nvPr>
        </p:nvSpPr>
        <p:spPr>
          <a:xfrm>
            <a:off x="292416" y="3442311"/>
            <a:ext cx="5803584" cy="1888514"/>
          </a:xfrm>
        </p:spPr>
        <p:txBody>
          <a:bodyPr>
            <a:normAutofit/>
          </a:bodyPr>
          <a:lstStyle>
            <a:lvl1pPr marL="285750" indent="-285750">
              <a:lnSpc>
                <a:spcPct val="7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6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</p:spTree>
    <p:extLst>
      <p:ext uri="{BB962C8B-B14F-4D97-AF65-F5344CB8AC3E}">
        <p14:creationId xmlns:p14="http://schemas.microsoft.com/office/powerpoint/2010/main" val="3921630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 numerowany i zdję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1" y="404749"/>
            <a:ext cx="8974253" cy="424732"/>
          </a:xfrm>
        </p:spPr>
        <p:txBody>
          <a:bodyPr anchor="ctr"/>
          <a:lstStyle/>
          <a:p>
            <a:r>
              <a:rPr lang="pl-PL"/>
              <a:t>Kliknij, aby edytować styl</a:t>
            </a:r>
          </a:p>
        </p:txBody>
      </p:sp>
      <p:grpSp>
        <p:nvGrpSpPr>
          <p:cNvPr id="17" name="Grupa 16"/>
          <p:cNvGrpSpPr/>
          <p:nvPr userDrawn="1"/>
        </p:nvGrpSpPr>
        <p:grpSpPr>
          <a:xfrm>
            <a:off x="6571145" y="1378857"/>
            <a:ext cx="5098341" cy="756634"/>
            <a:chOff x="6571145" y="1161141"/>
            <a:chExt cx="5098341" cy="756634"/>
          </a:xfrm>
        </p:grpSpPr>
        <p:sp>
          <p:nvSpPr>
            <p:cNvPr id="18" name="Dowolny kształt 17"/>
            <p:cNvSpPr/>
            <p:nvPr/>
          </p:nvSpPr>
          <p:spPr>
            <a:xfrm>
              <a:off x="6571146" y="1161143"/>
              <a:ext cx="5098340" cy="756632"/>
            </a:xfrm>
            <a:custGeom>
              <a:avLst/>
              <a:gdLst>
                <a:gd name="connsiteX0" fmla="*/ 0 w 2109410"/>
                <a:gd name="connsiteY0" fmla="*/ 59984 h 599843"/>
                <a:gd name="connsiteX1" fmla="*/ 59984 w 2109410"/>
                <a:gd name="connsiteY1" fmla="*/ 0 h 599843"/>
                <a:gd name="connsiteX2" fmla="*/ 2049426 w 2109410"/>
                <a:gd name="connsiteY2" fmla="*/ 0 h 599843"/>
                <a:gd name="connsiteX3" fmla="*/ 2109410 w 2109410"/>
                <a:gd name="connsiteY3" fmla="*/ 59984 h 599843"/>
                <a:gd name="connsiteX4" fmla="*/ 2109410 w 2109410"/>
                <a:gd name="connsiteY4" fmla="*/ 539859 h 599843"/>
                <a:gd name="connsiteX5" fmla="*/ 2049426 w 2109410"/>
                <a:gd name="connsiteY5" fmla="*/ 599843 h 599843"/>
                <a:gd name="connsiteX6" fmla="*/ 59984 w 2109410"/>
                <a:gd name="connsiteY6" fmla="*/ 599843 h 599843"/>
                <a:gd name="connsiteX7" fmla="*/ 0 w 2109410"/>
                <a:gd name="connsiteY7" fmla="*/ 539859 h 599843"/>
                <a:gd name="connsiteX8" fmla="*/ 0 w 2109410"/>
                <a:gd name="connsiteY8" fmla="*/ 59984 h 599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09410" h="599843">
                  <a:moveTo>
                    <a:pt x="0" y="59984"/>
                  </a:moveTo>
                  <a:cubicBezTo>
                    <a:pt x="0" y="26856"/>
                    <a:pt x="26856" y="0"/>
                    <a:pt x="59984" y="0"/>
                  </a:cubicBezTo>
                  <a:lnTo>
                    <a:pt x="2049426" y="0"/>
                  </a:lnTo>
                  <a:cubicBezTo>
                    <a:pt x="2082554" y="0"/>
                    <a:pt x="2109410" y="26856"/>
                    <a:pt x="2109410" y="59984"/>
                  </a:cubicBezTo>
                  <a:lnTo>
                    <a:pt x="2109410" y="539859"/>
                  </a:lnTo>
                  <a:cubicBezTo>
                    <a:pt x="2109410" y="572987"/>
                    <a:pt x="2082554" y="599843"/>
                    <a:pt x="2049426" y="599843"/>
                  </a:cubicBezTo>
                  <a:lnTo>
                    <a:pt x="59984" y="599843"/>
                  </a:lnTo>
                  <a:cubicBezTo>
                    <a:pt x="26856" y="599843"/>
                    <a:pt x="0" y="572987"/>
                    <a:pt x="0" y="539859"/>
                  </a:cubicBezTo>
                  <a:lnTo>
                    <a:pt x="0" y="59984"/>
                  </a:lnTo>
                  <a:close/>
                </a:path>
              </a:pathLst>
            </a:custGeom>
            <a:noFill/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36000" tIns="0" rIns="0" bIns="0" numCol="1" spcCol="1270" anchor="ctr" anchorCtr="0">
              <a:noAutofit/>
            </a:bodyPr>
            <a:lstStyle/>
            <a:p>
              <a:pPr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pl-PL" sz="2000">
                <a:solidFill>
                  <a:prstClr val="black"/>
                </a:solidFill>
              </a:endParaRPr>
            </a:p>
          </p:txBody>
        </p:sp>
        <p:sp>
          <p:nvSpPr>
            <p:cNvPr id="19" name="Prostokąt z rogami zaokrąglonymi z jednej strony 18"/>
            <p:cNvSpPr/>
            <p:nvPr userDrawn="1"/>
          </p:nvSpPr>
          <p:spPr>
            <a:xfrm rot="16200000">
              <a:off x="6558840" y="1173446"/>
              <a:ext cx="756631" cy="732021"/>
            </a:xfrm>
            <a:prstGeom prst="round2SameRect">
              <a:avLst>
                <a:gd name="adj1" fmla="val 15805"/>
                <a:gd name="adj2" fmla="val 0"/>
              </a:avLst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pl-PL">
                <a:solidFill>
                  <a:prstClr val="white"/>
                </a:solidFill>
              </a:endParaRPr>
            </a:p>
          </p:txBody>
        </p:sp>
      </p:grpSp>
      <p:grpSp>
        <p:nvGrpSpPr>
          <p:cNvPr id="20" name="Grupa 19"/>
          <p:cNvGrpSpPr/>
          <p:nvPr userDrawn="1"/>
        </p:nvGrpSpPr>
        <p:grpSpPr>
          <a:xfrm>
            <a:off x="6571145" y="2339615"/>
            <a:ext cx="5098341" cy="756634"/>
            <a:chOff x="6571145" y="1161141"/>
            <a:chExt cx="5098341" cy="756634"/>
          </a:xfrm>
        </p:grpSpPr>
        <p:sp>
          <p:nvSpPr>
            <p:cNvPr id="21" name="Dowolny kształt 20"/>
            <p:cNvSpPr/>
            <p:nvPr/>
          </p:nvSpPr>
          <p:spPr>
            <a:xfrm>
              <a:off x="6571146" y="1161143"/>
              <a:ext cx="5098340" cy="756632"/>
            </a:xfrm>
            <a:custGeom>
              <a:avLst/>
              <a:gdLst>
                <a:gd name="connsiteX0" fmla="*/ 0 w 2109410"/>
                <a:gd name="connsiteY0" fmla="*/ 59984 h 599843"/>
                <a:gd name="connsiteX1" fmla="*/ 59984 w 2109410"/>
                <a:gd name="connsiteY1" fmla="*/ 0 h 599843"/>
                <a:gd name="connsiteX2" fmla="*/ 2049426 w 2109410"/>
                <a:gd name="connsiteY2" fmla="*/ 0 h 599843"/>
                <a:gd name="connsiteX3" fmla="*/ 2109410 w 2109410"/>
                <a:gd name="connsiteY3" fmla="*/ 59984 h 599843"/>
                <a:gd name="connsiteX4" fmla="*/ 2109410 w 2109410"/>
                <a:gd name="connsiteY4" fmla="*/ 539859 h 599843"/>
                <a:gd name="connsiteX5" fmla="*/ 2049426 w 2109410"/>
                <a:gd name="connsiteY5" fmla="*/ 599843 h 599843"/>
                <a:gd name="connsiteX6" fmla="*/ 59984 w 2109410"/>
                <a:gd name="connsiteY6" fmla="*/ 599843 h 599843"/>
                <a:gd name="connsiteX7" fmla="*/ 0 w 2109410"/>
                <a:gd name="connsiteY7" fmla="*/ 539859 h 599843"/>
                <a:gd name="connsiteX8" fmla="*/ 0 w 2109410"/>
                <a:gd name="connsiteY8" fmla="*/ 59984 h 599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09410" h="599843">
                  <a:moveTo>
                    <a:pt x="0" y="59984"/>
                  </a:moveTo>
                  <a:cubicBezTo>
                    <a:pt x="0" y="26856"/>
                    <a:pt x="26856" y="0"/>
                    <a:pt x="59984" y="0"/>
                  </a:cubicBezTo>
                  <a:lnTo>
                    <a:pt x="2049426" y="0"/>
                  </a:lnTo>
                  <a:cubicBezTo>
                    <a:pt x="2082554" y="0"/>
                    <a:pt x="2109410" y="26856"/>
                    <a:pt x="2109410" y="59984"/>
                  </a:cubicBezTo>
                  <a:lnTo>
                    <a:pt x="2109410" y="539859"/>
                  </a:lnTo>
                  <a:cubicBezTo>
                    <a:pt x="2109410" y="572987"/>
                    <a:pt x="2082554" y="599843"/>
                    <a:pt x="2049426" y="599843"/>
                  </a:cubicBezTo>
                  <a:lnTo>
                    <a:pt x="59984" y="599843"/>
                  </a:lnTo>
                  <a:cubicBezTo>
                    <a:pt x="26856" y="599843"/>
                    <a:pt x="0" y="572987"/>
                    <a:pt x="0" y="539859"/>
                  </a:cubicBezTo>
                  <a:lnTo>
                    <a:pt x="0" y="59984"/>
                  </a:lnTo>
                  <a:close/>
                </a:path>
              </a:pathLst>
            </a:custGeom>
            <a:noFill/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36000" tIns="0" rIns="0" bIns="0" numCol="1" spcCol="1270" anchor="ctr" anchorCtr="0">
              <a:noAutofit/>
            </a:bodyPr>
            <a:lstStyle/>
            <a:p>
              <a:pPr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pl-PL" sz="2000">
                <a:solidFill>
                  <a:prstClr val="black"/>
                </a:solidFill>
              </a:endParaRPr>
            </a:p>
          </p:txBody>
        </p:sp>
        <p:sp>
          <p:nvSpPr>
            <p:cNvPr id="22" name="Prostokąt z rogami zaokrąglonymi z jednej strony 21"/>
            <p:cNvSpPr/>
            <p:nvPr userDrawn="1"/>
          </p:nvSpPr>
          <p:spPr>
            <a:xfrm rot="16200000">
              <a:off x="6558840" y="1173446"/>
              <a:ext cx="756631" cy="732021"/>
            </a:xfrm>
            <a:prstGeom prst="round2SameRect">
              <a:avLst>
                <a:gd name="adj1" fmla="val 15805"/>
                <a:gd name="adj2" fmla="val 0"/>
              </a:avLst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pl-PL">
                <a:solidFill>
                  <a:prstClr val="white"/>
                </a:solidFill>
              </a:endParaRPr>
            </a:p>
          </p:txBody>
        </p:sp>
      </p:grpSp>
      <p:grpSp>
        <p:nvGrpSpPr>
          <p:cNvPr id="23" name="Grupa 22"/>
          <p:cNvGrpSpPr/>
          <p:nvPr userDrawn="1"/>
        </p:nvGrpSpPr>
        <p:grpSpPr>
          <a:xfrm>
            <a:off x="6571145" y="3300373"/>
            <a:ext cx="5098341" cy="756634"/>
            <a:chOff x="6571145" y="1161141"/>
            <a:chExt cx="5098341" cy="756634"/>
          </a:xfrm>
        </p:grpSpPr>
        <p:sp>
          <p:nvSpPr>
            <p:cNvPr id="24" name="Dowolny kształt 23"/>
            <p:cNvSpPr/>
            <p:nvPr/>
          </p:nvSpPr>
          <p:spPr>
            <a:xfrm>
              <a:off x="6571146" y="1161143"/>
              <a:ext cx="5098340" cy="756632"/>
            </a:xfrm>
            <a:custGeom>
              <a:avLst/>
              <a:gdLst>
                <a:gd name="connsiteX0" fmla="*/ 0 w 2109410"/>
                <a:gd name="connsiteY0" fmla="*/ 59984 h 599843"/>
                <a:gd name="connsiteX1" fmla="*/ 59984 w 2109410"/>
                <a:gd name="connsiteY1" fmla="*/ 0 h 599843"/>
                <a:gd name="connsiteX2" fmla="*/ 2049426 w 2109410"/>
                <a:gd name="connsiteY2" fmla="*/ 0 h 599843"/>
                <a:gd name="connsiteX3" fmla="*/ 2109410 w 2109410"/>
                <a:gd name="connsiteY3" fmla="*/ 59984 h 599843"/>
                <a:gd name="connsiteX4" fmla="*/ 2109410 w 2109410"/>
                <a:gd name="connsiteY4" fmla="*/ 539859 h 599843"/>
                <a:gd name="connsiteX5" fmla="*/ 2049426 w 2109410"/>
                <a:gd name="connsiteY5" fmla="*/ 599843 h 599843"/>
                <a:gd name="connsiteX6" fmla="*/ 59984 w 2109410"/>
                <a:gd name="connsiteY6" fmla="*/ 599843 h 599843"/>
                <a:gd name="connsiteX7" fmla="*/ 0 w 2109410"/>
                <a:gd name="connsiteY7" fmla="*/ 539859 h 599843"/>
                <a:gd name="connsiteX8" fmla="*/ 0 w 2109410"/>
                <a:gd name="connsiteY8" fmla="*/ 59984 h 599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09410" h="599843">
                  <a:moveTo>
                    <a:pt x="0" y="59984"/>
                  </a:moveTo>
                  <a:cubicBezTo>
                    <a:pt x="0" y="26856"/>
                    <a:pt x="26856" y="0"/>
                    <a:pt x="59984" y="0"/>
                  </a:cubicBezTo>
                  <a:lnTo>
                    <a:pt x="2049426" y="0"/>
                  </a:lnTo>
                  <a:cubicBezTo>
                    <a:pt x="2082554" y="0"/>
                    <a:pt x="2109410" y="26856"/>
                    <a:pt x="2109410" y="59984"/>
                  </a:cubicBezTo>
                  <a:lnTo>
                    <a:pt x="2109410" y="539859"/>
                  </a:lnTo>
                  <a:cubicBezTo>
                    <a:pt x="2109410" y="572987"/>
                    <a:pt x="2082554" y="599843"/>
                    <a:pt x="2049426" y="599843"/>
                  </a:cubicBezTo>
                  <a:lnTo>
                    <a:pt x="59984" y="599843"/>
                  </a:lnTo>
                  <a:cubicBezTo>
                    <a:pt x="26856" y="599843"/>
                    <a:pt x="0" y="572987"/>
                    <a:pt x="0" y="539859"/>
                  </a:cubicBezTo>
                  <a:lnTo>
                    <a:pt x="0" y="59984"/>
                  </a:lnTo>
                  <a:close/>
                </a:path>
              </a:pathLst>
            </a:custGeom>
            <a:noFill/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36000" tIns="0" rIns="0" bIns="0" numCol="1" spcCol="1270" anchor="ctr" anchorCtr="0">
              <a:noAutofit/>
            </a:bodyPr>
            <a:lstStyle/>
            <a:p>
              <a:pPr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pl-PL" sz="2000">
                <a:solidFill>
                  <a:prstClr val="black"/>
                </a:solidFill>
              </a:endParaRPr>
            </a:p>
          </p:txBody>
        </p:sp>
        <p:sp>
          <p:nvSpPr>
            <p:cNvPr id="25" name="Prostokąt z rogami zaokrąglonymi z jednej strony 24"/>
            <p:cNvSpPr/>
            <p:nvPr userDrawn="1"/>
          </p:nvSpPr>
          <p:spPr>
            <a:xfrm rot="16200000">
              <a:off x="6558840" y="1173446"/>
              <a:ext cx="756631" cy="732021"/>
            </a:xfrm>
            <a:prstGeom prst="round2SameRect">
              <a:avLst>
                <a:gd name="adj1" fmla="val 15805"/>
                <a:gd name="adj2" fmla="val 0"/>
              </a:avLst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pl-PL">
                <a:solidFill>
                  <a:prstClr val="white"/>
                </a:solidFill>
              </a:endParaRPr>
            </a:p>
          </p:txBody>
        </p:sp>
      </p:grpSp>
      <p:grpSp>
        <p:nvGrpSpPr>
          <p:cNvPr id="26" name="Grupa 25"/>
          <p:cNvGrpSpPr/>
          <p:nvPr userDrawn="1"/>
        </p:nvGrpSpPr>
        <p:grpSpPr>
          <a:xfrm>
            <a:off x="6571145" y="4261131"/>
            <a:ext cx="5098341" cy="756634"/>
            <a:chOff x="6571145" y="1161141"/>
            <a:chExt cx="5098341" cy="756634"/>
          </a:xfrm>
        </p:grpSpPr>
        <p:sp>
          <p:nvSpPr>
            <p:cNvPr id="27" name="Dowolny kształt 26"/>
            <p:cNvSpPr/>
            <p:nvPr/>
          </p:nvSpPr>
          <p:spPr>
            <a:xfrm>
              <a:off x="6571146" y="1161143"/>
              <a:ext cx="5098340" cy="756632"/>
            </a:xfrm>
            <a:custGeom>
              <a:avLst/>
              <a:gdLst>
                <a:gd name="connsiteX0" fmla="*/ 0 w 2109410"/>
                <a:gd name="connsiteY0" fmla="*/ 59984 h 599843"/>
                <a:gd name="connsiteX1" fmla="*/ 59984 w 2109410"/>
                <a:gd name="connsiteY1" fmla="*/ 0 h 599843"/>
                <a:gd name="connsiteX2" fmla="*/ 2049426 w 2109410"/>
                <a:gd name="connsiteY2" fmla="*/ 0 h 599843"/>
                <a:gd name="connsiteX3" fmla="*/ 2109410 w 2109410"/>
                <a:gd name="connsiteY3" fmla="*/ 59984 h 599843"/>
                <a:gd name="connsiteX4" fmla="*/ 2109410 w 2109410"/>
                <a:gd name="connsiteY4" fmla="*/ 539859 h 599843"/>
                <a:gd name="connsiteX5" fmla="*/ 2049426 w 2109410"/>
                <a:gd name="connsiteY5" fmla="*/ 599843 h 599843"/>
                <a:gd name="connsiteX6" fmla="*/ 59984 w 2109410"/>
                <a:gd name="connsiteY6" fmla="*/ 599843 h 599843"/>
                <a:gd name="connsiteX7" fmla="*/ 0 w 2109410"/>
                <a:gd name="connsiteY7" fmla="*/ 539859 h 599843"/>
                <a:gd name="connsiteX8" fmla="*/ 0 w 2109410"/>
                <a:gd name="connsiteY8" fmla="*/ 59984 h 599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09410" h="599843">
                  <a:moveTo>
                    <a:pt x="0" y="59984"/>
                  </a:moveTo>
                  <a:cubicBezTo>
                    <a:pt x="0" y="26856"/>
                    <a:pt x="26856" y="0"/>
                    <a:pt x="59984" y="0"/>
                  </a:cubicBezTo>
                  <a:lnTo>
                    <a:pt x="2049426" y="0"/>
                  </a:lnTo>
                  <a:cubicBezTo>
                    <a:pt x="2082554" y="0"/>
                    <a:pt x="2109410" y="26856"/>
                    <a:pt x="2109410" y="59984"/>
                  </a:cubicBezTo>
                  <a:lnTo>
                    <a:pt x="2109410" y="539859"/>
                  </a:lnTo>
                  <a:cubicBezTo>
                    <a:pt x="2109410" y="572987"/>
                    <a:pt x="2082554" y="599843"/>
                    <a:pt x="2049426" y="599843"/>
                  </a:cubicBezTo>
                  <a:lnTo>
                    <a:pt x="59984" y="599843"/>
                  </a:lnTo>
                  <a:cubicBezTo>
                    <a:pt x="26856" y="599843"/>
                    <a:pt x="0" y="572987"/>
                    <a:pt x="0" y="539859"/>
                  </a:cubicBezTo>
                  <a:lnTo>
                    <a:pt x="0" y="59984"/>
                  </a:lnTo>
                  <a:close/>
                </a:path>
              </a:pathLst>
            </a:custGeom>
            <a:noFill/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36000" tIns="0" rIns="0" bIns="0" numCol="1" spcCol="1270" anchor="ctr" anchorCtr="0">
              <a:noAutofit/>
            </a:bodyPr>
            <a:lstStyle/>
            <a:p>
              <a:pPr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pl-PL" sz="2000">
                <a:solidFill>
                  <a:prstClr val="black"/>
                </a:solidFill>
              </a:endParaRPr>
            </a:p>
          </p:txBody>
        </p:sp>
        <p:sp>
          <p:nvSpPr>
            <p:cNvPr id="28" name="Prostokąt z rogami zaokrąglonymi z jednej strony 27"/>
            <p:cNvSpPr/>
            <p:nvPr userDrawn="1"/>
          </p:nvSpPr>
          <p:spPr>
            <a:xfrm rot="16200000">
              <a:off x="6558840" y="1173446"/>
              <a:ext cx="756631" cy="732021"/>
            </a:xfrm>
            <a:prstGeom prst="round2SameRect">
              <a:avLst>
                <a:gd name="adj1" fmla="val 15805"/>
                <a:gd name="adj2" fmla="val 0"/>
              </a:avLst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pl-PL">
                <a:solidFill>
                  <a:prstClr val="white"/>
                </a:solidFill>
              </a:endParaRPr>
            </a:p>
          </p:txBody>
        </p:sp>
      </p:grpSp>
      <p:grpSp>
        <p:nvGrpSpPr>
          <p:cNvPr id="29" name="Grupa 28"/>
          <p:cNvGrpSpPr/>
          <p:nvPr userDrawn="1"/>
        </p:nvGrpSpPr>
        <p:grpSpPr>
          <a:xfrm>
            <a:off x="6571145" y="5221891"/>
            <a:ext cx="5098341" cy="756634"/>
            <a:chOff x="6571145" y="1161141"/>
            <a:chExt cx="5098341" cy="756634"/>
          </a:xfrm>
        </p:grpSpPr>
        <p:sp>
          <p:nvSpPr>
            <p:cNvPr id="30" name="Dowolny kształt 29"/>
            <p:cNvSpPr/>
            <p:nvPr/>
          </p:nvSpPr>
          <p:spPr>
            <a:xfrm>
              <a:off x="6571146" y="1161143"/>
              <a:ext cx="5098340" cy="756632"/>
            </a:xfrm>
            <a:custGeom>
              <a:avLst/>
              <a:gdLst>
                <a:gd name="connsiteX0" fmla="*/ 0 w 2109410"/>
                <a:gd name="connsiteY0" fmla="*/ 59984 h 599843"/>
                <a:gd name="connsiteX1" fmla="*/ 59984 w 2109410"/>
                <a:gd name="connsiteY1" fmla="*/ 0 h 599843"/>
                <a:gd name="connsiteX2" fmla="*/ 2049426 w 2109410"/>
                <a:gd name="connsiteY2" fmla="*/ 0 h 599843"/>
                <a:gd name="connsiteX3" fmla="*/ 2109410 w 2109410"/>
                <a:gd name="connsiteY3" fmla="*/ 59984 h 599843"/>
                <a:gd name="connsiteX4" fmla="*/ 2109410 w 2109410"/>
                <a:gd name="connsiteY4" fmla="*/ 539859 h 599843"/>
                <a:gd name="connsiteX5" fmla="*/ 2049426 w 2109410"/>
                <a:gd name="connsiteY5" fmla="*/ 599843 h 599843"/>
                <a:gd name="connsiteX6" fmla="*/ 59984 w 2109410"/>
                <a:gd name="connsiteY6" fmla="*/ 599843 h 599843"/>
                <a:gd name="connsiteX7" fmla="*/ 0 w 2109410"/>
                <a:gd name="connsiteY7" fmla="*/ 539859 h 599843"/>
                <a:gd name="connsiteX8" fmla="*/ 0 w 2109410"/>
                <a:gd name="connsiteY8" fmla="*/ 59984 h 599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09410" h="599843">
                  <a:moveTo>
                    <a:pt x="0" y="59984"/>
                  </a:moveTo>
                  <a:cubicBezTo>
                    <a:pt x="0" y="26856"/>
                    <a:pt x="26856" y="0"/>
                    <a:pt x="59984" y="0"/>
                  </a:cubicBezTo>
                  <a:lnTo>
                    <a:pt x="2049426" y="0"/>
                  </a:lnTo>
                  <a:cubicBezTo>
                    <a:pt x="2082554" y="0"/>
                    <a:pt x="2109410" y="26856"/>
                    <a:pt x="2109410" y="59984"/>
                  </a:cubicBezTo>
                  <a:lnTo>
                    <a:pt x="2109410" y="539859"/>
                  </a:lnTo>
                  <a:cubicBezTo>
                    <a:pt x="2109410" y="572987"/>
                    <a:pt x="2082554" y="599843"/>
                    <a:pt x="2049426" y="599843"/>
                  </a:cubicBezTo>
                  <a:lnTo>
                    <a:pt x="59984" y="599843"/>
                  </a:lnTo>
                  <a:cubicBezTo>
                    <a:pt x="26856" y="599843"/>
                    <a:pt x="0" y="572987"/>
                    <a:pt x="0" y="539859"/>
                  </a:cubicBezTo>
                  <a:lnTo>
                    <a:pt x="0" y="59984"/>
                  </a:lnTo>
                  <a:close/>
                </a:path>
              </a:pathLst>
            </a:custGeom>
            <a:noFill/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36000" tIns="0" rIns="0" bIns="0" numCol="1" spcCol="1270" anchor="ctr" anchorCtr="0">
              <a:noAutofit/>
            </a:bodyPr>
            <a:lstStyle/>
            <a:p>
              <a:pPr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pl-PL" sz="2000">
                <a:solidFill>
                  <a:prstClr val="black"/>
                </a:solidFill>
              </a:endParaRPr>
            </a:p>
          </p:txBody>
        </p:sp>
        <p:sp>
          <p:nvSpPr>
            <p:cNvPr id="31" name="Prostokąt z rogami zaokrąglonymi z jednej strony 30"/>
            <p:cNvSpPr/>
            <p:nvPr userDrawn="1"/>
          </p:nvSpPr>
          <p:spPr>
            <a:xfrm rot="16200000">
              <a:off x="6558840" y="1173446"/>
              <a:ext cx="756631" cy="732021"/>
            </a:xfrm>
            <a:prstGeom prst="round2SameRect">
              <a:avLst>
                <a:gd name="adj1" fmla="val 15805"/>
                <a:gd name="adj2" fmla="val 0"/>
              </a:avLst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pl-PL">
                <a:solidFill>
                  <a:prstClr val="white"/>
                </a:solidFill>
              </a:endParaRPr>
            </a:p>
          </p:txBody>
        </p:sp>
      </p:grpSp>
      <p:sp>
        <p:nvSpPr>
          <p:cNvPr id="33" name="Symbol zastępczy zawartości 32"/>
          <p:cNvSpPr>
            <a:spLocks noGrp="1"/>
          </p:cNvSpPr>
          <p:nvPr>
            <p:ph sz="quarter" idx="13"/>
          </p:nvPr>
        </p:nvSpPr>
        <p:spPr>
          <a:xfrm>
            <a:off x="263525" y="1378857"/>
            <a:ext cx="5832475" cy="4599668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endParaRPr lang="pl-PL"/>
          </a:p>
          <a:p>
            <a:pPr lvl="0"/>
            <a:endParaRPr lang="pl-PL"/>
          </a:p>
          <a:p>
            <a:pPr lvl="0"/>
            <a:endParaRPr lang="pl-PL"/>
          </a:p>
          <a:p>
            <a:pPr lvl="0"/>
            <a:endParaRPr lang="pl-PL"/>
          </a:p>
          <a:p>
            <a:pPr lvl="0"/>
            <a:endParaRPr lang="pl-PL"/>
          </a:p>
          <a:p>
            <a:pPr lvl="0"/>
            <a:r>
              <a:rPr lang="pl-PL"/>
              <a:t>Kliknij ikonę aby dodać obiekt</a:t>
            </a:r>
          </a:p>
        </p:txBody>
      </p:sp>
      <p:sp>
        <p:nvSpPr>
          <p:cNvPr id="34" name="Symbol zastępczy tekstu 13"/>
          <p:cNvSpPr>
            <a:spLocks noGrp="1"/>
          </p:cNvSpPr>
          <p:nvPr>
            <p:ph type="body" sz="quarter" idx="15" hasCustomPrompt="1"/>
          </p:nvPr>
        </p:nvSpPr>
        <p:spPr>
          <a:xfrm>
            <a:off x="7441347" y="1511386"/>
            <a:ext cx="4024939" cy="491571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16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35" name="Symbol zastępczy tekstu 13"/>
          <p:cNvSpPr>
            <a:spLocks noGrp="1"/>
          </p:cNvSpPr>
          <p:nvPr>
            <p:ph type="body" sz="quarter" idx="16" hasCustomPrompt="1"/>
          </p:nvPr>
        </p:nvSpPr>
        <p:spPr>
          <a:xfrm>
            <a:off x="7441347" y="2472144"/>
            <a:ext cx="4024939" cy="491571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16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36" name="Symbol zastępczy tekstu 13"/>
          <p:cNvSpPr>
            <a:spLocks noGrp="1"/>
          </p:cNvSpPr>
          <p:nvPr>
            <p:ph type="body" sz="quarter" idx="17" hasCustomPrompt="1"/>
          </p:nvPr>
        </p:nvSpPr>
        <p:spPr>
          <a:xfrm>
            <a:off x="7441347" y="3432905"/>
            <a:ext cx="4024939" cy="491571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16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37" name="Symbol zastępczy tekstu 13"/>
          <p:cNvSpPr>
            <a:spLocks noGrp="1"/>
          </p:cNvSpPr>
          <p:nvPr>
            <p:ph type="body" sz="quarter" idx="18" hasCustomPrompt="1"/>
          </p:nvPr>
        </p:nvSpPr>
        <p:spPr>
          <a:xfrm>
            <a:off x="7441347" y="4393660"/>
            <a:ext cx="4024939" cy="491571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16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38" name="Symbol zastępczy tekstu 13"/>
          <p:cNvSpPr>
            <a:spLocks noGrp="1"/>
          </p:cNvSpPr>
          <p:nvPr>
            <p:ph type="body" sz="quarter" idx="19" hasCustomPrompt="1"/>
          </p:nvPr>
        </p:nvSpPr>
        <p:spPr>
          <a:xfrm>
            <a:off x="7441347" y="5354420"/>
            <a:ext cx="4024939" cy="491571"/>
          </a:xfr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16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41" name="Symbol zastępczy tekstu 13"/>
          <p:cNvSpPr>
            <a:spLocks noGrp="1"/>
          </p:cNvSpPr>
          <p:nvPr>
            <p:ph type="body" sz="quarter" idx="20" hasCustomPrompt="1"/>
          </p:nvPr>
        </p:nvSpPr>
        <p:spPr>
          <a:xfrm>
            <a:off x="6650238" y="1542208"/>
            <a:ext cx="587910" cy="460749"/>
          </a:xfrm>
        </p:spPr>
        <p:txBody>
          <a:bodyPr anchor="t">
            <a:noAutofit/>
          </a:bodyPr>
          <a:lstStyle>
            <a:lvl1pPr marL="0" indent="0" algn="ctr">
              <a:lnSpc>
                <a:spcPct val="80000"/>
              </a:lnSpc>
              <a:buNone/>
              <a:defRPr sz="3600" b="1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l-PL"/>
              <a:t>X</a:t>
            </a:r>
          </a:p>
        </p:txBody>
      </p:sp>
      <p:sp>
        <p:nvSpPr>
          <p:cNvPr id="42" name="Symbol zastępczy tekstu 13"/>
          <p:cNvSpPr>
            <a:spLocks noGrp="1"/>
          </p:cNvSpPr>
          <p:nvPr>
            <p:ph type="body" sz="quarter" idx="21" hasCustomPrompt="1"/>
          </p:nvPr>
        </p:nvSpPr>
        <p:spPr>
          <a:xfrm>
            <a:off x="6650238" y="2502966"/>
            <a:ext cx="587910" cy="460749"/>
          </a:xfrm>
        </p:spPr>
        <p:txBody>
          <a:bodyPr anchor="t">
            <a:noAutofit/>
          </a:bodyPr>
          <a:lstStyle>
            <a:lvl1pPr marL="0" indent="0" algn="ctr">
              <a:lnSpc>
                <a:spcPct val="80000"/>
              </a:lnSpc>
              <a:buNone/>
              <a:defRPr sz="3600" b="1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l-PL"/>
              <a:t>X</a:t>
            </a:r>
          </a:p>
        </p:txBody>
      </p:sp>
      <p:sp>
        <p:nvSpPr>
          <p:cNvPr id="43" name="Symbol zastępczy tekstu 13"/>
          <p:cNvSpPr>
            <a:spLocks noGrp="1"/>
          </p:cNvSpPr>
          <p:nvPr>
            <p:ph type="body" sz="quarter" idx="22" hasCustomPrompt="1"/>
          </p:nvPr>
        </p:nvSpPr>
        <p:spPr>
          <a:xfrm>
            <a:off x="6650238" y="3448316"/>
            <a:ext cx="587910" cy="460749"/>
          </a:xfrm>
        </p:spPr>
        <p:txBody>
          <a:bodyPr anchor="t">
            <a:noAutofit/>
          </a:bodyPr>
          <a:lstStyle>
            <a:lvl1pPr marL="0" indent="0" algn="ctr">
              <a:lnSpc>
                <a:spcPct val="80000"/>
              </a:lnSpc>
              <a:buNone/>
              <a:defRPr sz="3600" b="1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l-PL"/>
              <a:t>X</a:t>
            </a:r>
          </a:p>
        </p:txBody>
      </p:sp>
      <p:sp>
        <p:nvSpPr>
          <p:cNvPr id="44" name="Symbol zastępczy tekstu 13"/>
          <p:cNvSpPr>
            <a:spLocks noGrp="1"/>
          </p:cNvSpPr>
          <p:nvPr>
            <p:ph type="body" sz="quarter" idx="23" hasCustomPrompt="1"/>
          </p:nvPr>
        </p:nvSpPr>
        <p:spPr>
          <a:xfrm>
            <a:off x="6650238" y="4396551"/>
            <a:ext cx="587910" cy="460749"/>
          </a:xfrm>
        </p:spPr>
        <p:txBody>
          <a:bodyPr anchor="t">
            <a:noAutofit/>
          </a:bodyPr>
          <a:lstStyle>
            <a:lvl1pPr marL="0" indent="0" algn="ctr">
              <a:lnSpc>
                <a:spcPct val="80000"/>
              </a:lnSpc>
              <a:buNone/>
              <a:defRPr sz="3600" b="1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l-PL"/>
              <a:t>X</a:t>
            </a:r>
          </a:p>
        </p:txBody>
      </p:sp>
      <p:sp>
        <p:nvSpPr>
          <p:cNvPr id="45" name="Symbol zastępczy tekstu 13"/>
          <p:cNvSpPr>
            <a:spLocks noGrp="1"/>
          </p:cNvSpPr>
          <p:nvPr>
            <p:ph type="body" sz="quarter" idx="24" hasCustomPrompt="1"/>
          </p:nvPr>
        </p:nvSpPr>
        <p:spPr>
          <a:xfrm>
            <a:off x="6650238" y="5391837"/>
            <a:ext cx="587910" cy="460749"/>
          </a:xfrm>
        </p:spPr>
        <p:txBody>
          <a:bodyPr anchor="t">
            <a:noAutofit/>
          </a:bodyPr>
          <a:lstStyle>
            <a:lvl1pPr marL="0" indent="0" algn="ctr">
              <a:lnSpc>
                <a:spcPct val="80000"/>
              </a:lnSpc>
              <a:buNone/>
              <a:defRPr sz="3600" b="1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l-PL"/>
              <a:t>X</a:t>
            </a:r>
          </a:p>
        </p:txBody>
      </p:sp>
      <p:sp>
        <p:nvSpPr>
          <p:cNvPr id="46" name="Symbol zastępczy daty 45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7" name="Symbol zastępczy stopki 46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8" name="Symbol zastępczy numeru slajdu 47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156131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afterEffect" p14:presetBounceEnd="5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333">
                                          <p:cBhvr additive="base">
                                            <p:cTn id="7" dur="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333">
                                          <p:cBhvr additive="base">
                                            <p:cTn id="8" dur="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 p14:presetBounceEnd="5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333">
                                          <p:cBhvr additive="base">
                                            <p:cTn id="11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333">
                                          <p:cBhvr additive="base">
                                            <p:cTn id="12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 p14:presetBounceEnd="5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333">
                                          <p:cBhvr additive="base">
                                            <p:cTn id="15" dur="7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333">
                                          <p:cBhvr additive="base">
                                            <p:cTn id="16" dur="7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nodeType="withEffect" p14:presetBounceEnd="5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333">
                                          <p:cBhvr additive="base">
                                            <p:cTn id="19" dur="75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333">
                                          <p:cBhvr additive="base">
                                            <p:cTn id="20" dur="75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nodeType="withEffect" p14:presetBounceEnd="5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333">
                                          <p:cBhvr additive="base">
                                            <p:cTn id="23" dur="75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333">
                                          <p:cBhvr additive="base">
                                            <p:cTn id="24" dur="75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5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26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8" dur="500"/>
                                            <p:tgtEl>
                                              <p:spTgt spid="4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1" dur="500"/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4" dur="500"/>
                                            <p:tgtEl>
                                              <p:spTgt spid="4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5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7" dur="500"/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8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4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1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3" dur="500"/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4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6" dur="500"/>
                                            <p:tgtEl>
                                              <p:spTgt spid="4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7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9" dur="500"/>
                                            <p:tgtEl>
                                              <p:spTgt spid="37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0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2" dur="500"/>
                                            <p:tgtEl>
                                              <p:spTgt spid="4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3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5" dur="500"/>
                                            <p:tgtEl>
                                              <p:spTgt spid="3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4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4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5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5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6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6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7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7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8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8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41" grpId="0" build="p">
            <p:tmplLst>
              <p:tmpl lvl="1">
                <p:tnLst>
                  <p:par>
                    <p:cTn presetID="10" presetClass="entr" presetSubtype="0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41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42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42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43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43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44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44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45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45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75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75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7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7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75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75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75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750" fill="hold"/>
                                            <p:tgtEl>
                                              <p:spTgt spid="2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5" fill="hold">
                                <p:stCondLst>
                                  <p:cond delay="750"/>
                                </p:stCondLst>
                                <p:childTnLst>
                                  <p:par>
                                    <p:cTn id="26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8" dur="500"/>
                                            <p:tgtEl>
                                              <p:spTgt spid="41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1" dur="500"/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4" dur="500"/>
                                            <p:tgtEl>
                                              <p:spTgt spid="42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5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7" dur="500"/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8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0" dur="500"/>
                                            <p:tgtEl>
                                              <p:spTgt spid="43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1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3" dur="500"/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4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6" dur="500"/>
                                            <p:tgtEl>
                                              <p:spTgt spid="4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7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9" dur="500"/>
                                            <p:tgtEl>
                                              <p:spTgt spid="37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0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2" dur="500"/>
                                            <p:tgtEl>
                                              <p:spTgt spid="4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3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5" dur="500"/>
                                            <p:tgtEl>
                                              <p:spTgt spid="38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4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4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5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5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6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6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7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7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8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8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41" grpId="0" build="p">
            <p:tmplLst>
              <p:tmpl lvl="1">
                <p:tnLst>
                  <p:par>
                    <p:cTn presetID="10" presetClass="entr" presetSubtype="0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41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42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42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43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43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44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44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45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4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45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a i zdję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3967280" cy="424732"/>
          </a:xfrm>
        </p:spPr>
        <p:txBody>
          <a:bodyPr anchor="ctr"/>
          <a:lstStyle/>
          <a:p>
            <a:r>
              <a:rPr lang="pl-PL"/>
              <a:t>Kliknij, aby edytować styl</a:t>
            </a:r>
          </a:p>
        </p:txBody>
      </p:sp>
      <p:sp>
        <p:nvSpPr>
          <p:cNvPr id="14" name="Symbol zastępczy tekstu 13"/>
          <p:cNvSpPr>
            <a:spLocks noGrp="1"/>
          </p:cNvSpPr>
          <p:nvPr>
            <p:ph type="body" sz="quarter" idx="16" hasCustomPrompt="1"/>
          </p:nvPr>
        </p:nvSpPr>
        <p:spPr>
          <a:xfrm>
            <a:off x="292417" y="1438382"/>
            <a:ext cx="6629084" cy="4407614"/>
          </a:xfrm>
        </p:spPr>
        <p:txBody>
          <a:bodyPr>
            <a:normAutofit/>
          </a:bodyPr>
          <a:lstStyle>
            <a:lvl1pPr marL="285750" indent="-285750">
              <a:lnSpc>
                <a:spcPct val="7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6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8" name="Symbol zastępczy obrazu 7"/>
          <p:cNvSpPr>
            <a:spLocks noGrp="1"/>
          </p:cNvSpPr>
          <p:nvPr>
            <p:ph type="pic" sz="quarter" idx="17"/>
          </p:nvPr>
        </p:nvSpPr>
        <p:spPr>
          <a:xfrm>
            <a:off x="7264400" y="0"/>
            <a:ext cx="4927600" cy="685799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pl-PL"/>
          </a:p>
          <a:p>
            <a:endParaRPr lang="pl-PL"/>
          </a:p>
          <a:p>
            <a:endParaRPr lang="pl-PL"/>
          </a:p>
          <a:p>
            <a:r>
              <a:rPr lang="pl-PL"/>
              <a:t>Kliknij ikonę aby dodać zdjęcie</a:t>
            </a:r>
          </a:p>
        </p:txBody>
      </p:sp>
      <p:sp>
        <p:nvSpPr>
          <p:cNvPr id="9" name="Symbol zastępczy daty 8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10" name="Symbol zastępczy stopki 9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11" name="Symbol zastępczy numeru slajdu 10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552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st 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Obraz 18">
            <a:extLst>
              <a:ext uri="{FF2B5EF4-FFF2-40B4-BE49-F238E27FC236}">
                <a16:creationId xmlns:a16="http://schemas.microsoft.com/office/drawing/2014/main" id="{02E6C61C-6558-4EB1-9238-0D76F899F8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317" y="236459"/>
            <a:ext cx="7200461" cy="6602758"/>
          </a:xfrm>
          <a:prstGeom prst="rect">
            <a:avLst/>
          </a:prstGeom>
        </p:spPr>
      </p:pic>
      <p:sp>
        <p:nvSpPr>
          <p:cNvPr id="20" name="Prostokąt 19">
            <a:extLst>
              <a:ext uri="{FF2B5EF4-FFF2-40B4-BE49-F238E27FC236}">
                <a16:creationId xmlns:a16="http://schemas.microsoft.com/office/drawing/2014/main" id="{7556872D-9860-4918-9046-04D2F22B930C}"/>
              </a:ext>
            </a:extLst>
          </p:cNvPr>
          <p:cNvSpPr/>
          <p:nvPr userDrawn="1"/>
        </p:nvSpPr>
        <p:spPr>
          <a:xfrm>
            <a:off x="3467100" y="0"/>
            <a:ext cx="8763000" cy="6858000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59043"/>
            <a:ext cx="3339360" cy="299895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4436470" cy="424732"/>
          </a:xfrm>
        </p:spPr>
        <p:txBody>
          <a:bodyPr anchor="ctr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2416" y="6356350"/>
            <a:ext cx="964884" cy="365125"/>
          </a:xfrm>
        </p:spPr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60500" y="6356350"/>
            <a:ext cx="3235326" cy="365125"/>
          </a:xfrm>
        </p:spPr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99026" y="6356350"/>
            <a:ext cx="1501774" cy="365125"/>
          </a:xfrm>
        </p:spPr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21" name="Symbol zastępczy tekstu 13"/>
          <p:cNvSpPr>
            <a:spLocks noGrp="1"/>
          </p:cNvSpPr>
          <p:nvPr>
            <p:ph type="body" sz="quarter" idx="15" hasCustomPrompt="1"/>
          </p:nvPr>
        </p:nvSpPr>
        <p:spPr>
          <a:xfrm>
            <a:off x="338323" y="1435100"/>
            <a:ext cx="1877396" cy="1823100"/>
          </a:xfrm>
          <a:prstGeom prst="round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80000"/>
              </a:lnSpc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22" name="Symbol zastępczy tekstu 13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3" y="3807819"/>
            <a:ext cx="1877396" cy="1823100"/>
          </a:xfrm>
          <a:prstGeom prst="roundRect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80000"/>
              </a:lnSpc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23" name="Symbol zastępczy tekstu 13"/>
          <p:cNvSpPr>
            <a:spLocks noGrp="1"/>
          </p:cNvSpPr>
          <p:nvPr>
            <p:ph type="body" sz="quarter" idx="17" hasCustomPrompt="1"/>
          </p:nvPr>
        </p:nvSpPr>
        <p:spPr>
          <a:xfrm>
            <a:off x="5064156" y="1435100"/>
            <a:ext cx="1877396" cy="1823100"/>
          </a:xfrm>
          <a:prstGeom prst="round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80000"/>
              </a:lnSpc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24" name="Symbol zastępczy tekstu 13"/>
          <p:cNvSpPr>
            <a:spLocks noGrp="1"/>
          </p:cNvSpPr>
          <p:nvPr>
            <p:ph type="body" sz="quarter" idx="18" hasCustomPrompt="1"/>
          </p:nvPr>
        </p:nvSpPr>
        <p:spPr>
          <a:xfrm>
            <a:off x="2691714" y="3807819"/>
            <a:ext cx="1877396" cy="1823100"/>
          </a:xfrm>
          <a:prstGeom prst="round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80000"/>
              </a:lnSpc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25" name="Symbol zastępczy tekstu 13"/>
          <p:cNvSpPr>
            <a:spLocks noGrp="1"/>
          </p:cNvSpPr>
          <p:nvPr>
            <p:ph type="body" sz="quarter" idx="19" hasCustomPrompt="1"/>
          </p:nvPr>
        </p:nvSpPr>
        <p:spPr>
          <a:xfrm>
            <a:off x="7436598" y="3807819"/>
            <a:ext cx="1877396" cy="1823100"/>
          </a:xfrm>
          <a:prstGeom prst="round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80000"/>
              </a:lnSpc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26" name="Symbol zastępczy tekstu 13"/>
          <p:cNvSpPr>
            <a:spLocks noGrp="1"/>
          </p:cNvSpPr>
          <p:nvPr>
            <p:ph type="body" sz="quarter" idx="20" hasCustomPrompt="1"/>
          </p:nvPr>
        </p:nvSpPr>
        <p:spPr>
          <a:xfrm>
            <a:off x="5064156" y="3807819"/>
            <a:ext cx="1877396" cy="1823100"/>
          </a:xfrm>
          <a:prstGeom prst="roundRect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80000"/>
              </a:lnSpc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27" name="Symbol zastępczy tekstu 13"/>
          <p:cNvSpPr>
            <a:spLocks noGrp="1"/>
          </p:cNvSpPr>
          <p:nvPr>
            <p:ph type="body" sz="quarter" idx="21" hasCustomPrompt="1"/>
          </p:nvPr>
        </p:nvSpPr>
        <p:spPr>
          <a:xfrm>
            <a:off x="2691714" y="1435100"/>
            <a:ext cx="1877396" cy="1823100"/>
          </a:xfrm>
          <a:prstGeom prst="roundRect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80000"/>
              </a:lnSpc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28" name="Symbol zastępczy tekstu 13"/>
          <p:cNvSpPr>
            <a:spLocks noGrp="1"/>
          </p:cNvSpPr>
          <p:nvPr>
            <p:ph type="body" sz="quarter" idx="22" hasCustomPrompt="1"/>
          </p:nvPr>
        </p:nvSpPr>
        <p:spPr>
          <a:xfrm>
            <a:off x="7436598" y="1435100"/>
            <a:ext cx="1877396" cy="1823100"/>
          </a:xfrm>
          <a:prstGeom prst="roundRect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80000"/>
              </a:lnSpc>
              <a:buNone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/>
              <a:t>Miejsce na opis</a:t>
            </a:r>
          </a:p>
        </p:txBody>
      </p:sp>
    </p:spTree>
    <p:extLst>
      <p:ext uri="{BB962C8B-B14F-4D97-AF65-F5344CB8AC3E}">
        <p14:creationId xmlns:p14="http://schemas.microsoft.com/office/powerpoint/2010/main" val="1752340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31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1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1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1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9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" dur="175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12" presetID="2" presetClass="entr" presetSubtype="4" fill="hold" grpId="0" nodeType="after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4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5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6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8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9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0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2" dur="10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3" dur="10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4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6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7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8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0" dur="10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1" dur="10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2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4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5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6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38" dur="10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39" dur="10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0" presetID="2" presetClass="entr" presetSubtype="4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42" dur="1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43" dur="1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1" grpId="0" animBg="1">
            <p:tmplLst>
              <p:tmpl>
                <p:tnLst>
                  <p:par>
                    <p:cTn presetID="2" presetClass="entr" presetSubtype="4" fill="hold" nodeType="after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2" grpId="0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3" grpId="0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4" grpId="0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5" grpId="0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6" grpId="0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7" grpId="0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8" grpId="0" animBg="1">
            <p:tmplLst>
              <p:tmpl>
                <p:tnLst>
                  <p:par>
                    <p:cTn presetID="2" presetClass="entr" presetSubtype="4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31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1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1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175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9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0" dur="175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1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12" presetID="2" presetClass="entr" presetSubtype="4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4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5" dur="100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6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8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0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2" dur="10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3" dur="10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4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6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7" dur="1000" fill="hold"/>
                                            <p:tgtEl>
                                              <p:spTgt spid="2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8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0" dur="10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1" dur="100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2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4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5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6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8" dur="10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9" dur="10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0" presetID="2" presetClass="entr" presetSubtype="4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42" dur="1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43" dur="1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1" grpId="0" animBg="1">
            <p:tmplLst>
              <p:tmpl>
                <p:tnLst>
                  <p:par>
                    <p:cTn presetID="2" presetClass="entr" presetSubtype="4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1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1000" fill="hold"/>
                            <p:tgtEl>
                              <p:spTgt spid="21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1000" fill="hold"/>
                            <p:tgtEl>
                              <p:spTgt spid="21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2" grpId="0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1000" fill="hold"/>
                            <p:tgtEl>
                              <p:spTgt spid="2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1000" fill="hold"/>
                            <p:tgtEl>
                              <p:spTgt spid="2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3" grpId="0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1000" fill="hold"/>
                            <p:tgtEl>
                              <p:spTgt spid="23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1000" fill="hold"/>
                            <p:tgtEl>
                              <p:spTgt spid="23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4" grpId="0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1000" fill="hold"/>
                            <p:tgtEl>
                              <p:spTgt spid="2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1000" fill="hold"/>
                            <p:tgtEl>
                              <p:spTgt spid="2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5" grpId="0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1000" fill="hold"/>
                            <p:tgtEl>
                              <p:spTgt spid="2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1000" fill="hold"/>
                            <p:tgtEl>
                              <p:spTgt spid="2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6" grpId="0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10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10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7" grpId="0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7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1000" fill="hold"/>
                            <p:tgtEl>
                              <p:spTgt spid="27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1000" fill="hold"/>
                            <p:tgtEl>
                              <p:spTgt spid="27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8" grpId="0" animBg="1">
            <p:tmplLst>
              <p:tmpl>
                <p:tnLst>
                  <p:par>
                    <p:cTn presetID="2" presetClass="entr" presetSubtype="4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1000" fill="hold"/>
                            <p:tgtEl>
                              <p:spTgt spid="2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#ppt_x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1000" fill="hold"/>
                            <p:tgtEl>
                              <p:spTgt spid="2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1+#ppt_h/2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st it i zdję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Obraz 2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68892" y="0"/>
            <a:ext cx="3123108" cy="270827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1" y="404749"/>
            <a:ext cx="8974253" cy="424732"/>
          </a:xfrm>
        </p:spPr>
        <p:txBody>
          <a:bodyPr anchor="ctr"/>
          <a:lstStyle/>
          <a:p>
            <a:r>
              <a:rPr lang="pl-PL"/>
              <a:t>Kliknij, aby edytować styl</a:t>
            </a:r>
          </a:p>
        </p:txBody>
      </p:sp>
      <p:sp>
        <p:nvSpPr>
          <p:cNvPr id="22" name="Symbol zastępczy tekstu 13"/>
          <p:cNvSpPr>
            <a:spLocks noGrp="1"/>
          </p:cNvSpPr>
          <p:nvPr>
            <p:ph type="body" sz="quarter" idx="16" hasCustomPrompt="1"/>
          </p:nvPr>
        </p:nvSpPr>
        <p:spPr>
          <a:xfrm>
            <a:off x="338323" y="1686140"/>
            <a:ext cx="1877396" cy="1823100"/>
          </a:xfrm>
          <a:prstGeom prst="round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80000"/>
              </a:lnSpc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24" name="Symbol zastępczy tekstu 13"/>
          <p:cNvSpPr>
            <a:spLocks noGrp="1"/>
          </p:cNvSpPr>
          <p:nvPr>
            <p:ph type="body" sz="quarter" idx="18" hasCustomPrompt="1"/>
          </p:nvPr>
        </p:nvSpPr>
        <p:spPr>
          <a:xfrm>
            <a:off x="2766512" y="1686140"/>
            <a:ext cx="1877396" cy="1823100"/>
          </a:xfrm>
          <a:prstGeom prst="round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80000"/>
              </a:lnSpc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25" name="Symbol zastępczy tekstu 13"/>
          <p:cNvSpPr>
            <a:spLocks noGrp="1"/>
          </p:cNvSpPr>
          <p:nvPr>
            <p:ph type="body" sz="quarter" idx="19" hasCustomPrompt="1"/>
          </p:nvPr>
        </p:nvSpPr>
        <p:spPr>
          <a:xfrm>
            <a:off x="7622890" y="1686140"/>
            <a:ext cx="1877396" cy="1823100"/>
          </a:xfrm>
          <a:prstGeom prst="round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80000"/>
              </a:lnSpc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26" name="Symbol zastępczy tekstu 13"/>
          <p:cNvSpPr>
            <a:spLocks noGrp="1"/>
          </p:cNvSpPr>
          <p:nvPr>
            <p:ph type="body" sz="quarter" idx="20" hasCustomPrompt="1"/>
          </p:nvPr>
        </p:nvSpPr>
        <p:spPr>
          <a:xfrm>
            <a:off x="5194701" y="1686140"/>
            <a:ext cx="1877396" cy="1823100"/>
          </a:xfrm>
          <a:prstGeom prst="round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80000"/>
              </a:lnSpc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28" name="Symbol zastępczy tekstu 13"/>
          <p:cNvSpPr>
            <a:spLocks noGrp="1"/>
          </p:cNvSpPr>
          <p:nvPr>
            <p:ph type="body" sz="quarter" idx="22" hasCustomPrompt="1"/>
          </p:nvPr>
        </p:nvSpPr>
        <p:spPr>
          <a:xfrm>
            <a:off x="10051079" y="1686140"/>
            <a:ext cx="1877396" cy="1823100"/>
          </a:xfrm>
          <a:prstGeom prst="round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lnSpc>
                <a:spcPct val="80000"/>
              </a:lnSpc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8" name="Symbol zastępczy obrazu 7"/>
          <p:cNvSpPr>
            <a:spLocks noGrp="1"/>
          </p:cNvSpPr>
          <p:nvPr>
            <p:ph type="pic" sz="quarter" idx="23"/>
          </p:nvPr>
        </p:nvSpPr>
        <p:spPr>
          <a:xfrm>
            <a:off x="0" y="4013200"/>
            <a:ext cx="12192000" cy="2844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pl-PL"/>
          </a:p>
          <a:p>
            <a:endParaRPr lang="pl-PL"/>
          </a:p>
          <a:p>
            <a:endParaRPr lang="pl-PL"/>
          </a:p>
          <a:p>
            <a:r>
              <a:rPr lang="pl-PL"/>
              <a:t>Kliknij ikonę aby dodać zdjęcie</a:t>
            </a:r>
          </a:p>
        </p:txBody>
      </p:sp>
    </p:spTree>
    <p:extLst>
      <p:ext uri="{BB962C8B-B14F-4D97-AF65-F5344CB8AC3E}">
        <p14:creationId xmlns:p14="http://schemas.microsoft.com/office/powerpoint/2010/main" val="3432901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after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7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8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1" dur="10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2" dur="10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5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16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19" dur="1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0" dur="1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 p14:presetBounceEnd="45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5000">
                                          <p:cBhvr additive="base">
                                            <p:cTn id="23" dur="10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5000">
                                          <p:cBhvr additive="base">
                                            <p:cTn id="24" dur="10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2" grpId="0" animBg="1">
            <p:tmplLst>
              <p:tmpl>
                <p:tnLst>
                  <p:par>
                    <p:cTn presetID="2" presetClass="entr" presetSubtype="8" fill="hold" nodeType="after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4" grpId="0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5" grpId="0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6" grpId="0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8" grpId="0" animBg="1">
            <p:tmplLst>
              <p:tmpl>
                <p:tnLst>
                  <p:par>
                    <p:cTn presetID="2" presetClass="entr" presetSubtype="8" fill="hold" nodeType="withEffect" p14:presetBounceEnd="45000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 p14:bounceEnd="45000">
                          <p:cBhvr additive="base">
                            <p:cTn dur="1000" fill="hold"/>
                            <p:tgtEl>
                              <p:spTgt spid="2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2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000" fill="hold"/>
                                            <p:tgtEl>
                                              <p:spTgt spid="2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000" fill="hold"/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0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000" fill="hold"/>
                                            <p:tgtEl>
                                              <p:spTgt spid="2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2" grpId="0" animBg="1">
            <p:tmplLst>
              <p:tmpl>
                <p:tnLst>
                  <p:par>
                    <p:cTn presetID="2" presetClass="entr" presetSubtype="8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2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1000" fill="hold"/>
                            <p:tgtEl>
                              <p:spTgt spid="22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1000" fill="hold"/>
                            <p:tgtEl>
                              <p:spTgt spid="22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4" grpId="0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1000" fill="hold"/>
                            <p:tgtEl>
                              <p:spTgt spid="24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1000" fill="hold"/>
                            <p:tgtEl>
                              <p:spTgt spid="24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5" grpId="0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1000" fill="hold"/>
                            <p:tgtEl>
                              <p:spTgt spid="25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1000" fill="hold"/>
                            <p:tgtEl>
                              <p:spTgt spid="25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6" grpId="0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1000" fill="hold"/>
                            <p:tgtEl>
                              <p:spTgt spid="26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1000" fill="hold"/>
                            <p:tgtEl>
                              <p:spTgt spid="26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  <p:bldP spid="28" grpId="0" animBg="1">
            <p:tmplLst>
              <p:tmpl>
                <p:tnLst>
                  <p:par>
                    <p:cTn presetID="2" presetClass="entr" presetSubtype="8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8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 calcmode="lin" valueType="num">
                          <p:cBhvr additive="base">
                            <p:cTn dur="1000" fill="hold"/>
                            <p:tgtEl>
                              <p:spTgt spid="28"/>
                            </p:tgtEl>
                            <p:attrNameLst>
                              <p:attrName>ppt_x</p:attrName>
                            </p:attrNameLst>
                          </p:cBhvr>
                          <p:tavLst>
                            <p:tav tm="0">
                              <p:val>
                                <p:strVal val="0-#ppt_w/2"/>
                              </p:val>
                            </p:tav>
                            <p:tav tm="100000">
                              <p:val>
                                <p:strVal val="#ppt_x"/>
                              </p:val>
                            </p:tav>
                          </p:tavLst>
                        </p:anim>
                        <p:anim calcmode="lin" valueType="num">
                          <p:cBhvr additive="base">
                            <p:cTn dur="1000" fill="hold"/>
                            <p:tgtEl>
                              <p:spTgt spid="28"/>
                            </p:tgtEl>
                            <p:attrNameLst>
                              <p:attrName>ppt_y</p:attrName>
                            </p:attrNameLst>
                          </p:cBhvr>
                          <p:tavLst>
                            <p:tav tm="0">
                              <p:val>
                                <p:strVal val="#ppt_y"/>
                              </p:val>
                            </p:tav>
                            <p:tav tm="100000">
                              <p:val>
                                <p:strVal val="#ppt_y"/>
                              </p:val>
                            </p:tav>
                          </p:tavLst>
                        </p:anim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59043"/>
            <a:ext cx="3339360" cy="299895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1" y="404749"/>
            <a:ext cx="8974253" cy="424732"/>
          </a:xfrm>
        </p:spPr>
        <p:txBody>
          <a:bodyPr anchor="ctr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92416" y="6356350"/>
            <a:ext cx="964884" cy="365125"/>
          </a:xfrm>
        </p:spPr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60500" y="6356350"/>
            <a:ext cx="3235326" cy="365125"/>
          </a:xfrm>
        </p:spPr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899026" y="6356350"/>
            <a:ext cx="1501774" cy="365125"/>
          </a:xfrm>
        </p:spPr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8" name="Symbol zastępczy tekstu 7"/>
          <p:cNvSpPr>
            <a:spLocks noGrp="1"/>
          </p:cNvSpPr>
          <p:nvPr>
            <p:ph type="body" sz="quarter" idx="13"/>
          </p:nvPr>
        </p:nvSpPr>
        <p:spPr>
          <a:xfrm>
            <a:off x="263525" y="1270000"/>
            <a:ext cx="11664950" cy="4800600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611905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050F32D-4200-437F-BC6D-0F7095C2E2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A21F73D0-C0A8-4219-AF6E-CCD5A379F7B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4FBFF943-2B72-460F-9C91-1521987EA0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D69CF-B32D-4AAB-9F74-E49E94F4F73C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4C09BA86-5C24-4643-907C-7DF03E28D2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48FBA8B8-DE83-4D29-86B9-0A90128899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3D50D-D2A4-4581-A52E-D3DCFCCAB030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949233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Produkty z krótkim o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rostokąt 5"/>
          <p:cNvSpPr/>
          <p:nvPr userDrawn="1"/>
        </p:nvSpPr>
        <p:spPr>
          <a:xfrm>
            <a:off x="2578100" y="88900"/>
            <a:ext cx="419100" cy="104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BA13A1C4-D765-4BA0-85D2-D8133276C9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1618267" y="51120"/>
            <a:ext cx="7478459" cy="6857680"/>
          </a:xfrm>
          <a:prstGeom prst="rect">
            <a:avLst/>
          </a:prstGeom>
        </p:spPr>
      </p:pic>
      <p:sp>
        <p:nvSpPr>
          <p:cNvPr id="8" name="Prostokąt 7">
            <a:extLst>
              <a:ext uri="{FF2B5EF4-FFF2-40B4-BE49-F238E27FC236}">
                <a16:creationId xmlns:a16="http://schemas.microsoft.com/office/drawing/2014/main" id="{A92C60C0-6C42-4CDE-917E-DB863992CDAD}"/>
              </a:ext>
            </a:extLst>
          </p:cNvPr>
          <p:cNvSpPr/>
          <p:nvPr userDrawn="1"/>
        </p:nvSpPr>
        <p:spPr>
          <a:xfrm>
            <a:off x="0" y="0"/>
            <a:ext cx="8763000" cy="6858000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F5E4C164-4F21-45E2-B0F8-9340137F6612}"/>
              </a:ext>
            </a:extLst>
          </p:cNvPr>
          <p:cNvSpPr>
            <a:spLocks/>
          </p:cNvSpPr>
          <p:nvPr userDrawn="1"/>
        </p:nvSpPr>
        <p:spPr bwMode="auto">
          <a:xfrm>
            <a:off x="2841265" y="380902"/>
            <a:ext cx="3080470" cy="6172396"/>
          </a:xfrm>
          <a:custGeom>
            <a:avLst/>
            <a:gdLst>
              <a:gd name="T0" fmla="*/ 0 w 1308"/>
              <a:gd name="T1" fmla="*/ 2628 h 2628"/>
              <a:gd name="T2" fmla="*/ 1308 w 1308"/>
              <a:gd name="T3" fmla="*/ 1314 h 2628"/>
              <a:gd name="T4" fmla="*/ 0 w 1308"/>
              <a:gd name="T5" fmla="*/ 0 h 26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08" h="2628">
                <a:moveTo>
                  <a:pt x="0" y="2628"/>
                </a:moveTo>
                <a:cubicBezTo>
                  <a:pt x="723" y="2625"/>
                  <a:pt x="1308" y="2038"/>
                  <a:pt x="1308" y="1314"/>
                </a:cubicBezTo>
                <a:cubicBezTo>
                  <a:pt x="1308" y="590"/>
                  <a:pt x="723" y="3"/>
                  <a:pt x="0" y="0"/>
                </a:cubicBezTo>
              </a:path>
            </a:pathLst>
          </a:custGeom>
          <a:noFill/>
          <a:ln w="9525" cap="flat">
            <a:solidFill>
              <a:srgbClr val="D40A6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121D1B7D-7FF7-45E0-8346-4A56AA74F5B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grayscl/>
          </a:blip>
          <a:stretch>
            <a:fillRect/>
          </a:stretch>
        </p:blipFill>
        <p:spPr>
          <a:xfrm>
            <a:off x="5310684" y="784663"/>
            <a:ext cx="1641655" cy="906586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03DF9965-7F6D-4EBB-8C80-67BAD7FF760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grayscl/>
          </a:blip>
          <a:stretch>
            <a:fillRect/>
          </a:stretch>
        </p:blipFill>
        <p:spPr>
          <a:xfrm>
            <a:off x="6008649" y="2116146"/>
            <a:ext cx="1868950" cy="758574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0ABC2648-F6D9-4E00-8A39-4389F0C223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grayscl/>
          </a:blip>
          <a:srcRect l="22727" t="23104" r="21644" b="27451"/>
          <a:stretch/>
        </p:blipFill>
        <p:spPr>
          <a:xfrm>
            <a:off x="6008649" y="3883620"/>
            <a:ext cx="1474233" cy="655160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572F8D1B-DD10-49BD-BA15-3E253D5405C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grayscl/>
          </a:blip>
          <a:stretch>
            <a:fillRect/>
          </a:stretch>
        </p:blipFill>
        <p:spPr>
          <a:xfrm>
            <a:off x="5276378" y="5393576"/>
            <a:ext cx="2469679" cy="689855"/>
          </a:xfrm>
          <a:prstGeom prst="rect">
            <a:avLst/>
          </a:prstGeom>
        </p:spPr>
      </p:pic>
      <p:pic>
        <p:nvPicPr>
          <p:cNvPr id="14" name="Obraz 13">
            <a:extLst>
              <a:ext uri="{FF2B5EF4-FFF2-40B4-BE49-F238E27FC236}">
                <a16:creationId xmlns:a16="http://schemas.microsoft.com/office/drawing/2014/main" id="{7448E2FD-55A8-441A-AB09-09AA4B1E1E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10684" y="784663"/>
            <a:ext cx="1641655" cy="906586"/>
          </a:xfrm>
          <a:prstGeom prst="rect">
            <a:avLst/>
          </a:prstGeom>
        </p:spPr>
      </p:pic>
      <p:pic>
        <p:nvPicPr>
          <p:cNvPr id="15" name="Obraz 14">
            <a:extLst>
              <a:ext uri="{FF2B5EF4-FFF2-40B4-BE49-F238E27FC236}">
                <a16:creationId xmlns:a16="http://schemas.microsoft.com/office/drawing/2014/main" id="{DED5B742-4614-4C23-AD86-0C3EF823D8C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08649" y="2116146"/>
            <a:ext cx="1868950" cy="758574"/>
          </a:xfrm>
          <a:prstGeom prst="rect">
            <a:avLst/>
          </a:prstGeom>
        </p:spPr>
      </p:pic>
      <p:pic>
        <p:nvPicPr>
          <p:cNvPr id="16" name="Obraz 15">
            <a:extLst>
              <a:ext uri="{FF2B5EF4-FFF2-40B4-BE49-F238E27FC236}">
                <a16:creationId xmlns:a16="http://schemas.microsoft.com/office/drawing/2014/main" id="{416FA47A-D302-48DA-9721-F7B2B494AC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2727" t="23104" r="21644" b="27451"/>
          <a:stretch/>
        </p:blipFill>
        <p:spPr>
          <a:xfrm>
            <a:off x="6008649" y="3883620"/>
            <a:ext cx="1474233" cy="655160"/>
          </a:xfrm>
          <a:prstGeom prst="rect">
            <a:avLst/>
          </a:prstGeom>
        </p:spPr>
      </p:pic>
      <p:pic>
        <p:nvPicPr>
          <p:cNvPr id="17" name="Obraz 16">
            <a:extLst>
              <a:ext uri="{FF2B5EF4-FFF2-40B4-BE49-F238E27FC236}">
                <a16:creationId xmlns:a16="http://schemas.microsoft.com/office/drawing/2014/main" id="{2A6EB3CB-95F3-4A1E-A2D4-8CEBB683813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276378" y="5393576"/>
            <a:ext cx="2469679" cy="689855"/>
          </a:xfrm>
          <a:prstGeom prst="rect">
            <a:avLst/>
          </a:prstGeom>
        </p:spPr>
      </p:pic>
      <p:sp>
        <p:nvSpPr>
          <p:cNvPr id="18" name="Prostokąt 17">
            <a:extLst>
              <a:ext uri="{FF2B5EF4-FFF2-40B4-BE49-F238E27FC236}">
                <a16:creationId xmlns:a16="http://schemas.microsoft.com/office/drawing/2014/main" id="{EADFEE87-A06A-49ED-83B0-F3DB165159FB}"/>
              </a:ext>
            </a:extLst>
          </p:cNvPr>
          <p:cNvSpPr/>
          <p:nvPr userDrawn="1"/>
        </p:nvSpPr>
        <p:spPr>
          <a:xfrm>
            <a:off x="9059914" y="-12700"/>
            <a:ext cx="313208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grpSp>
        <p:nvGrpSpPr>
          <p:cNvPr id="20" name="Grupa 19">
            <a:extLst>
              <a:ext uri="{FF2B5EF4-FFF2-40B4-BE49-F238E27FC236}">
                <a16:creationId xmlns:a16="http://schemas.microsoft.com/office/drawing/2014/main" id="{79DEAE1A-CE5B-49CA-A39D-C41274C1A574}"/>
              </a:ext>
            </a:extLst>
          </p:cNvPr>
          <p:cNvGrpSpPr/>
          <p:nvPr userDrawn="1"/>
        </p:nvGrpSpPr>
        <p:grpSpPr>
          <a:xfrm>
            <a:off x="7760571" y="1404279"/>
            <a:ext cx="3898029" cy="0"/>
            <a:chOff x="7760571" y="1404279"/>
            <a:chExt cx="3898029" cy="0"/>
          </a:xfrm>
        </p:grpSpPr>
        <p:cxnSp>
          <p:nvCxnSpPr>
            <p:cNvPr id="21" name="Łącznik prosty 20">
              <a:extLst>
                <a:ext uri="{FF2B5EF4-FFF2-40B4-BE49-F238E27FC236}">
                  <a16:creationId xmlns:a16="http://schemas.microsoft.com/office/drawing/2014/main" id="{4314723B-7FD1-4A68-B831-7B8D9AF2879A}"/>
                </a:ext>
              </a:extLst>
            </p:cNvPr>
            <p:cNvCxnSpPr>
              <a:cxnSpLocks/>
            </p:cNvCxnSpPr>
            <p:nvPr/>
          </p:nvCxnSpPr>
          <p:spPr>
            <a:xfrm>
              <a:off x="9059914" y="1404279"/>
              <a:ext cx="259868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Łącznik prosty 21">
              <a:extLst>
                <a:ext uri="{FF2B5EF4-FFF2-40B4-BE49-F238E27FC236}">
                  <a16:creationId xmlns:a16="http://schemas.microsoft.com/office/drawing/2014/main" id="{142FDB15-5A1F-4F80-B10C-3A3616406082}"/>
                </a:ext>
              </a:extLst>
            </p:cNvPr>
            <p:cNvCxnSpPr>
              <a:cxnSpLocks/>
            </p:cNvCxnSpPr>
            <p:nvPr/>
          </p:nvCxnSpPr>
          <p:spPr>
            <a:xfrm>
              <a:off x="7760571" y="1404279"/>
              <a:ext cx="129934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upa 23">
            <a:extLst>
              <a:ext uri="{FF2B5EF4-FFF2-40B4-BE49-F238E27FC236}">
                <a16:creationId xmlns:a16="http://schemas.microsoft.com/office/drawing/2014/main" id="{84D63630-3ECE-4ADC-B6CC-3485A7481671}"/>
              </a:ext>
            </a:extLst>
          </p:cNvPr>
          <p:cNvGrpSpPr/>
          <p:nvPr userDrawn="1"/>
        </p:nvGrpSpPr>
        <p:grpSpPr>
          <a:xfrm>
            <a:off x="7760571" y="3016465"/>
            <a:ext cx="3898029" cy="0"/>
            <a:chOff x="7760571" y="3016465"/>
            <a:chExt cx="3898029" cy="0"/>
          </a:xfrm>
        </p:grpSpPr>
        <p:cxnSp>
          <p:nvCxnSpPr>
            <p:cNvPr id="25" name="Łącznik prosty 24">
              <a:extLst>
                <a:ext uri="{FF2B5EF4-FFF2-40B4-BE49-F238E27FC236}">
                  <a16:creationId xmlns:a16="http://schemas.microsoft.com/office/drawing/2014/main" id="{445A9F98-9199-4503-8553-C318F423B0E3}"/>
                </a:ext>
              </a:extLst>
            </p:cNvPr>
            <p:cNvCxnSpPr>
              <a:cxnSpLocks/>
            </p:cNvCxnSpPr>
            <p:nvPr/>
          </p:nvCxnSpPr>
          <p:spPr>
            <a:xfrm>
              <a:off x="9059914" y="3016465"/>
              <a:ext cx="259868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Łącznik prosty 25">
              <a:extLst>
                <a:ext uri="{FF2B5EF4-FFF2-40B4-BE49-F238E27FC236}">
                  <a16:creationId xmlns:a16="http://schemas.microsoft.com/office/drawing/2014/main" id="{F7484F2D-F5AF-4662-AA74-644F79891537}"/>
                </a:ext>
              </a:extLst>
            </p:cNvPr>
            <p:cNvCxnSpPr>
              <a:cxnSpLocks/>
            </p:cNvCxnSpPr>
            <p:nvPr/>
          </p:nvCxnSpPr>
          <p:spPr>
            <a:xfrm>
              <a:off x="7760571" y="3016465"/>
              <a:ext cx="129934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a 27">
            <a:extLst>
              <a:ext uri="{FF2B5EF4-FFF2-40B4-BE49-F238E27FC236}">
                <a16:creationId xmlns:a16="http://schemas.microsoft.com/office/drawing/2014/main" id="{BC6B8F85-8720-4BEC-99A7-5F0696413D97}"/>
              </a:ext>
            </a:extLst>
          </p:cNvPr>
          <p:cNvGrpSpPr/>
          <p:nvPr userDrawn="1"/>
        </p:nvGrpSpPr>
        <p:grpSpPr>
          <a:xfrm>
            <a:off x="7760571" y="4592183"/>
            <a:ext cx="3898029" cy="0"/>
            <a:chOff x="7760571" y="4592183"/>
            <a:chExt cx="3898029" cy="0"/>
          </a:xfrm>
        </p:grpSpPr>
        <p:cxnSp>
          <p:nvCxnSpPr>
            <p:cNvPr id="29" name="Łącznik prosty 28">
              <a:extLst>
                <a:ext uri="{FF2B5EF4-FFF2-40B4-BE49-F238E27FC236}">
                  <a16:creationId xmlns:a16="http://schemas.microsoft.com/office/drawing/2014/main" id="{E47D1406-C8F4-4240-B948-66B7EED8C17C}"/>
                </a:ext>
              </a:extLst>
            </p:cNvPr>
            <p:cNvCxnSpPr>
              <a:cxnSpLocks/>
            </p:cNvCxnSpPr>
            <p:nvPr/>
          </p:nvCxnSpPr>
          <p:spPr>
            <a:xfrm>
              <a:off x="9059914" y="4592183"/>
              <a:ext cx="259868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Łącznik prosty 29">
              <a:extLst>
                <a:ext uri="{FF2B5EF4-FFF2-40B4-BE49-F238E27FC236}">
                  <a16:creationId xmlns:a16="http://schemas.microsoft.com/office/drawing/2014/main" id="{A19D1FFC-2520-4A22-905F-E2C6D3CDFF4E}"/>
                </a:ext>
              </a:extLst>
            </p:cNvPr>
            <p:cNvCxnSpPr>
              <a:cxnSpLocks/>
            </p:cNvCxnSpPr>
            <p:nvPr/>
          </p:nvCxnSpPr>
          <p:spPr>
            <a:xfrm>
              <a:off x="7760571" y="4592183"/>
              <a:ext cx="129934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upa 31">
            <a:extLst>
              <a:ext uri="{FF2B5EF4-FFF2-40B4-BE49-F238E27FC236}">
                <a16:creationId xmlns:a16="http://schemas.microsoft.com/office/drawing/2014/main" id="{0E32FCDC-41D3-4757-B1A4-C2B24473F5D9}"/>
              </a:ext>
            </a:extLst>
          </p:cNvPr>
          <p:cNvGrpSpPr/>
          <p:nvPr userDrawn="1"/>
        </p:nvGrpSpPr>
        <p:grpSpPr>
          <a:xfrm>
            <a:off x="7760571" y="6135034"/>
            <a:ext cx="3898029" cy="0"/>
            <a:chOff x="7760571" y="6135034"/>
            <a:chExt cx="3898029" cy="0"/>
          </a:xfrm>
        </p:grpSpPr>
        <p:cxnSp>
          <p:nvCxnSpPr>
            <p:cNvPr id="33" name="Łącznik prosty 32">
              <a:extLst>
                <a:ext uri="{FF2B5EF4-FFF2-40B4-BE49-F238E27FC236}">
                  <a16:creationId xmlns:a16="http://schemas.microsoft.com/office/drawing/2014/main" id="{235D2FCF-FB84-4698-850E-FE7720AC60CF}"/>
                </a:ext>
              </a:extLst>
            </p:cNvPr>
            <p:cNvCxnSpPr>
              <a:cxnSpLocks/>
            </p:cNvCxnSpPr>
            <p:nvPr/>
          </p:nvCxnSpPr>
          <p:spPr>
            <a:xfrm>
              <a:off x="9059914" y="6135034"/>
              <a:ext cx="259868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Łącznik prosty 33">
              <a:extLst>
                <a:ext uri="{FF2B5EF4-FFF2-40B4-BE49-F238E27FC236}">
                  <a16:creationId xmlns:a16="http://schemas.microsoft.com/office/drawing/2014/main" id="{F5565E58-BC05-4DD1-ACD8-4FC2913A838C}"/>
                </a:ext>
              </a:extLst>
            </p:cNvPr>
            <p:cNvCxnSpPr>
              <a:cxnSpLocks/>
            </p:cNvCxnSpPr>
            <p:nvPr/>
          </p:nvCxnSpPr>
          <p:spPr>
            <a:xfrm>
              <a:off x="7760571" y="6135034"/>
              <a:ext cx="129934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oup 4"/>
          <p:cNvGrpSpPr>
            <a:grpSpLocks noChangeAspect="1"/>
          </p:cNvGrpSpPr>
          <p:nvPr userDrawn="1"/>
        </p:nvGrpSpPr>
        <p:grpSpPr bwMode="auto">
          <a:xfrm>
            <a:off x="1367548" y="2857314"/>
            <a:ext cx="3672319" cy="1130671"/>
            <a:chOff x="-1344" y="-1158"/>
            <a:chExt cx="3891" cy="1198"/>
          </a:xfrm>
        </p:grpSpPr>
        <p:sp>
          <p:nvSpPr>
            <p:cNvPr id="36" name="Freeform 5"/>
            <p:cNvSpPr>
              <a:spLocks noEditPoints="1"/>
            </p:cNvSpPr>
            <p:nvPr/>
          </p:nvSpPr>
          <p:spPr bwMode="auto">
            <a:xfrm>
              <a:off x="2" y="-925"/>
              <a:ext cx="306" cy="330"/>
            </a:xfrm>
            <a:custGeom>
              <a:avLst/>
              <a:gdLst>
                <a:gd name="T0" fmla="*/ 66 w 129"/>
                <a:gd name="T1" fmla="*/ 139 h 139"/>
                <a:gd name="T2" fmla="*/ 40 w 129"/>
                <a:gd name="T3" fmla="*/ 134 h 139"/>
                <a:gd name="T4" fmla="*/ 19 w 129"/>
                <a:gd name="T5" fmla="*/ 120 h 139"/>
                <a:gd name="T6" fmla="*/ 5 w 129"/>
                <a:gd name="T7" fmla="*/ 100 h 139"/>
                <a:gd name="T8" fmla="*/ 0 w 129"/>
                <a:gd name="T9" fmla="*/ 74 h 139"/>
                <a:gd name="T10" fmla="*/ 5 w 129"/>
                <a:gd name="T11" fmla="*/ 44 h 139"/>
                <a:gd name="T12" fmla="*/ 18 w 129"/>
                <a:gd name="T13" fmla="*/ 21 h 139"/>
                <a:gd name="T14" fmla="*/ 39 w 129"/>
                <a:gd name="T15" fmla="*/ 5 h 139"/>
                <a:gd name="T16" fmla="*/ 66 w 129"/>
                <a:gd name="T17" fmla="*/ 0 h 139"/>
                <a:gd name="T18" fmla="*/ 90 w 129"/>
                <a:gd name="T19" fmla="*/ 4 h 139"/>
                <a:gd name="T20" fmla="*/ 109 w 129"/>
                <a:gd name="T21" fmla="*/ 17 h 139"/>
                <a:gd name="T22" fmla="*/ 121 w 129"/>
                <a:gd name="T23" fmla="*/ 35 h 139"/>
                <a:gd name="T24" fmla="*/ 125 w 129"/>
                <a:gd name="T25" fmla="*/ 56 h 139"/>
                <a:gd name="T26" fmla="*/ 26 w 129"/>
                <a:gd name="T27" fmla="*/ 56 h 139"/>
                <a:gd name="T28" fmla="*/ 29 w 129"/>
                <a:gd name="T29" fmla="*/ 81 h 139"/>
                <a:gd name="T30" fmla="*/ 39 w 129"/>
                <a:gd name="T31" fmla="*/ 101 h 139"/>
                <a:gd name="T32" fmla="*/ 54 w 129"/>
                <a:gd name="T33" fmla="*/ 114 h 139"/>
                <a:gd name="T34" fmla="*/ 73 w 129"/>
                <a:gd name="T35" fmla="*/ 119 h 139"/>
                <a:gd name="T36" fmla="*/ 89 w 129"/>
                <a:gd name="T37" fmla="*/ 116 h 139"/>
                <a:gd name="T38" fmla="*/ 104 w 129"/>
                <a:gd name="T39" fmla="*/ 108 h 139"/>
                <a:gd name="T40" fmla="*/ 115 w 129"/>
                <a:gd name="T41" fmla="*/ 98 h 139"/>
                <a:gd name="T42" fmla="*/ 121 w 129"/>
                <a:gd name="T43" fmla="*/ 86 h 139"/>
                <a:gd name="T44" fmla="*/ 129 w 129"/>
                <a:gd name="T45" fmla="*/ 89 h 139"/>
                <a:gd name="T46" fmla="*/ 120 w 129"/>
                <a:gd name="T47" fmla="*/ 109 h 139"/>
                <a:gd name="T48" fmla="*/ 105 w 129"/>
                <a:gd name="T49" fmla="*/ 124 h 139"/>
                <a:gd name="T50" fmla="*/ 86 w 129"/>
                <a:gd name="T51" fmla="*/ 135 h 139"/>
                <a:gd name="T52" fmla="*/ 66 w 129"/>
                <a:gd name="T53" fmla="*/ 139 h 139"/>
                <a:gd name="T54" fmla="*/ 92 w 129"/>
                <a:gd name="T55" fmla="*/ 45 h 139"/>
                <a:gd name="T56" fmla="*/ 89 w 129"/>
                <a:gd name="T57" fmla="*/ 31 h 139"/>
                <a:gd name="T58" fmla="*/ 82 w 129"/>
                <a:gd name="T59" fmla="*/ 20 h 139"/>
                <a:gd name="T60" fmla="*/ 71 w 129"/>
                <a:gd name="T61" fmla="*/ 12 h 139"/>
                <a:gd name="T62" fmla="*/ 58 w 129"/>
                <a:gd name="T63" fmla="*/ 10 h 139"/>
                <a:gd name="T64" fmla="*/ 46 w 129"/>
                <a:gd name="T65" fmla="*/ 12 h 139"/>
                <a:gd name="T66" fmla="*/ 36 w 129"/>
                <a:gd name="T67" fmla="*/ 20 h 139"/>
                <a:gd name="T68" fmla="*/ 29 w 129"/>
                <a:gd name="T69" fmla="*/ 31 h 139"/>
                <a:gd name="T70" fmla="*/ 26 w 129"/>
                <a:gd name="T71" fmla="*/ 45 h 139"/>
                <a:gd name="T72" fmla="*/ 92 w 129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139">
                  <a:moveTo>
                    <a:pt x="66" y="139"/>
                  </a:moveTo>
                  <a:cubicBezTo>
                    <a:pt x="57" y="139"/>
                    <a:pt x="48" y="137"/>
                    <a:pt x="40" y="134"/>
                  </a:cubicBezTo>
                  <a:cubicBezTo>
                    <a:pt x="32" y="131"/>
                    <a:pt x="25" y="126"/>
                    <a:pt x="19" y="120"/>
                  </a:cubicBezTo>
                  <a:cubicBezTo>
                    <a:pt x="13" y="114"/>
                    <a:pt x="9" y="107"/>
                    <a:pt x="5" y="100"/>
                  </a:cubicBezTo>
                  <a:cubicBezTo>
                    <a:pt x="2" y="92"/>
                    <a:pt x="0" y="83"/>
                    <a:pt x="0" y="74"/>
                  </a:cubicBezTo>
                  <a:cubicBezTo>
                    <a:pt x="0" y="64"/>
                    <a:pt x="2" y="54"/>
                    <a:pt x="5" y="44"/>
                  </a:cubicBezTo>
                  <a:cubicBezTo>
                    <a:pt x="8" y="35"/>
                    <a:pt x="12" y="27"/>
                    <a:pt x="18" y="21"/>
                  </a:cubicBezTo>
                  <a:cubicBezTo>
                    <a:pt x="24" y="14"/>
                    <a:pt x="31" y="9"/>
                    <a:pt x="39" y="5"/>
                  </a:cubicBezTo>
                  <a:cubicBezTo>
                    <a:pt x="47" y="1"/>
                    <a:pt x="56" y="0"/>
                    <a:pt x="66" y="0"/>
                  </a:cubicBezTo>
                  <a:cubicBezTo>
                    <a:pt x="75" y="0"/>
                    <a:pt x="83" y="1"/>
                    <a:pt x="90" y="4"/>
                  </a:cubicBezTo>
                  <a:cubicBezTo>
                    <a:pt x="97" y="7"/>
                    <a:pt x="104" y="11"/>
                    <a:pt x="109" y="17"/>
                  </a:cubicBezTo>
                  <a:cubicBezTo>
                    <a:pt x="114" y="22"/>
                    <a:pt x="118" y="28"/>
                    <a:pt x="121" y="35"/>
                  </a:cubicBezTo>
                  <a:cubicBezTo>
                    <a:pt x="124" y="41"/>
                    <a:pt x="125" y="49"/>
                    <a:pt x="125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65"/>
                    <a:pt x="27" y="73"/>
                    <a:pt x="29" y="81"/>
                  </a:cubicBezTo>
                  <a:cubicBezTo>
                    <a:pt x="31" y="89"/>
                    <a:pt x="35" y="95"/>
                    <a:pt x="39" y="101"/>
                  </a:cubicBezTo>
                  <a:cubicBezTo>
                    <a:pt x="43" y="106"/>
                    <a:pt x="48" y="111"/>
                    <a:pt x="54" y="114"/>
                  </a:cubicBezTo>
                  <a:cubicBezTo>
                    <a:pt x="59" y="117"/>
                    <a:pt x="66" y="119"/>
                    <a:pt x="73" y="119"/>
                  </a:cubicBezTo>
                  <a:cubicBezTo>
                    <a:pt x="79" y="119"/>
                    <a:pt x="84" y="118"/>
                    <a:pt x="89" y="116"/>
                  </a:cubicBezTo>
                  <a:cubicBezTo>
                    <a:pt x="95" y="114"/>
                    <a:pt x="100" y="112"/>
                    <a:pt x="104" y="108"/>
                  </a:cubicBezTo>
                  <a:cubicBezTo>
                    <a:pt x="108" y="105"/>
                    <a:pt x="112" y="102"/>
                    <a:pt x="115" y="98"/>
                  </a:cubicBezTo>
                  <a:cubicBezTo>
                    <a:pt x="118" y="94"/>
                    <a:pt x="120" y="90"/>
                    <a:pt x="121" y="86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7" y="96"/>
                    <a:pt x="124" y="103"/>
                    <a:pt x="120" y="109"/>
                  </a:cubicBezTo>
                  <a:cubicBezTo>
                    <a:pt x="115" y="115"/>
                    <a:pt x="110" y="120"/>
                    <a:pt x="105" y="124"/>
                  </a:cubicBezTo>
                  <a:cubicBezTo>
                    <a:pt x="99" y="129"/>
                    <a:pt x="93" y="132"/>
                    <a:pt x="86" y="135"/>
                  </a:cubicBezTo>
                  <a:cubicBezTo>
                    <a:pt x="79" y="138"/>
                    <a:pt x="73" y="139"/>
                    <a:pt x="66" y="139"/>
                  </a:cubicBezTo>
                  <a:moveTo>
                    <a:pt x="92" y="45"/>
                  </a:moveTo>
                  <a:cubicBezTo>
                    <a:pt x="92" y="40"/>
                    <a:pt x="91" y="36"/>
                    <a:pt x="89" y="31"/>
                  </a:cubicBezTo>
                  <a:cubicBezTo>
                    <a:pt x="88" y="27"/>
                    <a:pt x="85" y="23"/>
                    <a:pt x="82" y="20"/>
                  </a:cubicBezTo>
                  <a:cubicBezTo>
                    <a:pt x="79" y="17"/>
                    <a:pt x="75" y="14"/>
                    <a:pt x="71" y="12"/>
                  </a:cubicBezTo>
                  <a:cubicBezTo>
                    <a:pt x="67" y="10"/>
                    <a:pt x="62" y="10"/>
                    <a:pt x="58" y="10"/>
                  </a:cubicBezTo>
                  <a:cubicBezTo>
                    <a:pt x="54" y="10"/>
                    <a:pt x="50" y="10"/>
                    <a:pt x="46" y="12"/>
                  </a:cubicBezTo>
                  <a:cubicBezTo>
                    <a:pt x="42" y="14"/>
                    <a:pt x="39" y="17"/>
                    <a:pt x="36" y="20"/>
                  </a:cubicBezTo>
                  <a:cubicBezTo>
                    <a:pt x="33" y="23"/>
                    <a:pt x="31" y="27"/>
                    <a:pt x="29" y="31"/>
                  </a:cubicBezTo>
                  <a:cubicBezTo>
                    <a:pt x="27" y="36"/>
                    <a:pt x="26" y="40"/>
                    <a:pt x="26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7" name="Freeform 6"/>
            <p:cNvSpPr>
              <a:spLocks/>
            </p:cNvSpPr>
            <p:nvPr/>
          </p:nvSpPr>
          <p:spPr bwMode="auto">
            <a:xfrm>
              <a:off x="317" y="-918"/>
              <a:ext cx="324" cy="316"/>
            </a:xfrm>
            <a:custGeom>
              <a:avLst/>
              <a:gdLst>
                <a:gd name="T0" fmla="*/ 33 w 324"/>
                <a:gd name="T1" fmla="*/ 316 h 316"/>
                <a:gd name="T2" fmla="*/ 0 w 324"/>
                <a:gd name="T3" fmla="*/ 316 h 316"/>
                <a:gd name="T4" fmla="*/ 133 w 324"/>
                <a:gd name="T5" fmla="*/ 155 h 316"/>
                <a:gd name="T6" fmla="*/ 19 w 324"/>
                <a:gd name="T7" fmla="*/ 0 h 316"/>
                <a:gd name="T8" fmla="*/ 95 w 324"/>
                <a:gd name="T9" fmla="*/ 0 h 316"/>
                <a:gd name="T10" fmla="*/ 170 w 324"/>
                <a:gd name="T11" fmla="*/ 105 h 316"/>
                <a:gd name="T12" fmla="*/ 258 w 324"/>
                <a:gd name="T13" fmla="*/ 0 h 316"/>
                <a:gd name="T14" fmla="*/ 294 w 324"/>
                <a:gd name="T15" fmla="*/ 0 h 316"/>
                <a:gd name="T16" fmla="*/ 187 w 324"/>
                <a:gd name="T17" fmla="*/ 128 h 316"/>
                <a:gd name="T18" fmla="*/ 324 w 324"/>
                <a:gd name="T19" fmla="*/ 316 h 316"/>
                <a:gd name="T20" fmla="*/ 249 w 324"/>
                <a:gd name="T21" fmla="*/ 316 h 316"/>
                <a:gd name="T22" fmla="*/ 149 w 324"/>
                <a:gd name="T23" fmla="*/ 176 h 316"/>
                <a:gd name="T24" fmla="*/ 33 w 324"/>
                <a:gd name="T25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4" h="316">
                  <a:moveTo>
                    <a:pt x="33" y="316"/>
                  </a:moveTo>
                  <a:lnTo>
                    <a:pt x="0" y="316"/>
                  </a:lnTo>
                  <a:lnTo>
                    <a:pt x="133" y="155"/>
                  </a:lnTo>
                  <a:lnTo>
                    <a:pt x="19" y="0"/>
                  </a:lnTo>
                  <a:lnTo>
                    <a:pt x="95" y="0"/>
                  </a:lnTo>
                  <a:lnTo>
                    <a:pt x="170" y="105"/>
                  </a:lnTo>
                  <a:lnTo>
                    <a:pt x="258" y="0"/>
                  </a:lnTo>
                  <a:lnTo>
                    <a:pt x="294" y="0"/>
                  </a:lnTo>
                  <a:lnTo>
                    <a:pt x="187" y="128"/>
                  </a:lnTo>
                  <a:lnTo>
                    <a:pt x="324" y="316"/>
                  </a:lnTo>
                  <a:lnTo>
                    <a:pt x="249" y="316"/>
                  </a:lnTo>
                  <a:lnTo>
                    <a:pt x="149" y="176"/>
                  </a:lnTo>
                  <a:lnTo>
                    <a:pt x="33" y="316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8" name="Freeform 7"/>
            <p:cNvSpPr>
              <a:spLocks/>
            </p:cNvSpPr>
            <p:nvPr/>
          </p:nvSpPr>
          <p:spPr bwMode="auto">
            <a:xfrm>
              <a:off x="625" y="-1027"/>
              <a:ext cx="203" cy="432"/>
            </a:xfrm>
            <a:custGeom>
              <a:avLst/>
              <a:gdLst>
                <a:gd name="T0" fmla="*/ 86 w 86"/>
                <a:gd name="T1" fmla="*/ 162 h 182"/>
                <a:gd name="T2" fmla="*/ 71 w 86"/>
                <a:gd name="T3" fmla="*/ 177 h 182"/>
                <a:gd name="T4" fmla="*/ 50 w 86"/>
                <a:gd name="T5" fmla="*/ 182 h 182"/>
                <a:gd name="T6" fmla="*/ 38 w 86"/>
                <a:gd name="T7" fmla="*/ 180 h 182"/>
                <a:gd name="T8" fmla="*/ 30 w 86"/>
                <a:gd name="T9" fmla="*/ 173 h 182"/>
                <a:gd name="T10" fmla="*/ 25 w 86"/>
                <a:gd name="T11" fmla="*/ 164 h 182"/>
                <a:gd name="T12" fmla="*/ 23 w 86"/>
                <a:gd name="T13" fmla="*/ 151 h 182"/>
                <a:gd name="T14" fmla="*/ 23 w 86"/>
                <a:gd name="T15" fmla="*/ 57 h 182"/>
                <a:gd name="T16" fmla="*/ 0 w 86"/>
                <a:gd name="T17" fmla="*/ 57 h 182"/>
                <a:gd name="T18" fmla="*/ 0 w 86"/>
                <a:gd name="T19" fmla="*/ 50 h 182"/>
                <a:gd name="T20" fmla="*/ 19 w 86"/>
                <a:gd name="T21" fmla="*/ 46 h 182"/>
                <a:gd name="T22" fmla="*/ 31 w 86"/>
                <a:gd name="T23" fmla="*/ 35 h 182"/>
                <a:gd name="T24" fmla="*/ 38 w 86"/>
                <a:gd name="T25" fmla="*/ 19 h 182"/>
                <a:gd name="T26" fmla="*/ 42 w 86"/>
                <a:gd name="T27" fmla="*/ 0 h 182"/>
                <a:gd name="T28" fmla="*/ 50 w 86"/>
                <a:gd name="T29" fmla="*/ 0 h 182"/>
                <a:gd name="T30" fmla="*/ 50 w 86"/>
                <a:gd name="T31" fmla="*/ 45 h 182"/>
                <a:gd name="T32" fmla="*/ 80 w 86"/>
                <a:gd name="T33" fmla="*/ 45 h 182"/>
                <a:gd name="T34" fmla="*/ 80 w 86"/>
                <a:gd name="T35" fmla="*/ 57 h 182"/>
                <a:gd name="T36" fmla="*/ 50 w 86"/>
                <a:gd name="T37" fmla="*/ 57 h 182"/>
                <a:gd name="T38" fmla="*/ 50 w 86"/>
                <a:gd name="T39" fmla="*/ 151 h 182"/>
                <a:gd name="T40" fmla="*/ 54 w 86"/>
                <a:gd name="T41" fmla="*/ 161 h 182"/>
                <a:gd name="T42" fmla="*/ 64 w 86"/>
                <a:gd name="T43" fmla="*/ 165 h 182"/>
                <a:gd name="T44" fmla="*/ 73 w 86"/>
                <a:gd name="T45" fmla="*/ 163 h 182"/>
                <a:gd name="T46" fmla="*/ 79 w 86"/>
                <a:gd name="T47" fmla="*/ 158 h 182"/>
                <a:gd name="T48" fmla="*/ 86 w 86"/>
                <a:gd name="T49" fmla="*/ 16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6" h="182">
                  <a:moveTo>
                    <a:pt x="86" y="162"/>
                  </a:moveTo>
                  <a:cubicBezTo>
                    <a:pt x="82" y="168"/>
                    <a:pt x="77" y="173"/>
                    <a:pt x="71" y="177"/>
                  </a:cubicBezTo>
                  <a:cubicBezTo>
                    <a:pt x="65" y="180"/>
                    <a:pt x="58" y="182"/>
                    <a:pt x="50" y="182"/>
                  </a:cubicBezTo>
                  <a:cubicBezTo>
                    <a:pt x="45" y="182"/>
                    <a:pt x="41" y="181"/>
                    <a:pt x="38" y="180"/>
                  </a:cubicBezTo>
                  <a:cubicBezTo>
                    <a:pt x="35" y="178"/>
                    <a:pt x="32" y="176"/>
                    <a:pt x="30" y="173"/>
                  </a:cubicBezTo>
                  <a:cubicBezTo>
                    <a:pt x="28" y="171"/>
                    <a:pt x="26" y="167"/>
                    <a:pt x="25" y="164"/>
                  </a:cubicBezTo>
                  <a:cubicBezTo>
                    <a:pt x="24" y="160"/>
                    <a:pt x="23" y="156"/>
                    <a:pt x="23" y="151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8" y="50"/>
                    <a:pt x="14" y="49"/>
                    <a:pt x="19" y="46"/>
                  </a:cubicBezTo>
                  <a:cubicBezTo>
                    <a:pt x="23" y="43"/>
                    <a:pt x="27" y="40"/>
                    <a:pt x="31" y="35"/>
                  </a:cubicBezTo>
                  <a:cubicBezTo>
                    <a:pt x="34" y="30"/>
                    <a:pt x="36" y="25"/>
                    <a:pt x="38" y="19"/>
                  </a:cubicBezTo>
                  <a:cubicBezTo>
                    <a:pt x="40" y="13"/>
                    <a:pt x="41" y="6"/>
                    <a:pt x="4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50" y="155"/>
                    <a:pt x="51" y="158"/>
                    <a:pt x="54" y="161"/>
                  </a:cubicBezTo>
                  <a:cubicBezTo>
                    <a:pt x="57" y="164"/>
                    <a:pt x="60" y="165"/>
                    <a:pt x="64" y="165"/>
                  </a:cubicBezTo>
                  <a:cubicBezTo>
                    <a:pt x="67" y="165"/>
                    <a:pt x="70" y="164"/>
                    <a:pt x="73" y="163"/>
                  </a:cubicBezTo>
                  <a:cubicBezTo>
                    <a:pt x="75" y="162"/>
                    <a:pt x="77" y="160"/>
                    <a:pt x="79" y="158"/>
                  </a:cubicBezTo>
                  <a:lnTo>
                    <a:pt x="86" y="162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9" name="Freeform 8"/>
            <p:cNvSpPr>
              <a:spLocks noEditPoints="1"/>
            </p:cNvSpPr>
            <p:nvPr/>
          </p:nvSpPr>
          <p:spPr bwMode="auto">
            <a:xfrm>
              <a:off x="850" y="-925"/>
              <a:ext cx="305" cy="330"/>
            </a:xfrm>
            <a:custGeom>
              <a:avLst/>
              <a:gdLst>
                <a:gd name="T0" fmla="*/ 66 w 129"/>
                <a:gd name="T1" fmla="*/ 139 h 139"/>
                <a:gd name="T2" fmla="*/ 40 w 129"/>
                <a:gd name="T3" fmla="*/ 134 h 139"/>
                <a:gd name="T4" fmla="*/ 20 w 129"/>
                <a:gd name="T5" fmla="*/ 120 h 139"/>
                <a:gd name="T6" fmla="*/ 6 w 129"/>
                <a:gd name="T7" fmla="*/ 100 h 139"/>
                <a:gd name="T8" fmla="*/ 0 w 129"/>
                <a:gd name="T9" fmla="*/ 74 h 139"/>
                <a:gd name="T10" fmla="*/ 5 w 129"/>
                <a:gd name="T11" fmla="*/ 44 h 139"/>
                <a:gd name="T12" fmla="*/ 18 w 129"/>
                <a:gd name="T13" fmla="*/ 21 h 139"/>
                <a:gd name="T14" fmla="*/ 39 w 129"/>
                <a:gd name="T15" fmla="*/ 5 h 139"/>
                <a:gd name="T16" fmla="*/ 66 w 129"/>
                <a:gd name="T17" fmla="*/ 0 h 139"/>
                <a:gd name="T18" fmla="*/ 90 w 129"/>
                <a:gd name="T19" fmla="*/ 4 h 139"/>
                <a:gd name="T20" fmla="*/ 109 w 129"/>
                <a:gd name="T21" fmla="*/ 17 h 139"/>
                <a:gd name="T22" fmla="*/ 121 w 129"/>
                <a:gd name="T23" fmla="*/ 35 h 139"/>
                <a:gd name="T24" fmla="*/ 126 w 129"/>
                <a:gd name="T25" fmla="*/ 56 h 139"/>
                <a:gd name="T26" fmla="*/ 26 w 129"/>
                <a:gd name="T27" fmla="*/ 56 h 139"/>
                <a:gd name="T28" fmla="*/ 29 w 129"/>
                <a:gd name="T29" fmla="*/ 81 h 139"/>
                <a:gd name="T30" fmla="*/ 39 w 129"/>
                <a:gd name="T31" fmla="*/ 101 h 139"/>
                <a:gd name="T32" fmla="*/ 54 w 129"/>
                <a:gd name="T33" fmla="*/ 114 h 139"/>
                <a:gd name="T34" fmla="*/ 73 w 129"/>
                <a:gd name="T35" fmla="*/ 119 h 139"/>
                <a:gd name="T36" fmla="*/ 90 w 129"/>
                <a:gd name="T37" fmla="*/ 116 h 139"/>
                <a:gd name="T38" fmla="*/ 104 w 129"/>
                <a:gd name="T39" fmla="*/ 108 h 139"/>
                <a:gd name="T40" fmla="*/ 115 w 129"/>
                <a:gd name="T41" fmla="*/ 98 h 139"/>
                <a:gd name="T42" fmla="*/ 122 w 129"/>
                <a:gd name="T43" fmla="*/ 86 h 139"/>
                <a:gd name="T44" fmla="*/ 129 w 129"/>
                <a:gd name="T45" fmla="*/ 89 h 139"/>
                <a:gd name="T46" fmla="*/ 120 w 129"/>
                <a:gd name="T47" fmla="*/ 109 h 139"/>
                <a:gd name="T48" fmla="*/ 105 w 129"/>
                <a:gd name="T49" fmla="*/ 124 h 139"/>
                <a:gd name="T50" fmla="*/ 86 w 129"/>
                <a:gd name="T51" fmla="*/ 135 h 139"/>
                <a:gd name="T52" fmla="*/ 66 w 129"/>
                <a:gd name="T53" fmla="*/ 139 h 139"/>
                <a:gd name="T54" fmla="*/ 92 w 129"/>
                <a:gd name="T55" fmla="*/ 45 h 139"/>
                <a:gd name="T56" fmla="*/ 90 w 129"/>
                <a:gd name="T57" fmla="*/ 31 h 139"/>
                <a:gd name="T58" fmla="*/ 82 w 129"/>
                <a:gd name="T59" fmla="*/ 20 h 139"/>
                <a:gd name="T60" fmla="*/ 71 w 129"/>
                <a:gd name="T61" fmla="*/ 12 h 139"/>
                <a:gd name="T62" fmla="*/ 58 w 129"/>
                <a:gd name="T63" fmla="*/ 10 h 139"/>
                <a:gd name="T64" fmla="*/ 46 w 129"/>
                <a:gd name="T65" fmla="*/ 12 h 139"/>
                <a:gd name="T66" fmla="*/ 37 w 129"/>
                <a:gd name="T67" fmla="*/ 20 h 139"/>
                <a:gd name="T68" fmla="*/ 30 w 129"/>
                <a:gd name="T69" fmla="*/ 31 h 139"/>
                <a:gd name="T70" fmla="*/ 26 w 129"/>
                <a:gd name="T71" fmla="*/ 45 h 139"/>
                <a:gd name="T72" fmla="*/ 92 w 129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139">
                  <a:moveTo>
                    <a:pt x="66" y="139"/>
                  </a:moveTo>
                  <a:cubicBezTo>
                    <a:pt x="57" y="139"/>
                    <a:pt x="48" y="137"/>
                    <a:pt x="40" y="134"/>
                  </a:cubicBezTo>
                  <a:cubicBezTo>
                    <a:pt x="33" y="131"/>
                    <a:pt x="26" y="126"/>
                    <a:pt x="20" y="120"/>
                  </a:cubicBezTo>
                  <a:cubicBezTo>
                    <a:pt x="14" y="114"/>
                    <a:pt x="9" y="107"/>
                    <a:pt x="6" y="100"/>
                  </a:cubicBezTo>
                  <a:cubicBezTo>
                    <a:pt x="2" y="92"/>
                    <a:pt x="0" y="83"/>
                    <a:pt x="0" y="74"/>
                  </a:cubicBezTo>
                  <a:cubicBezTo>
                    <a:pt x="0" y="64"/>
                    <a:pt x="2" y="54"/>
                    <a:pt x="5" y="44"/>
                  </a:cubicBezTo>
                  <a:cubicBezTo>
                    <a:pt x="8" y="35"/>
                    <a:pt x="13" y="27"/>
                    <a:pt x="18" y="21"/>
                  </a:cubicBezTo>
                  <a:cubicBezTo>
                    <a:pt x="24" y="14"/>
                    <a:pt x="31" y="9"/>
                    <a:pt x="39" y="5"/>
                  </a:cubicBezTo>
                  <a:cubicBezTo>
                    <a:pt x="47" y="1"/>
                    <a:pt x="56" y="0"/>
                    <a:pt x="66" y="0"/>
                  </a:cubicBezTo>
                  <a:cubicBezTo>
                    <a:pt x="75" y="0"/>
                    <a:pt x="83" y="1"/>
                    <a:pt x="90" y="4"/>
                  </a:cubicBezTo>
                  <a:cubicBezTo>
                    <a:pt x="98" y="7"/>
                    <a:pt x="104" y="11"/>
                    <a:pt x="109" y="17"/>
                  </a:cubicBezTo>
                  <a:cubicBezTo>
                    <a:pt x="114" y="22"/>
                    <a:pt x="118" y="28"/>
                    <a:pt x="121" y="35"/>
                  </a:cubicBezTo>
                  <a:cubicBezTo>
                    <a:pt x="124" y="41"/>
                    <a:pt x="126" y="49"/>
                    <a:pt x="1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65"/>
                    <a:pt x="27" y="73"/>
                    <a:pt x="29" y="81"/>
                  </a:cubicBezTo>
                  <a:cubicBezTo>
                    <a:pt x="32" y="89"/>
                    <a:pt x="35" y="95"/>
                    <a:pt x="39" y="101"/>
                  </a:cubicBezTo>
                  <a:cubicBezTo>
                    <a:pt x="43" y="106"/>
                    <a:pt x="48" y="111"/>
                    <a:pt x="54" y="114"/>
                  </a:cubicBezTo>
                  <a:cubicBezTo>
                    <a:pt x="60" y="117"/>
                    <a:pt x="66" y="119"/>
                    <a:pt x="73" y="119"/>
                  </a:cubicBezTo>
                  <a:cubicBezTo>
                    <a:pt x="79" y="119"/>
                    <a:pt x="84" y="118"/>
                    <a:pt x="90" y="116"/>
                  </a:cubicBezTo>
                  <a:cubicBezTo>
                    <a:pt x="95" y="114"/>
                    <a:pt x="100" y="112"/>
                    <a:pt x="104" y="108"/>
                  </a:cubicBezTo>
                  <a:cubicBezTo>
                    <a:pt x="109" y="105"/>
                    <a:pt x="112" y="102"/>
                    <a:pt x="115" y="98"/>
                  </a:cubicBezTo>
                  <a:cubicBezTo>
                    <a:pt x="118" y="94"/>
                    <a:pt x="120" y="90"/>
                    <a:pt x="122" y="86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7" y="96"/>
                    <a:pt x="124" y="103"/>
                    <a:pt x="120" y="109"/>
                  </a:cubicBezTo>
                  <a:cubicBezTo>
                    <a:pt x="116" y="115"/>
                    <a:pt x="111" y="120"/>
                    <a:pt x="105" y="124"/>
                  </a:cubicBezTo>
                  <a:cubicBezTo>
                    <a:pt x="99" y="129"/>
                    <a:pt x="93" y="132"/>
                    <a:pt x="86" y="135"/>
                  </a:cubicBezTo>
                  <a:cubicBezTo>
                    <a:pt x="80" y="138"/>
                    <a:pt x="73" y="139"/>
                    <a:pt x="66" y="139"/>
                  </a:cubicBezTo>
                  <a:moveTo>
                    <a:pt x="92" y="45"/>
                  </a:moveTo>
                  <a:cubicBezTo>
                    <a:pt x="92" y="40"/>
                    <a:pt x="92" y="36"/>
                    <a:pt x="90" y="31"/>
                  </a:cubicBezTo>
                  <a:cubicBezTo>
                    <a:pt x="88" y="27"/>
                    <a:pt x="85" y="23"/>
                    <a:pt x="82" y="20"/>
                  </a:cubicBezTo>
                  <a:cubicBezTo>
                    <a:pt x="79" y="17"/>
                    <a:pt x="76" y="14"/>
                    <a:pt x="71" y="12"/>
                  </a:cubicBezTo>
                  <a:cubicBezTo>
                    <a:pt x="67" y="10"/>
                    <a:pt x="63" y="10"/>
                    <a:pt x="58" y="10"/>
                  </a:cubicBezTo>
                  <a:cubicBezTo>
                    <a:pt x="54" y="10"/>
                    <a:pt x="50" y="10"/>
                    <a:pt x="46" y="12"/>
                  </a:cubicBezTo>
                  <a:cubicBezTo>
                    <a:pt x="43" y="14"/>
                    <a:pt x="39" y="17"/>
                    <a:pt x="37" y="20"/>
                  </a:cubicBezTo>
                  <a:cubicBezTo>
                    <a:pt x="34" y="23"/>
                    <a:pt x="31" y="27"/>
                    <a:pt x="30" y="31"/>
                  </a:cubicBezTo>
                  <a:cubicBezTo>
                    <a:pt x="28" y="36"/>
                    <a:pt x="26" y="40"/>
                    <a:pt x="26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auto">
            <a:xfrm>
              <a:off x="1214" y="-925"/>
              <a:ext cx="265" cy="323"/>
            </a:xfrm>
            <a:custGeom>
              <a:avLst/>
              <a:gdLst>
                <a:gd name="T0" fmla="*/ 0 w 112"/>
                <a:gd name="T1" fmla="*/ 2 h 136"/>
                <a:gd name="T2" fmla="*/ 27 w 112"/>
                <a:gd name="T3" fmla="*/ 2 h 136"/>
                <a:gd name="T4" fmla="*/ 27 w 112"/>
                <a:gd name="T5" fmla="*/ 27 h 136"/>
                <a:gd name="T6" fmla="*/ 52 w 112"/>
                <a:gd name="T7" fmla="*/ 6 h 136"/>
                <a:gd name="T8" fmla="*/ 78 w 112"/>
                <a:gd name="T9" fmla="*/ 0 h 136"/>
                <a:gd name="T10" fmla="*/ 92 w 112"/>
                <a:gd name="T11" fmla="*/ 3 h 136"/>
                <a:gd name="T12" fmla="*/ 102 w 112"/>
                <a:gd name="T13" fmla="*/ 12 h 136"/>
                <a:gd name="T14" fmla="*/ 109 w 112"/>
                <a:gd name="T15" fmla="*/ 24 h 136"/>
                <a:gd name="T16" fmla="*/ 112 w 112"/>
                <a:gd name="T17" fmla="*/ 40 h 136"/>
                <a:gd name="T18" fmla="*/ 112 w 112"/>
                <a:gd name="T19" fmla="*/ 136 h 136"/>
                <a:gd name="T20" fmla="*/ 85 w 112"/>
                <a:gd name="T21" fmla="*/ 136 h 136"/>
                <a:gd name="T22" fmla="*/ 85 w 112"/>
                <a:gd name="T23" fmla="*/ 45 h 136"/>
                <a:gd name="T24" fmla="*/ 80 w 112"/>
                <a:gd name="T25" fmla="*/ 24 h 136"/>
                <a:gd name="T26" fmla="*/ 64 w 112"/>
                <a:gd name="T27" fmla="*/ 18 h 136"/>
                <a:gd name="T28" fmla="*/ 55 w 112"/>
                <a:gd name="T29" fmla="*/ 19 h 136"/>
                <a:gd name="T30" fmla="*/ 46 w 112"/>
                <a:gd name="T31" fmla="*/ 23 h 136"/>
                <a:gd name="T32" fmla="*/ 36 w 112"/>
                <a:gd name="T33" fmla="*/ 29 h 136"/>
                <a:gd name="T34" fmla="*/ 27 w 112"/>
                <a:gd name="T35" fmla="*/ 37 h 136"/>
                <a:gd name="T36" fmla="*/ 27 w 112"/>
                <a:gd name="T37" fmla="*/ 136 h 136"/>
                <a:gd name="T38" fmla="*/ 0 w 112"/>
                <a:gd name="T39" fmla="*/ 136 h 136"/>
                <a:gd name="T40" fmla="*/ 0 w 112"/>
                <a:gd name="T41" fmla="*/ 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" h="136">
                  <a:moveTo>
                    <a:pt x="0" y="2"/>
                  </a:moveTo>
                  <a:cubicBezTo>
                    <a:pt x="27" y="2"/>
                    <a:pt x="27" y="2"/>
                    <a:pt x="27" y="2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5" y="18"/>
                    <a:pt x="43" y="11"/>
                    <a:pt x="52" y="6"/>
                  </a:cubicBezTo>
                  <a:cubicBezTo>
                    <a:pt x="60" y="2"/>
                    <a:pt x="69" y="0"/>
                    <a:pt x="78" y="0"/>
                  </a:cubicBezTo>
                  <a:cubicBezTo>
                    <a:pt x="83" y="0"/>
                    <a:pt x="87" y="1"/>
                    <a:pt x="92" y="3"/>
                  </a:cubicBezTo>
                  <a:cubicBezTo>
                    <a:pt x="96" y="5"/>
                    <a:pt x="99" y="8"/>
                    <a:pt x="102" y="12"/>
                  </a:cubicBezTo>
                  <a:cubicBezTo>
                    <a:pt x="105" y="15"/>
                    <a:pt x="108" y="19"/>
                    <a:pt x="109" y="24"/>
                  </a:cubicBezTo>
                  <a:cubicBezTo>
                    <a:pt x="111" y="29"/>
                    <a:pt x="112" y="35"/>
                    <a:pt x="112" y="40"/>
                  </a:cubicBezTo>
                  <a:cubicBezTo>
                    <a:pt x="112" y="136"/>
                    <a:pt x="112" y="136"/>
                    <a:pt x="112" y="136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36"/>
                    <a:pt x="83" y="29"/>
                    <a:pt x="80" y="24"/>
                  </a:cubicBezTo>
                  <a:cubicBezTo>
                    <a:pt x="76" y="20"/>
                    <a:pt x="70" y="18"/>
                    <a:pt x="64" y="18"/>
                  </a:cubicBezTo>
                  <a:cubicBezTo>
                    <a:pt x="61" y="18"/>
                    <a:pt x="58" y="18"/>
                    <a:pt x="55" y="19"/>
                  </a:cubicBezTo>
                  <a:cubicBezTo>
                    <a:pt x="52" y="20"/>
                    <a:pt x="49" y="21"/>
                    <a:pt x="46" y="23"/>
                  </a:cubicBezTo>
                  <a:cubicBezTo>
                    <a:pt x="42" y="25"/>
                    <a:pt x="39" y="27"/>
                    <a:pt x="36" y="29"/>
                  </a:cubicBezTo>
                  <a:cubicBezTo>
                    <a:pt x="33" y="31"/>
                    <a:pt x="30" y="34"/>
                    <a:pt x="27" y="37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0" y="136"/>
                    <a:pt x="0" y="136"/>
                    <a:pt x="0" y="136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auto">
            <a:xfrm>
              <a:off x="1536" y="-1082"/>
              <a:ext cx="303" cy="487"/>
            </a:xfrm>
            <a:custGeom>
              <a:avLst/>
              <a:gdLst>
                <a:gd name="T0" fmla="*/ 101 w 128"/>
                <a:gd name="T1" fmla="*/ 189 h 205"/>
                <a:gd name="T2" fmla="*/ 91 w 128"/>
                <a:gd name="T3" fmla="*/ 196 h 205"/>
                <a:gd name="T4" fmla="*/ 80 w 128"/>
                <a:gd name="T5" fmla="*/ 201 h 205"/>
                <a:gd name="T6" fmla="*/ 68 w 128"/>
                <a:gd name="T7" fmla="*/ 204 h 205"/>
                <a:gd name="T8" fmla="*/ 57 w 128"/>
                <a:gd name="T9" fmla="*/ 205 h 205"/>
                <a:gd name="T10" fmla="*/ 35 w 128"/>
                <a:gd name="T11" fmla="*/ 200 h 205"/>
                <a:gd name="T12" fmla="*/ 17 w 128"/>
                <a:gd name="T13" fmla="*/ 185 h 205"/>
                <a:gd name="T14" fmla="*/ 5 w 128"/>
                <a:gd name="T15" fmla="*/ 163 h 205"/>
                <a:gd name="T16" fmla="*/ 0 w 128"/>
                <a:gd name="T17" fmla="*/ 137 h 205"/>
                <a:gd name="T18" fmla="*/ 6 w 128"/>
                <a:gd name="T19" fmla="*/ 110 h 205"/>
                <a:gd name="T20" fmla="*/ 21 w 128"/>
                <a:gd name="T21" fmla="*/ 88 h 205"/>
                <a:gd name="T22" fmla="*/ 43 w 128"/>
                <a:gd name="T23" fmla="*/ 72 h 205"/>
                <a:gd name="T24" fmla="*/ 71 w 128"/>
                <a:gd name="T25" fmla="*/ 66 h 205"/>
                <a:gd name="T26" fmla="*/ 88 w 128"/>
                <a:gd name="T27" fmla="*/ 69 h 205"/>
                <a:gd name="T28" fmla="*/ 101 w 128"/>
                <a:gd name="T29" fmla="*/ 78 h 205"/>
                <a:gd name="T30" fmla="*/ 101 w 128"/>
                <a:gd name="T31" fmla="*/ 7 h 205"/>
                <a:gd name="T32" fmla="*/ 120 w 128"/>
                <a:gd name="T33" fmla="*/ 0 h 205"/>
                <a:gd name="T34" fmla="*/ 128 w 128"/>
                <a:gd name="T35" fmla="*/ 0 h 205"/>
                <a:gd name="T36" fmla="*/ 128 w 128"/>
                <a:gd name="T37" fmla="*/ 205 h 205"/>
                <a:gd name="T38" fmla="*/ 101 w 128"/>
                <a:gd name="T39" fmla="*/ 205 h 205"/>
                <a:gd name="T40" fmla="*/ 101 w 128"/>
                <a:gd name="T41" fmla="*/ 189 h 205"/>
                <a:gd name="T42" fmla="*/ 101 w 128"/>
                <a:gd name="T43" fmla="*/ 111 h 205"/>
                <a:gd name="T44" fmla="*/ 98 w 128"/>
                <a:gd name="T45" fmla="*/ 96 h 205"/>
                <a:gd name="T46" fmla="*/ 91 w 128"/>
                <a:gd name="T47" fmla="*/ 85 h 205"/>
                <a:gd name="T48" fmla="*/ 80 w 128"/>
                <a:gd name="T49" fmla="*/ 78 h 205"/>
                <a:gd name="T50" fmla="*/ 68 w 128"/>
                <a:gd name="T51" fmla="*/ 76 h 205"/>
                <a:gd name="T52" fmla="*/ 53 w 128"/>
                <a:gd name="T53" fmla="*/ 80 h 205"/>
                <a:gd name="T54" fmla="*/ 41 w 128"/>
                <a:gd name="T55" fmla="*/ 91 h 205"/>
                <a:gd name="T56" fmla="*/ 33 w 128"/>
                <a:gd name="T57" fmla="*/ 108 h 205"/>
                <a:gd name="T58" fmla="*/ 30 w 128"/>
                <a:gd name="T59" fmla="*/ 129 h 205"/>
                <a:gd name="T60" fmla="*/ 33 w 128"/>
                <a:gd name="T61" fmla="*/ 153 h 205"/>
                <a:gd name="T62" fmla="*/ 42 w 128"/>
                <a:gd name="T63" fmla="*/ 173 h 205"/>
                <a:gd name="T64" fmla="*/ 55 w 128"/>
                <a:gd name="T65" fmla="*/ 186 h 205"/>
                <a:gd name="T66" fmla="*/ 72 w 128"/>
                <a:gd name="T67" fmla="*/ 191 h 205"/>
                <a:gd name="T68" fmla="*/ 80 w 128"/>
                <a:gd name="T69" fmla="*/ 189 h 205"/>
                <a:gd name="T70" fmla="*/ 88 w 128"/>
                <a:gd name="T71" fmla="*/ 186 h 205"/>
                <a:gd name="T72" fmla="*/ 95 w 128"/>
                <a:gd name="T73" fmla="*/ 182 h 205"/>
                <a:gd name="T74" fmla="*/ 101 w 128"/>
                <a:gd name="T75" fmla="*/ 177 h 205"/>
                <a:gd name="T76" fmla="*/ 101 w 128"/>
                <a:gd name="T77" fmla="*/ 1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8" h="205">
                  <a:moveTo>
                    <a:pt x="101" y="189"/>
                  </a:moveTo>
                  <a:cubicBezTo>
                    <a:pt x="98" y="191"/>
                    <a:pt x="95" y="194"/>
                    <a:pt x="91" y="196"/>
                  </a:cubicBezTo>
                  <a:cubicBezTo>
                    <a:pt x="88" y="198"/>
                    <a:pt x="84" y="199"/>
                    <a:pt x="80" y="201"/>
                  </a:cubicBezTo>
                  <a:cubicBezTo>
                    <a:pt x="76" y="202"/>
                    <a:pt x="72" y="203"/>
                    <a:pt x="68" y="204"/>
                  </a:cubicBezTo>
                  <a:cubicBezTo>
                    <a:pt x="64" y="205"/>
                    <a:pt x="61" y="205"/>
                    <a:pt x="57" y="205"/>
                  </a:cubicBezTo>
                  <a:cubicBezTo>
                    <a:pt x="49" y="205"/>
                    <a:pt x="42" y="203"/>
                    <a:pt x="35" y="200"/>
                  </a:cubicBezTo>
                  <a:cubicBezTo>
                    <a:pt x="28" y="196"/>
                    <a:pt x="22" y="191"/>
                    <a:pt x="17" y="185"/>
                  </a:cubicBezTo>
                  <a:cubicBezTo>
                    <a:pt x="12" y="179"/>
                    <a:pt x="8" y="171"/>
                    <a:pt x="5" y="163"/>
                  </a:cubicBezTo>
                  <a:cubicBezTo>
                    <a:pt x="2" y="155"/>
                    <a:pt x="0" y="146"/>
                    <a:pt x="0" y="137"/>
                  </a:cubicBezTo>
                  <a:cubicBezTo>
                    <a:pt x="0" y="128"/>
                    <a:pt x="2" y="119"/>
                    <a:pt x="6" y="110"/>
                  </a:cubicBezTo>
                  <a:cubicBezTo>
                    <a:pt x="10" y="102"/>
                    <a:pt x="15" y="94"/>
                    <a:pt x="21" y="88"/>
                  </a:cubicBezTo>
                  <a:cubicBezTo>
                    <a:pt x="27" y="81"/>
                    <a:pt x="35" y="76"/>
                    <a:pt x="43" y="72"/>
                  </a:cubicBezTo>
                  <a:cubicBezTo>
                    <a:pt x="52" y="68"/>
                    <a:pt x="61" y="66"/>
                    <a:pt x="71" y="66"/>
                  </a:cubicBezTo>
                  <a:cubicBezTo>
                    <a:pt x="77" y="66"/>
                    <a:pt x="83" y="67"/>
                    <a:pt x="88" y="69"/>
                  </a:cubicBezTo>
                  <a:cubicBezTo>
                    <a:pt x="93" y="71"/>
                    <a:pt x="97" y="74"/>
                    <a:pt x="101" y="7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8" y="205"/>
                    <a:pt x="128" y="205"/>
                    <a:pt x="128" y="205"/>
                  </a:cubicBezTo>
                  <a:cubicBezTo>
                    <a:pt x="101" y="205"/>
                    <a:pt x="101" y="205"/>
                    <a:pt x="101" y="205"/>
                  </a:cubicBezTo>
                  <a:lnTo>
                    <a:pt x="101" y="189"/>
                  </a:lnTo>
                  <a:close/>
                  <a:moveTo>
                    <a:pt x="101" y="111"/>
                  </a:moveTo>
                  <a:cubicBezTo>
                    <a:pt x="101" y="106"/>
                    <a:pt x="100" y="101"/>
                    <a:pt x="98" y="96"/>
                  </a:cubicBezTo>
                  <a:cubicBezTo>
                    <a:pt x="96" y="92"/>
                    <a:pt x="94" y="88"/>
                    <a:pt x="91" y="85"/>
                  </a:cubicBezTo>
                  <a:cubicBezTo>
                    <a:pt x="87" y="82"/>
                    <a:pt x="84" y="80"/>
                    <a:pt x="80" y="78"/>
                  </a:cubicBezTo>
                  <a:cubicBezTo>
                    <a:pt x="76" y="76"/>
                    <a:pt x="72" y="76"/>
                    <a:pt x="68" y="76"/>
                  </a:cubicBezTo>
                  <a:cubicBezTo>
                    <a:pt x="63" y="76"/>
                    <a:pt x="58" y="77"/>
                    <a:pt x="53" y="80"/>
                  </a:cubicBezTo>
                  <a:cubicBezTo>
                    <a:pt x="48" y="82"/>
                    <a:pt x="44" y="86"/>
                    <a:pt x="41" y="91"/>
                  </a:cubicBezTo>
                  <a:cubicBezTo>
                    <a:pt x="37" y="95"/>
                    <a:pt x="35" y="101"/>
                    <a:pt x="33" y="108"/>
                  </a:cubicBezTo>
                  <a:cubicBezTo>
                    <a:pt x="31" y="114"/>
                    <a:pt x="30" y="122"/>
                    <a:pt x="30" y="129"/>
                  </a:cubicBezTo>
                  <a:cubicBezTo>
                    <a:pt x="30" y="138"/>
                    <a:pt x="31" y="146"/>
                    <a:pt x="33" y="153"/>
                  </a:cubicBezTo>
                  <a:cubicBezTo>
                    <a:pt x="35" y="161"/>
                    <a:pt x="38" y="167"/>
                    <a:pt x="42" y="173"/>
                  </a:cubicBezTo>
                  <a:cubicBezTo>
                    <a:pt x="46" y="178"/>
                    <a:pt x="50" y="183"/>
                    <a:pt x="55" y="186"/>
                  </a:cubicBezTo>
                  <a:cubicBezTo>
                    <a:pt x="61" y="189"/>
                    <a:pt x="66" y="191"/>
                    <a:pt x="72" y="191"/>
                  </a:cubicBezTo>
                  <a:cubicBezTo>
                    <a:pt x="75" y="191"/>
                    <a:pt x="77" y="190"/>
                    <a:pt x="80" y="189"/>
                  </a:cubicBezTo>
                  <a:cubicBezTo>
                    <a:pt x="83" y="189"/>
                    <a:pt x="86" y="188"/>
                    <a:pt x="88" y="186"/>
                  </a:cubicBezTo>
                  <a:cubicBezTo>
                    <a:pt x="91" y="185"/>
                    <a:pt x="93" y="184"/>
                    <a:pt x="95" y="182"/>
                  </a:cubicBezTo>
                  <a:cubicBezTo>
                    <a:pt x="98" y="180"/>
                    <a:pt x="99" y="179"/>
                    <a:pt x="101" y="177"/>
                  </a:cubicBezTo>
                  <a:lnTo>
                    <a:pt x="101" y="111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2" name="Freeform 11"/>
            <p:cNvSpPr>
              <a:spLocks noEditPoints="1"/>
            </p:cNvSpPr>
            <p:nvPr/>
          </p:nvSpPr>
          <p:spPr bwMode="auto">
            <a:xfrm>
              <a:off x="1898" y="-925"/>
              <a:ext cx="303" cy="330"/>
            </a:xfrm>
            <a:custGeom>
              <a:avLst/>
              <a:gdLst>
                <a:gd name="T0" fmla="*/ 65 w 128"/>
                <a:gd name="T1" fmla="*/ 139 h 139"/>
                <a:gd name="T2" fmla="*/ 40 w 128"/>
                <a:gd name="T3" fmla="*/ 134 h 139"/>
                <a:gd name="T4" fmla="*/ 19 w 128"/>
                <a:gd name="T5" fmla="*/ 120 h 139"/>
                <a:gd name="T6" fmla="*/ 5 w 128"/>
                <a:gd name="T7" fmla="*/ 100 h 139"/>
                <a:gd name="T8" fmla="*/ 0 w 128"/>
                <a:gd name="T9" fmla="*/ 74 h 139"/>
                <a:gd name="T10" fmla="*/ 4 w 128"/>
                <a:gd name="T11" fmla="*/ 44 h 139"/>
                <a:gd name="T12" fmla="*/ 18 w 128"/>
                <a:gd name="T13" fmla="*/ 21 h 139"/>
                <a:gd name="T14" fmla="*/ 38 w 128"/>
                <a:gd name="T15" fmla="*/ 5 h 139"/>
                <a:gd name="T16" fmla="*/ 65 w 128"/>
                <a:gd name="T17" fmla="*/ 0 h 139"/>
                <a:gd name="T18" fmla="*/ 89 w 128"/>
                <a:gd name="T19" fmla="*/ 4 h 139"/>
                <a:gd name="T20" fmla="*/ 108 w 128"/>
                <a:gd name="T21" fmla="*/ 17 h 139"/>
                <a:gd name="T22" fmla="*/ 120 w 128"/>
                <a:gd name="T23" fmla="*/ 35 h 139"/>
                <a:gd name="T24" fmla="*/ 125 w 128"/>
                <a:gd name="T25" fmla="*/ 56 h 139"/>
                <a:gd name="T26" fmla="*/ 25 w 128"/>
                <a:gd name="T27" fmla="*/ 56 h 139"/>
                <a:gd name="T28" fmla="*/ 28 w 128"/>
                <a:gd name="T29" fmla="*/ 81 h 139"/>
                <a:gd name="T30" fmla="*/ 38 w 128"/>
                <a:gd name="T31" fmla="*/ 101 h 139"/>
                <a:gd name="T32" fmla="*/ 53 w 128"/>
                <a:gd name="T33" fmla="*/ 114 h 139"/>
                <a:gd name="T34" fmla="*/ 72 w 128"/>
                <a:gd name="T35" fmla="*/ 119 h 139"/>
                <a:gd name="T36" fmla="*/ 89 w 128"/>
                <a:gd name="T37" fmla="*/ 116 h 139"/>
                <a:gd name="T38" fmla="*/ 103 w 128"/>
                <a:gd name="T39" fmla="*/ 108 h 139"/>
                <a:gd name="T40" fmla="*/ 114 w 128"/>
                <a:gd name="T41" fmla="*/ 98 h 139"/>
                <a:gd name="T42" fmla="*/ 121 w 128"/>
                <a:gd name="T43" fmla="*/ 86 h 139"/>
                <a:gd name="T44" fmla="*/ 128 w 128"/>
                <a:gd name="T45" fmla="*/ 89 h 139"/>
                <a:gd name="T46" fmla="*/ 119 w 128"/>
                <a:gd name="T47" fmla="*/ 109 h 139"/>
                <a:gd name="T48" fmla="*/ 104 w 128"/>
                <a:gd name="T49" fmla="*/ 124 h 139"/>
                <a:gd name="T50" fmla="*/ 86 w 128"/>
                <a:gd name="T51" fmla="*/ 135 h 139"/>
                <a:gd name="T52" fmla="*/ 65 w 128"/>
                <a:gd name="T53" fmla="*/ 139 h 139"/>
                <a:gd name="T54" fmla="*/ 92 w 128"/>
                <a:gd name="T55" fmla="*/ 45 h 139"/>
                <a:gd name="T56" fmla="*/ 89 w 128"/>
                <a:gd name="T57" fmla="*/ 31 h 139"/>
                <a:gd name="T58" fmla="*/ 81 w 128"/>
                <a:gd name="T59" fmla="*/ 20 h 139"/>
                <a:gd name="T60" fmla="*/ 70 w 128"/>
                <a:gd name="T61" fmla="*/ 12 h 139"/>
                <a:gd name="T62" fmla="*/ 57 w 128"/>
                <a:gd name="T63" fmla="*/ 10 h 139"/>
                <a:gd name="T64" fmla="*/ 45 w 128"/>
                <a:gd name="T65" fmla="*/ 12 h 139"/>
                <a:gd name="T66" fmla="*/ 36 w 128"/>
                <a:gd name="T67" fmla="*/ 20 h 139"/>
                <a:gd name="T68" fmla="*/ 29 w 128"/>
                <a:gd name="T69" fmla="*/ 31 h 139"/>
                <a:gd name="T70" fmla="*/ 25 w 128"/>
                <a:gd name="T71" fmla="*/ 45 h 139"/>
                <a:gd name="T72" fmla="*/ 92 w 128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8" h="139">
                  <a:moveTo>
                    <a:pt x="65" y="139"/>
                  </a:moveTo>
                  <a:cubicBezTo>
                    <a:pt x="56" y="139"/>
                    <a:pt x="47" y="137"/>
                    <a:pt x="40" y="134"/>
                  </a:cubicBezTo>
                  <a:cubicBezTo>
                    <a:pt x="32" y="131"/>
                    <a:pt x="25" y="126"/>
                    <a:pt x="19" y="120"/>
                  </a:cubicBezTo>
                  <a:cubicBezTo>
                    <a:pt x="13" y="114"/>
                    <a:pt x="8" y="107"/>
                    <a:pt x="5" y="100"/>
                  </a:cubicBezTo>
                  <a:cubicBezTo>
                    <a:pt x="1" y="92"/>
                    <a:pt x="0" y="83"/>
                    <a:pt x="0" y="74"/>
                  </a:cubicBezTo>
                  <a:cubicBezTo>
                    <a:pt x="0" y="64"/>
                    <a:pt x="1" y="54"/>
                    <a:pt x="4" y="44"/>
                  </a:cubicBezTo>
                  <a:cubicBezTo>
                    <a:pt x="7" y="35"/>
                    <a:pt x="12" y="27"/>
                    <a:pt x="18" y="21"/>
                  </a:cubicBezTo>
                  <a:cubicBezTo>
                    <a:pt x="23" y="14"/>
                    <a:pt x="30" y="9"/>
                    <a:pt x="38" y="5"/>
                  </a:cubicBezTo>
                  <a:cubicBezTo>
                    <a:pt x="46" y="1"/>
                    <a:pt x="55" y="0"/>
                    <a:pt x="65" y="0"/>
                  </a:cubicBezTo>
                  <a:cubicBezTo>
                    <a:pt x="74" y="0"/>
                    <a:pt x="82" y="1"/>
                    <a:pt x="89" y="4"/>
                  </a:cubicBezTo>
                  <a:cubicBezTo>
                    <a:pt x="97" y="7"/>
                    <a:pt x="103" y="11"/>
                    <a:pt x="108" y="17"/>
                  </a:cubicBezTo>
                  <a:cubicBezTo>
                    <a:pt x="113" y="22"/>
                    <a:pt x="117" y="28"/>
                    <a:pt x="120" y="35"/>
                  </a:cubicBezTo>
                  <a:cubicBezTo>
                    <a:pt x="123" y="41"/>
                    <a:pt x="125" y="49"/>
                    <a:pt x="1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65"/>
                    <a:pt x="26" y="73"/>
                    <a:pt x="28" y="81"/>
                  </a:cubicBezTo>
                  <a:cubicBezTo>
                    <a:pt x="31" y="89"/>
                    <a:pt x="34" y="95"/>
                    <a:pt x="38" y="101"/>
                  </a:cubicBezTo>
                  <a:cubicBezTo>
                    <a:pt x="42" y="106"/>
                    <a:pt x="47" y="111"/>
                    <a:pt x="53" y="114"/>
                  </a:cubicBezTo>
                  <a:cubicBezTo>
                    <a:pt x="59" y="117"/>
                    <a:pt x="65" y="119"/>
                    <a:pt x="72" y="119"/>
                  </a:cubicBezTo>
                  <a:cubicBezTo>
                    <a:pt x="78" y="119"/>
                    <a:pt x="83" y="118"/>
                    <a:pt x="89" y="116"/>
                  </a:cubicBezTo>
                  <a:cubicBezTo>
                    <a:pt x="94" y="114"/>
                    <a:pt x="99" y="112"/>
                    <a:pt x="103" y="108"/>
                  </a:cubicBezTo>
                  <a:cubicBezTo>
                    <a:pt x="108" y="105"/>
                    <a:pt x="111" y="102"/>
                    <a:pt x="114" y="98"/>
                  </a:cubicBezTo>
                  <a:cubicBezTo>
                    <a:pt x="117" y="94"/>
                    <a:pt x="120" y="90"/>
                    <a:pt x="121" y="86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6" y="96"/>
                    <a:pt x="123" y="103"/>
                    <a:pt x="119" y="109"/>
                  </a:cubicBezTo>
                  <a:cubicBezTo>
                    <a:pt x="115" y="115"/>
                    <a:pt x="110" y="120"/>
                    <a:pt x="104" y="124"/>
                  </a:cubicBezTo>
                  <a:cubicBezTo>
                    <a:pt x="98" y="129"/>
                    <a:pt x="92" y="132"/>
                    <a:pt x="86" y="135"/>
                  </a:cubicBezTo>
                  <a:cubicBezTo>
                    <a:pt x="79" y="138"/>
                    <a:pt x="72" y="139"/>
                    <a:pt x="65" y="139"/>
                  </a:cubicBezTo>
                  <a:moveTo>
                    <a:pt x="92" y="45"/>
                  </a:moveTo>
                  <a:cubicBezTo>
                    <a:pt x="92" y="40"/>
                    <a:pt x="91" y="36"/>
                    <a:pt x="89" y="31"/>
                  </a:cubicBezTo>
                  <a:cubicBezTo>
                    <a:pt x="87" y="27"/>
                    <a:pt x="85" y="23"/>
                    <a:pt x="81" y="20"/>
                  </a:cubicBezTo>
                  <a:cubicBezTo>
                    <a:pt x="78" y="17"/>
                    <a:pt x="75" y="14"/>
                    <a:pt x="70" y="12"/>
                  </a:cubicBezTo>
                  <a:cubicBezTo>
                    <a:pt x="66" y="10"/>
                    <a:pt x="62" y="10"/>
                    <a:pt x="57" y="10"/>
                  </a:cubicBezTo>
                  <a:cubicBezTo>
                    <a:pt x="53" y="10"/>
                    <a:pt x="49" y="10"/>
                    <a:pt x="45" y="12"/>
                  </a:cubicBezTo>
                  <a:cubicBezTo>
                    <a:pt x="42" y="14"/>
                    <a:pt x="39" y="17"/>
                    <a:pt x="36" y="20"/>
                  </a:cubicBezTo>
                  <a:cubicBezTo>
                    <a:pt x="33" y="23"/>
                    <a:pt x="31" y="27"/>
                    <a:pt x="29" y="31"/>
                  </a:cubicBezTo>
                  <a:cubicBezTo>
                    <a:pt x="27" y="36"/>
                    <a:pt x="26" y="40"/>
                    <a:pt x="25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3" name="Freeform 12"/>
            <p:cNvSpPr>
              <a:spLocks noEditPoints="1"/>
            </p:cNvSpPr>
            <p:nvPr/>
          </p:nvSpPr>
          <p:spPr bwMode="auto">
            <a:xfrm>
              <a:off x="2246" y="-1082"/>
              <a:ext cx="301" cy="487"/>
            </a:xfrm>
            <a:custGeom>
              <a:avLst/>
              <a:gdLst>
                <a:gd name="T0" fmla="*/ 101 w 127"/>
                <a:gd name="T1" fmla="*/ 189 h 205"/>
                <a:gd name="T2" fmla="*/ 91 w 127"/>
                <a:gd name="T3" fmla="*/ 196 h 205"/>
                <a:gd name="T4" fmla="*/ 80 w 127"/>
                <a:gd name="T5" fmla="*/ 201 h 205"/>
                <a:gd name="T6" fmla="*/ 68 w 127"/>
                <a:gd name="T7" fmla="*/ 204 h 205"/>
                <a:gd name="T8" fmla="*/ 57 w 127"/>
                <a:gd name="T9" fmla="*/ 205 h 205"/>
                <a:gd name="T10" fmla="*/ 34 w 127"/>
                <a:gd name="T11" fmla="*/ 200 h 205"/>
                <a:gd name="T12" fmla="*/ 16 w 127"/>
                <a:gd name="T13" fmla="*/ 185 h 205"/>
                <a:gd name="T14" fmla="*/ 4 w 127"/>
                <a:gd name="T15" fmla="*/ 163 h 205"/>
                <a:gd name="T16" fmla="*/ 0 w 127"/>
                <a:gd name="T17" fmla="*/ 137 h 205"/>
                <a:gd name="T18" fmla="*/ 6 w 127"/>
                <a:gd name="T19" fmla="*/ 110 h 205"/>
                <a:gd name="T20" fmla="*/ 21 w 127"/>
                <a:gd name="T21" fmla="*/ 88 h 205"/>
                <a:gd name="T22" fmla="*/ 43 w 127"/>
                <a:gd name="T23" fmla="*/ 72 h 205"/>
                <a:gd name="T24" fmla="*/ 70 w 127"/>
                <a:gd name="T25" fmla="*/ 66 h 205"/>
                <a:gd name="T26" fmla="*/ 87 w 127"/>
                <a:gd name="T27" fmla="*/ 69 h 205"/>
                <a:gd name="T28" fmla="*/ 101 w 127"/>
                <a:gd name="T29" fmla="*/ 78 h 205"/>
                <a:gd name="T30" fmla="*/ 101 w 127"/>
                <a:gd name="T31" fmla="*/ 7 h 205"/>
                <a:gd name="T32" fmla="*/ 119 w 127"/>
                <a:gd name="T33" fmla="*/ 0 h 205"/>
                <a:gd name="T34" fmla="*/ 127 w 127"/>
                <a:gd name="T35" fmla="*/ 0 h 205"/>
                <a:gd name="T36" fmla="*/ 127 w 127"/>
                <a:gd name="T37" fmla="*/ 205 h 205"/>
                <a:gd name="T38" fmla="*/ 101 w 127"/>
                <a:gd name="T39" fmla="*/ 205 h 205"/>
                <a:gd name="T40" fmla="*/ 101 w 127"/>
                <a:gd name="T41" fmla="*/ 189 h 205"/>
                <a:gd name="T42" fmla="*/ 101 w 127"/>
                <a:gd name="T43" fmla="*/ 111 h 205"/>
                <a:gd name="T44" fmla="*/ 98 w 127"/>
                <a:gd name="T45" fmla="*/ 96 h 205"/>
                <a:gd name="T46" fmla="*/ 90 w 127"/>
                <a:gd name="T47" fmla="*/ 85 h 205"/>
                <a:gd name="T48" fmla="*/ 79 w 127"/>
                <a:gd name="T49" fmla="*/ 78 h 205"/>
                <a:gd name="T50" fmla="*/ 67 w 127"/>
                <a:gd name="T51" fmla="*/ 76 h 205"/>
                <a:gd name="T52" fmla="*/ 53 w 127"/>
                <a:gd name="T53" fmla="*/ 80 h 205"/>
                <a:gd name="T54" fmla="*/ 40 w 127"/>
                <a:gd name="T55" fmla="*/ 91 h 205"/>
                <a:gd name="T56" fmla="*/ 32 w 127"/>
                <a:gd name="T57" fmla="*/ 108 h 205"/>
                <a:gd name="T58" fmla="*/ 29 w 127"/>
                <a:gd name="T59" fmla="*/ 129 h 205"/>
                <a:gd name="T60" fmla="*/ 33 w 127"/>
                <a:gd name="T61" fmla="*/ 153 h 205"/>
                <a:gd name="T62" fmla="*/ 42 w 127"/>
                <a:gd name="T63" fmla="*/ 173 h 205"/>
                <a:gd name="T64" fmla="*/ 55 w 127"/>
                <a:gd name="T65" fmla="*/ 186 h 205"/>
                <a:gd name="T66" fmla="*/ 71 w 127"/>
                <a:gd name="T67" fmla="*/ 191 h 205"/>
                <a:gd name="T68" fmla="*/ 80 w 127"/>
                <a:gd name="T69" fmla="*/ 189 h 205"/>
                <a:gd name="T70" fmla="*/ 88 w 127"/>
                <a:gd name="T71" fmla="*/ 186 h 205"/>
                <a:gd name="T72" fmla="*/ 95 w 127"/>
                <a:gd name="T73" fmla="*/ 182 h 205"/>
                <a:gd name="T74" fmla="*/ 101 w 127"/>
                <a:gd name="T75" fmla="*/ 177 h 205"/>
                <a:gd name="T76" fmla="*/ 101 w 127"/>
                <a:gd name="T77" fmla="*/ 1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7" h="205">
                  <a:moveTo>
                    <a:pt x="101" y="189"/>
                  </a:moveTo>
                  <a:cubicBezTo>
                    <a:pt x="98" y="191"/>
                    <a:pt x="94" y="194"/>
                    <a:pt x="91" y="196"/>
                  </a:cubicBezTo>
                  <a:cubicBezTo>
                    <a:pt x="87" y="198"/>
                    <a:pt x="83" y="199"/>
                    <a:pt x="80" y="201"/>
                  </a:cubicBezTo>
                  <a:cubicBezTo>
                    <a:pt x="76" y="202"/>
                    <a:pt x="72" y="203"/>
                    <a:pt x="68" y="204"/>
                  </a:cubicBezTo>
                  <a:cubicBezTo>
                    <a:pt x="64" y="205"/>
                    <a:pt x="60" y="205"/>
                    <a:pt x="57" y="205"/>
                  </a:cubicBezTo>
                  <a:cubicBezTo>
                    <a:pt x="49" y="205"/>
                    <a:pt x="41" y="203"/>
                    <a:pt x="34" y="200"/>
                  </a:cubicBezTo>
                  <a:cubicBezTo>
                    <a:pt x="28" y="196"/>
                    <a:pt x="22" y="191"/>
                    <a:pt x="16" y="185"/>
                  </a:cubicBezTo>
                  <a:cubicBezTo>
                    <a:pt x="11" y="179"/>
                    <a:pt x="7" y="171"/>
                    <a:pt x="4" y="163"/>
                  </a:cubicBezTo>
                  <a:cubicBezTo>
                    <a:pt x="1" y="155"/>
                    <a:pt x="0" y="146"/>
                    <a:pt x="0" y="137"/>
                  </a:cubicBezTo>
                  <a:cubicBezTo>
                    <a:pt x="0" y="128"/>
                    <a:pt x="2" y="119"/>
                    <a:pt x="6" y="110"/>
                  </a:cubicBezTo>
                  <a:cubicBezTo>
                    <a:pt x="9" y="102"/>
                    <a:pt x="14" y="94"/>
                    <a:pt x="21" y="88"/>
                  </a:cubicBezTo>
                  <a:cubicBezTo>
                    <a:pt x="27" y="81"/>
                    <a:pt x="34" y="76"/>
                    <a:pt x="43" y="72"/>
                  </a:cubicBezTo>
                  <a:cubicBezTo>
                    <a:pt x="51" y="68"/>
                    <a:pt x="60" y="66"/>
                    <a:pt x="70" y="66"/>
                  </a:cubicBezTo>
                  <a:cubicBezTo>
                    <a:pt x="77" y="66"/>
                    <a:pt x="82" y="67"/>
                    <a:pt x="87" y="69"/>
                  </a:cubicBezTo>
                  <a:cubicBezTo>
                    <a:pt x="92" y="71"/>
                    <a:pt x="97" y="74"/>
                    <a:pt x="101" y="7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7" y="205"/>
                    <a:pt x="127" y="205"/>
                    <a:pt x="127" y="205"/>
                  </a:cubicBezTo>
                  <a:cubicBezTo>
                    <a:pt x="101" y="205"/>
                    <a:pt x="101" y="205"/>
                    <a:pt x="101" y="205"/>
                  </a:cubicBezTo>
                  <a:lnTo>
                    <a:pt x="101" y="189"/>
                  </a:lnTo>
                  <a:close/>
                  <a:moveTo>
                    <a:pt x="101" y="111"/>
                  </a:moveTo>
                  <a:cubicBezTo>
                    <a:pt x="101" y="106"/>
                    <a:pt x="100" y="101"/>
                    <a:pt x="98" y="96"/>
                  </a:cubicBezTo>
                  <a:cubicBezTo>
                    <a:pt x="96" y="92"/>
                    <a:pt x="93" y="88"/>
                    <a:pt x="90" y="85"/>
                  </a:cubicBezTo>
                  <a:cubicBezTo>
                    <a:pt x="87" y="82"/>
                    <a:pt x="83" y="80"/>
                    <a:pt x="79" y="78"/>
                  </a:cubicBezTo>
                  <a:cubicBezTo>
                    <a:pt x="76" y="76"/>
                    <a:pt x="71" y="76"/>
                    <a:pt x="67" y="76"/>
                  </a:cubicBezTo>
                  <a:cubicBezTo>
                    <a:pt x="62" y="76"/>
                    <a:pt x="57" y="77"/>
                    <a:pt x="53" y="80"/>
                  </a:cubicBezTo>
                  <a:cubicBezTo>
                    <a:pt x="48" y="82"/>
                    <a:pt x="44" y="86"/>
                    <a:pt x="40" y="91"/>
                  </a:cubicBezTo>
                  <a:cubicBezTo>
                    <a:pt x="37" y="95"/>
                    <a:pt x="34" y="101"/>
                    <a:pt x="32" y="108"/>
                  </a:cubicBezTo>
                  <a:cubicBezTo>
                    <a:pt x="30" y="114"/>
                    <a:pt x="29" y="122"/>
                    <a:pt x="29" y="129"/>
                  </a:cubicBezTo>
                  <a:cubicBezTo>
                    <a:pt x="29" y="138"/>
                    <a:pt x="30" y="146"/>
                    <a:pt x="33" y="153"/>
                  </a:cubicBezTo>
                  <a:cubicBezTo>
                    <a:pt x="35" y="161"/>
                    <a:pt x="38" y="167"/>
                    <a:pt x="42" y="173"/>
                  </a:cubicBezTo>
                  <a:cubicBezTo>
                    <a:pt x="45" y="178"/>
                    <a:pt x="50" y="183"/>
                    <a:pt x="55" y="186"/>
                  </a:cubicBezTo>
                  <a:cubicBezTo>
                    <a:pt x="60" y="189"/>
                    <a:pt x="66" y="191"/>
                    <a:pt x="71" y="191"/>
                  </a:cubicBezTo>
                  <a:cubicBezTo>
                    <a:pt x="74" y="191"/>
                    <a:pt x="77" y="190"/>
                    <a:pt x="80" y="189"/>
                  </a:cubicBezTo>
                  <a:cubicBezTo>
                    <a:pt x="83" y="189"/>
                    <a:pt x="85" y="188"/>
                    <a:pt x="88" y="186"/>
                  </a:cubicBezTo>
                  <a:cubicBezTo>
                    <a:pt x="90" y="185"/>
                    <a:pt x="93" y="184"/>
                    <a:pt x="95" y="182"/>
                  </a:cubicBezTo>
                  <a:cubicBezTo>
                    <a:pt x="97" y="180"/>
                    <a:pt x="99" y="179"/>
                    <a:pt x="101" y="177"/>
                  </a:cubicBezTo>
                  <a:lnTo>
                    <a:pt x="101" y="111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auto">
            <a:xfrm>
              <a:off x="-17" y="-469"/>
              <a:ext cx="202" cy="433"/>
            </a:xfrm>
            <a:custGeom>
              <a:avLst/>
              <a:gdLst>
                <a:gd name="T0" fmla="*/ 85 w 85"/>
                <a:gd name="T1" fmla="*/ 163 h 182"/>
                <a:gd name="T2" fmla="*/ 71 w 85"/>
                <a:gd name="T3" fmla="*/ 177 h 182"/>
                <a:gd name="T4" fmla="*/ 50 w 85"/>
                <a:gd name="T5" fmla="*/ 182 h 182"/>
                <a:gd name="T6" fmla="*/ 38 w 85"/>
                <a:gd name="T7" fmla="*/ 180 h 182"/>
                <a:gd name="T8" fmla="*/ 30 w 85"/>
                <a:gd name="T9" fmla="*/ 174 h 182"/>
                <a:gd name="T10" fmla="*/ 25 w 85"/>
                <a:gd name="T11" fmla="*/ 164 h 182"/>
                <a:gd name="T12" fmla="*/ 23 w 85"/>
                <a:gd name="T13" fmla="*/ 151 h 182"/>
                <a:gd name="T14" fmla="*/ 23 w 85"/>
                <a:gd name="T15" fmla="*/ 57 h 182"/>
                <a:gd name="T16" fmla="*/ 0 w 85"/>
                <a:gd name="T17" fmla="*/ 57 h 182"/>
                <a:gd name="T18" fmla="*/ 0 w 85"/>
                <a:gd name="T19" fmla="*/ 51 h 182"/>
                <a:gd name="T20" fmla="*/ 19 w 85"/>
                <a:gd name="T21" fmla="*/ 46 h 182"/>
                <a:gd name="T22" fmla="*/ 30 w 85"/>
                <a:gd name="T23" fmla="*/ 36 h 182"/>
                <a:gd name="T24" fmla="*/ 38 w 85"/>
                <a:gd name="T25" fmla="*/ 19 h 182"/>
                <a:gd name="T26" fmla="*/ 42 w 85"/>
                <a:gd name="T27" fmla="*/ 0 h 182"/>
                <a:gd name="T28" fmla="*/ 50 w 85"/>
                <a:gd name="T29" fmla="*/ 0 h 182"/>
                <a:gd name="T30" fmla="*/ 50 w 85"/>
                <a:gd name="T31" fmla="*/ 46 h 182"/>
                <a:gd name="T32" fmla="*/ 80 w 85"/>
                <a:gd name="T33" fmla="*/ 46 h 182"/>
                <a:gd name="T34" fmla="*/ 80 w 85"/>
                <a:gd name="T35" fmla="*/ 57 h 182"/>
                <a:gd name="T36" fmla="*/ 50 w 85"/>
                <a:gd name="T37" fmla="*/ 57 h 182"/>
                <a:gd name="T38" fmla="*/ 50 w 85"/>
                <a:gd name="T39" fmla="*/ 151 h 182"/>
                <a:gd name="T40" fmla="*/ 54 w 85"/>
                <a:gd name="T41" fmla="*/ 161 h 182"/>
                <a:gd name="T42" fmla="*/ 64 w 85"/>
                <a:gd name="T43" fmla="*/ 166 h 182"/>
                <a:gd name="T44" fmla="*/ 73 w 85"/>
                <a:gd name="T45" fmla="*/ 163 h 182"/>
                <a:gd name="T46" fmla="*/ 79 w 85"/>
                <a:gd name="T47" fmla="*/ 158 h 182"/>
                <a:gd name="T48" fmla="*/ 85 w 85"/>
                <a:gd name="T49" fmla="*/ 16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5" h="182">
                  <a:moveTo>
                    <a:pt x="85" y="163"/>
                  </a:moveTo>
                  <a:cubicBezTo>
                    <a:pt x="82" y="169"/>
                    <a:pt x="77" y="174"/>
                    <a:pt x="71" y="177"/>
                  </a:cubicBezTo>
                  <a:cubicBezTo>
                    <a:pt x="65" y="181"/>
                    <a:pt x="58" y="182"/>
                    <a:pt x="50" y="182"/>
                  </a:cubicBezTo>
                  <a:cubicBezTo>
                    <a:pt x="45" y="182"/>
                    <a:pt x="41" y="182"/>
                    <a:pt x="38" y="180"/>
                  </a:cubicBezTo>
                  <a:cubicBezTo>
                    <a:pt x="35" y="179"/>
                    <a:pt x="32" y="177"/>
                    <a:pt x="30" y="174"/>
                  </a:cubicBezTo>
                  <a:cubicBezTo>
                    <a:pt x="28" y="171"/>
                    <a:pt x="26" y="168"/>
                    <a:pt x="25" y="164"/>
                  </a:cubicBezTo>
                  <a:cubicBezTo>
                    <a:pt x="24" y="160"/>
                    <a:pt x="23" y="156"/>
                    <a:pt x="23" y="151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8" y="51"/>
                    <a:pt x="14" y="49"/>
                    <a:pt x="19" y="46"/>
                  </a:cubicBezTo>
                  <a:cubicBezTo>
                    <a:pt x="23" y="44"/>
                    <a:pt x="27" y="40"/>
                    <a:pt x="30" y="36"/>
                  </a:cubicBezTo>
                  <a:cubicBezTo>
                    <a:pt x="34" y="31"/>
                    <a:pt x="36" y="25"/>
                    <a:pt x="38" y="19"/>
                  </a:cubicBezTo>
                  <a:cubicBezTo>
                    <a:pt x="39" y="13"/>
                    <a:pt x="41" y="7"/>
                    <a:pt x="4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50" y="155"/>
                    <a:pt x="51" y="159"/>
                    <a:pt x="54" y="161"/>
                  </a:cubicBezTo>
                  <a:cubicBezTo>
                    <a:pt x="57" y="164"/>
                    <a:pt x="60" y="166"/>
                    <a:pt x="64" y="166"/>
                  </a:cubicBezTo>
                  <a:cubicBezTo>
                    <a:pt x="67" y="166"/>
                    <a:pt x="70" y="165"/>
                    <a:pt x="73" y="163"/>
                  </a:cubicBezTo>
                  <a:cubicBezTo>
                    <a:pt x="75" y="162"/>
                    <a:pt x="77" y="160"/>
                    <a:pt x="79" y="158"/>
                  </a:cubicBezTo>
                  <a:lnTo>
                    <a:pt x="85" y="163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5" name="Freeform 14"/>
            <p:cNvSpPr>
              <a:spLocks noEditPoints="1"/>
            </p:cNvSpPr>
            <p:nvPr/>
          </p:nvSpPr>
          <p:spPr bwMode="auto">
            <a:xfrm>
              <a:off x="211" y="-366"/>
              <a:ext cx="333" cy="330"/>
            </a:xfrm>
            <a:custGeom>
              <a:avLst/>
              <a:gdLst>
                <a:gd name="T0" fmla="*/ 71 w 141"/>
                <a:gd name="T1" fmla="*/ 139 h 139"/>
                <a:gd name="T2" fmla="*/ 42 w 141"/>
                <a:gd name="T3" fmla="*/ 134 h 139"/>
                <a:gd name="T4" fmla="*/ 20 w 141"/>
                <a:gd name="T5" fmla="*/ 119 h 139"/>
                <a:gd name="T6" fmla="*/ 5 w 141"/>
                <a:gd name="T7" fmla="*/ 98 h 139"/>
                <a:gd name="T8" fmla="*/ 0 w 141"/>
                <a:gd name="T9" fmla="*/ 71 h 139"/>
                <a:gd name="T10" fmla="*/ 5 w 141"/>
                <a:gd name="T11" fmla="*/ 44 h 139"/>
                <a:gd name="T12" fmla="*/ 20 w 141"/>
                <a:gd name="T13" fmla="*/ 21 h 139"/>
                <a:gd name="T14" fmla="*/ 42 w 141"/>
                <a:gd name="T15" fmla="*/ 6 h 139"/>
                <a:gd name="T16" fmla="*/ 71 w 141"/>
                <a:gd name="T17" fmla="*/ 0 h 139"/>
                <a:gd name="T18" fmla="*/ 99 w 141"/>
                <a:gd name="T19" fmla="*/ 5 h 139"/>
                <a:gd name="T20" fmla="*/ 121 w 141"/>
                <a:gd name="T21" fmla="*/ 19 h 139"/>
                <a:gd name="T22" fmla="*/ 136 w 141"/>
                <a:gd name="T23" fmla="*/ 40 h 139"/>
                <a:gd name="T24" fmla="*/ 141 w 141"/>
                <a:gd name="T25" fmla="*/ 66 h 139"/>
                <a:gd name="T26" fmla="*/ 136 w 141"/>
                <a:gd name="T27" fmla="*/ 94 h 139"/>
                <a:gd name="T28" fmla="*/ 121 w 141"/>
                <a:gd name="T29" fmla="*/ 118 h 139"/>
                <a:gd name="T30" fmla="*/ 99 w 141"/>
                <a:gd name="T31" fmla="*/ 134 h 139"/>
                <a:gd name="T32" fmla="*/ 71 w 141"/>
                <a:gd name="T33" fmla="*/ 139 h 139"/>
                <a:gd name="T34" fmla="*/ 76 w 141"/>
                <a:gd name="T35" fmla="*/ 129 h 139"/>
                <a:gd name="T36" fmla="*/ 90 w 141"/>
                <a:gd name="T37" fmla="*/ 125 h 139"/>
                <a:gd name="T38" fmla="*/ 101 w 141"/>
                <a:gd name="T39" fmla="*/ 115 h 139"/>
                <a:gd name="T40" fmla="*/ 109 w 141"/>
                <a:gd name="T41" fmla="*/ 99 h 139"/>
                <a:gd name="T42" fmla="*/ 111 w 141"/>
                <a:gd name="T43" fmla="*/ 80 h 139"/>
                <a:gd name="T44" fmla="*/ 109 w 141"/>
                <a:gd name="T45" fmla="*/ 52 h 139"/>
                <a:gd name="T46" fmla="*/ 101 w 141"/>
                <a:gd name="T47" fmla="*/ 30 h 139"/>
                <a:gd name="T48" fmla="*/ 86 w 141"/>
                <a:gd name="T49" fmla="*/ 15 h 139"/>
                <a:gd name="T50" fmla="*/ 64 w 141"/>
                <a:gd name="T51" fmla="*/ 10 h 139"/>
                <a:gd name="T52" fmla="*/ 51 w 141"/>
                <a:gd name="T53" fmla="*/ 14 h 139"/>
                <a:gd name="T54" fmla="*/ 40 w 141"/>
                <a:gd name="T55" fmla="*/ 24 h 139"/>
                <a:gd name="T56" fmla="*/ 33 w 141"/>
                <a:gd name="T57" fmla="*/ 40 h 139"/>
                <a:gd name="T58" fmla="*/ 30 w 141"/>
                <a:gd name="T59" fmla="*/ 59 h 139"/>
                <a:gd name="T60" fmla="*/ 33 w 141"/>
                <a:gd name="T61" fmla="*/ 87 h 139"/>
                <a:gd name="T62" fmla="*/ 42 w 141"/>
                <a:gd name="T63" fmla="*/ 109 h 139"/>
                <a:gd name="T64" fmla="*/ 56 w 141"/>
                <a:gd name="T65" fmla="*/ 124 h 139"/>
                <a:gd name="T66" fmla="*/ 76 w 141"/>
                <a:gd name="T67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1" h="139">
                  <a:moveTo>
                    <a:pt x="71" y="139"/>
                  </a:moveTo>
                  <a:cubicBezTo>
                    <a:pt x="60" y="139"/>
                    <a:pt x="51" y="138"/>
                    <a:pt x="42" y="134"/>
                  </a:cubicBezTo>
                  <a:cubicBezTo>
                    <a:pt x="34" y="131"/>
                    <a:pt x="26" y="126"/>
                    <a:pt x="20" y="119"/>
                  </a:cubicBezTo>
                  <a:cubicBezTo>
                    <a:pt x="14" y="113"/>
                    <a:pt x="9" y="106"/>
                    <a:pt x="5" y="98"/>
                  </a:cubicBezTo>
                  <a:cubicBezTo>
                    <a:pt x="2" y="90"/>
                    <a:pt x="0" y="81"/>
                    <a:pt x="0" y="71"/>
                  </a:cubicBezTo>
                  <a:cubicBezTo>
                    <a:pt x="0" y="61"/>
                    <a:pt x="2" y="52"/>
                    <a:pt x="5" y="44"/>
                  </a:cubicBezTo>
                  <a:cubicBezTo>
                    <a:pt x="9" y="35"/>
                    <a:pt x="14" y="27"/>
                    <a:pt x="20" y="21"/>
                  </a:cubicBezTo>
                  <a:cubicBezTo>
                    <a:pt x="26" y="15"/>
                    <a:pt x="34" y="9"/>
                    <a:pt x="42" y="6"/>
                  </a:cubicBezTo>
                  <a:cubicBezTo>
                    <a:pt x="51" y="2"/>
                    <a:pt x="60" y="0"/>
                    <a:pt x="71" y="0"/>
                  </a:cubicBezTo>
                  <a:cubicBezTo>
                    <a:pt x="81" y="0"/>
                    <a:pt x="90" y="2"/>
                    <a:pt x="99" y="5"/>
                  </a:cubicBezTo>
                  <a:cubicBezTo>
                    <a:pt x="108" y="9"/>
                    <a:pt x="115" y="13"/>
                    <a:pt x="121" y="19"/>
                  </a:cubicBezTo>
                  <a:cubicBezTo>
                    <a:pt x="128" y="25"/>
                    <a:pt x="133" y="32"/>
                    <a:pt x="136" y="40"/>
                  </a:cubicBezTo>
                  <a:cubicBezTo>
                    <a:pt x="140" y="48"/>
                    <a:pt x="141" y="57"/>
                    <a:pt x="141" y="66"/>
                  </a:cubicBezTo>
                  <a:cubicBezTo>
                    <a:pt x="141" y="76"/>
                    <a:pt x="140" y="85"/>
                    <a:pt x="136" y="94"/>
                  </a:cubicBezTo>
                  <a:cubicBezTo>
                    <a:pt x="133" y="103"/>
                    <a:pt x="128" y="111"/>
                    <a:pt x="121" y="118"/>
                  </a:cubicBezTo>
                  <a:cubicBezTo>
                    <a:pt x="115" y="124"/>
                    <a:pt x="108" y="130"/>
                    <a:pt x="99" y="134"/>
                  </a:cubicBezTo>
                  <a:cubicBezTo>
                    <a:pt x="90" y="137"/>
                    <a:pt x="81" y="139"/>
                    <a:pt x="71" y="139"/>
                  </a:cubicBezTo>
                  <a:moveTo>
                    <a:pt x="76" y="129"/>
                  </a:moveTo>
                  <a:cubicBezTo>
                    <a:pt x="81" y="129"/>
                    <a:pt x="86" y="128"/>
                    <a:pt x="90" y="125"/>
                  </a:cubicBezTo>
                  <a:cubicBezTo>
                    <a:pt x="94" y="123"/>
                    <a:pt x="98" y="119"/>
                    <a:pt x="101" y="115"/>
                  </a:cubicBezTo>
                  <a:cubicBezTo>
                    <a:pt x="105" y="110"/>
                    <a:pt x="107" y="105"/>
                    <a:pt x="109" y="99"/>
                  </a:cubicBezTo>
                  <a:cubicBezTo>
                    <a:pt x="111" y="93"/>
                    <a:pt x="111" y="86"/>
                    <a:pt x="111" y="80"/>
                  </a:cubicBezTo>
                  <a:cubicBezTo>
                    <a:pt x="111" y="70"/>
                    <a:pt x="111" y="61"/>
                    <a:pt x="109" y="52"/>
                  </a:cubicBezTo>
                  <a:cubicBezTo>
                    <a:pt x="107" y="44"/>
                    <a:pt x="105" y="37"/>
                    <a:pt x="101" y="30"/>
                  </a:cubicBezTo>
                  <a:cubicBezTo>
                    <a:pt x="97" y="24"/>
                    <a:pt x="92" y="19"/>
                    <a:pt x="86" y="15"/>
                  </a:cubicBezTo>
                  <a:cubicBezTo>
                    <a:pt x="80" y="12"/>
                    <a:pt x="73" y="10"/>
                    <a:pt x="64" y="10"/>
                  </a:cubicBezTo>
                  <a:cubicBezTo>
                    <a:pt x="60" y="10"/>
                    <a:pt x="55" y="11"/>
                    <a:pt x="51" y="14"/>
                  </a:cubicBezTo>
                  <a:cubicBezTo>
                    <a:pt x="47" y="16"/>
                    <a:pt x="43" y="20"/>
                    <a:pt x="40" y="24"/>
                  </a:cubicBezTo>
                  <a:cubicBezTo>
                    <a:pt x="37" y="29"/>
                    <a:pt x="34" y="34"/>
                    <a:pt x="33" y="40"/>
                  </a:cubicBezTo>
                  <a:cubicBezTo>
                    <a:pt x="31" y="46"/>
                    <a:pt x="30" y="52"/>
                    <a:pt x="30" y="59"/>
                  </a:cubicBezTo>
                  <a:cubicBezTo>
                    <a:pt x="30" y="69"/>
                    <a:pt x="31" y="78"/>
                    <a:pt x="33" y="87"/>
                  </a:cubicBezTo>
                  <a:cubicBezTo>
                    <a:pt x="35" y="95"/>
                    <a:pt x="38" y="103"/>
                    <a:pt x="42" y="109"/>
                  </a:cubicBezTo>
                  <a:cubicBezTo>
                    <a:pt x="46" y="115"/>
                    <a:pt x="51" y="120"/>
                    <a:pt x="56" y="124"/>
                  </a:cubicBezTo>
                  <a:cubicBezTo>
                    <a:pt x="62" y="128"/>
                    <a:pt x="68" y="129"/>
                    <a:pt x="76" y="129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6" name="Freeform 15"/>
            <p:cNvSpPr>
              <a:spLocks noEditPoints="1"/>
            </p:cNvSpPr>
            <p:nvPr/>
          </p:nvSpPr>
          <p:spPr bwMode="auto">
            <a:xfrm>
              <a:off x="592" y="-366"/>
              <a:ext cx="336" cy="330"/>
            </a:xfrm>
            <a:custGeom>
              <a:avLst/>
              <a:gdLst>
                <a:gd name="T0" fmla="*/ 71 w 142"/>
                <a:gd name="T1" fmla="*/ 139 h 139"/>
                <a:gd name="T2" fmla="*/ 43 w 142"/>
                <a:gd name="T3" fmla="*/ 134 h 139"/>
                <a:gd name="T4" fmla="*/ 20 w 142"/>
                <a:gd name="T5" fmla="*/ 119 h 139"/>
                <a:gd name="T6" fmla="*/ 6 w 142"/>
                <a:gd name="T7" fmla="*/ 98 h 139"/>
                <a:gd name="T8" fmla="*/ 0 w 142"/>
                <a:gd name="T9" fmla="*/ 71 h 139"/>
                <a:gd name="T10" fmla="*/ 6 w 142"/>
                <a:gd name="T11" fmla="*/ 44 h 139"/>
                <a:gd name="T12" fmla="*/ 20 w 142"/>
                <a:gd name="T13" fmla="*/ 21 h 139"/>
                <a:gd name="T14" fmla="*/ 43 w 142"/>
                <a:gd name="T15" fmla="*/ 6 h 139"/>
                <a:gd name="T16" fmla="*/ 71 w 142"/>
                <a:gd name="T17" fmla="*/ 0 h 139"/>
                <a:gd name="T18" fmla="*/ 99 w 142"/>
                <a:gd name="T19" fmla="*/ 5 h 139"/>
                <a:gd name="T20" fmla="*/ 122 w 142"/>
                <a:gd name="T21" fmla="*/ 19 h 139"/>
                <a:gd name="T22" fmla="*/ 136 w 142"/>
                <a:gd name="T23" fmla="*/ 40 h 139"/>
                <a:gd name="T24" fmla="*/ 142 w 142"/>
                <a:gd name="T25" fmla="*/ 66 h 139"/>
                <a:gd name="T26" fmla="*/ 136 w 142"/>
                <a:gd name="T27" fmla="*/ 94 h 139"/>
                <a:gd name="T28" fmla="*/ 122 w 142"/>
                <a:gd name="T29" fmla="*/ 118 h 139"/>
                <a:gd name="T30" fmla="*/ 99 w 142"/>
                <a:gd name="T31" fmla="*/ 134 h 139"/>
                <a:gd name="T32" fmla="*/ 71 w 142"/>
                <a:gd name="T33" fmla="*/ 139 h 139"/>
                <a:gd name="T34" fmla="*/ 76 w 142"/>
                <a:gd name="T35" fmla="*/ 129 h 139"/>
                <a:gd name="T36" fmla="*/ 90 w 142"/>
                <a:gd name="T37" fmla="*/ 125 h 139"/>
                <a:gd name="T38" fmla="*/ 102 w 142"/>
                <a:gd name="T39" fmla="*/ 115 h 139"/>
                <a:gd name="T40" fmla="*/ 109 w 142"/>
                <a:gd name="T41" fmla="*/ 99 h 139"/>
                <a:gd name="T42" fmla="*/ 112 w 142"/>
                <a:gd name="T43" fmla="*/ 80 h 139"/>
                <a:gd name="T44" fmla="*/ 109 w 142"/>
                <a:gd name="T45" fmla="*/ 52 h 139"/>
                <a:gd name="T46" fmla="*/ 101 w 142"/>
                <a:gd name="T47" fmla="*/ 30 h 139"/>
                <a:gd name="T48" fmla="*/ 87 w 142"/>
                <a:gd name="T49" fmla="*/ 15 h 139"/>
                <a:gd name="T50" fmla="*/ 65 w 142"/>
                <a:gd name="T51" fmla="*/ 10 h 139"/>
                <a:gd name="T52" fmla="*/ 52 w 142"/>
                <a:gd name="T53" fmla="*/ 14 h 139"/>
                <a:gd name="T54" fmla="*/ 41 w 142"/>
                <a:gd name="T55" fmla="*/ 24 h 139"/>
                <a:gd name="T56" fmla="*/ 33 w 142"/>
                <a:gd name="T57" fmla="*/ 40 h 139"/>
                <a:gd name="T58" fmla="*/ 30 w 142"/>
                <a:gd name="T59" fmla="*/ 59 h 139"/>
                <a:gd name="T60" fmla="*/ 33 w 142"/>
                <a:gd name="T61" fmla="*/ 87 h 139"/>
                <a:gd name="T62" fmla="*/ 42 w 142"/>
                <a:gd name="T63" fmla="*/ 109 h 139"/>
                <a:gd name="T64" fmla="*/ 57 w 142"/>
                <a:gd name="T65" fmla="*/ 124 h 139"/>
                <a:gd name="T66" fmla="*/ 76 w 142"/>
                <a:gd name="T67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2" h="139">
                  <a:moveTo>
                    <a:pt x="71" y="139"/>
                  </a:moveTo>
                  <a:cubicBezTo>
                    <a:pt x="61" y="139"/>
                    <a:pt x="51" y="138"/>
                    <a:pt x="43" y="134"/>
                  </a:cubicBezTo>
                  <a:cubicBezTo>
                    <a:pt x="34" y="131"/>
                    <a:pt x="27" y="126"/>
                    <a:pt x="20" y="119"/>
                  </a:cubicBezTo>
                  <a:cubicBezTo>
                    <a:pt x="14" y="113"/>
                    <a:pt x="9" y="106"/>
                    <a:pt x="6" y="98"/>
                  </a:cubicBezTo>
                  <a:cubicBezTo>
                    <a:pt x="2" y="90"/>
                    <a:pt x="0" y="81"/>
                    <a:pt x="0" y="71"/>
                  </a:cubicBezTo>
                  <a:cubicBezTo>
                    <a:pt x="0" y="61"/>
                    <a:pt x="2" y="52"/>
                    <a:pt x="6" y="44"/>
                  </a:cubicBezTo>
                  <a:cubicBezTo>
                    <a:pt x="9" y="35"/>
                    <a:pt x="14" y="27"/>
                    <a:pt x="20" y="21"/>
                  </a:cubicBezTo>
                  <a:cubicBezTo>
                    <a:pt x="27" y="15"/>
                    <a:pt x="34" y="9"/>
                    <a:pt x="43" y="6"/>
                  </a:cubicBezTo>
                  <a:cubicBezTo>
                    <a:pt x="51" y="2"/>
                    <a:pt x="61" y="0"/>
                    <a:pt x="71" y="0"/>
                  </a:cubicBezTo>
                  <a:cubicBezTo>
                    <a:pt x="81" y="0"/>
                    <a:pt x="91" y="2"/>
                    <a:pt x="99" y="5"/>
                  </a:cubicBezTo>
                  <a:cubicBezTo>
                    <a:pt x="108" y="9"/>
                    <a:pt x="115" y="13"/>
                    <a:pt x="122" y="19"/>
                  </a:cubicBezTo>
                  <a:cubicBezTo>
                    <a:pt x="128" y="25"/>
                    <a:pt x="133" y="32"/>
                    <a:pt x="136" y="40"/>
                  </a:cubicBezTo>
                  <a:cubicBezTo>
                    <a:pt x="140" y="48"/>
                    <a:pt x="142" y="57"/>
                    <a:pt x="142" y="66"/>
                  </a:cubicBezTo>
                  <a:cubicBezTo>
                    <a:pt x="142" y="76"/>
                    <a:pt x="140" y="85"/>
                    <a:pt x="136" y="94"/>
                  </a:cubicBezTo>
                  <a:cubicBezTo>
                    <a:pt x="133" y="103"/>
                    <a:pt x="128" y="111"/>
                    <a:pt x="122" y="118"/>
                  </a:cubicBezTo>
                  <a:cubicBezTo>
                    <a:pt x="115" y="124"/>
                    <a:pt x="108" y="130"/>
                    <a:pt x="99" y="134"/>
                  </a:cubicBezTo>
                  <a:cubicBezTo>
                    <a:pt x="91" y="137"/>
                    <a:pt x="81" y="139"/>
                    <a:pt x="71" y="139"/>
                  </a:cubicBezTo>
                  <a:moveTo>
                    <a:pt x="76" y="129"/>
                  </a:moveTo>
                  <a:cubicBezTo>
                    <a:pt x="81" y="129"/>
                    <a:pt x="86" y="128"/>
                    <a:pt x="90" y="125"/>
                  </a:cubicBezTo>
                  <a:cubicBezTo>
                    <a:pt x="95" y="123"/>
                    <a:pt x="98" y="119"/>
                    <a:pt x="102" y="115"/>
                  </a:cubicBezTo>
                  <a:cubicBezTo>
                    <a:pt x="105" y="110"/>
                    <a:pt x="107" y="105"/>
                    <a:pt x="109" y="99"/>
                  </a:cubicBezTo>
                  <a:cubicBezTo>
                    <a:pt x="111" y="93"/>
                    <a:pt x="112" y="86"/>
                    <a:pt x="112" y="80"/>
                  </a:cubicBezTo>
                  <a:cubicBezTo>
                    <a:pt x="112" y="70"/>
                    <a:pt x="111" y="61"/>
                    <a:pt x="109" y="52"/>
                  </a:cubicBezTo>
                  <a:cubicBezTo>
                    <a:pt x="108" y="44"/>
                    <a:pt x="105" y="37"/>
                    <a:pt x="101" y="30"/>
                  </a:cubicBezTo>
                  <a:cubicBezTo>
                    <a:pt x="97" y="24"/>
                    <a:pt x="93" y="19"/>
                    <a:pt x="87" y="15"/>
                  </a:cubicBezTo>
                  <a:cubicBezTo>
                    <a:pt x="81" y="12"/>
                    <a:pt x="73" y="10"/>
                    <a:pt x="65" y="10"/>
                  </a:cubicBezTo>
                  <a:cubicBezTo>
                    <a:pt x="60" y="10"/>
                    <a:pt x="56" y="11"/>
                    <a:pt x="52" y="14"/>
                  </a:cubicBezTo>
                  <a:cubicBezTo>
                    <a:pt x="47" y="16"/>
                    <a:pt x="44" y="20"/>
                    <a:pt x="41" y="24"/>
                  </a:cubicBezTo>
                  <a:cubicBezTo>
                    <a:pt x="37" y="29"/>
                    <a:pt x="35" y="34"/>
                    <a:pt x="33" y="40"/>
                  </a:cubicBezTo>
                  <a:cubicBezTo>
                    <a:pt x="31" y="46"/>
                    <a:pt x="30" y="52"/>
                    <a:pt x="30" y="59"/>
                  </a:cubicBezTo>
                  <a:cubicBezTo>
                    <a:pt x="30" y="69"/>
                    <a:pt x="31" y="78"/>
                    <a:pt x="33" y="87"/>
                  </a:cubicBezTo>
                  <a:cubicBezTo>
                    <a:pt x="35" y="95"/>
                    <a:pt x="38" y="103"/>
                    <a:pt x="42" y="109"/>
                  </a:cubicBezTo>
                  <a:cubicBezTo>
                    <a:pt x="46" y="115"/>
                    <a:pt x="51" y="120"/>
                    <a:pt x="57" y="124"/>
                  </a:cubicBezTo>
                  <a:cubicBezTo>
                    <a:pt x="62" y="128"/>
                    <a:pt x="69" y="129"/>
                    <a:pt x="76" y="129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auto">
            <a:xfrm>
              <a:off x="989" y="-523"/>
              <a:ext cx="64" cy="482"/>
            </a:xfrm>
            <a:custGeom>
              <a:avLst/>
              <a:gdLst>
                <a:gd name="T0" fmla="*/ 64 w 64"/>
                <a:gd name="T1" fmla="*/ 482 h 482"/>
                <a:gd name="T2" fmla="*/ 0 w 64"/>
                <a:gd name="T3" fmla="*/ 482 h 482"/>
                <a:gd name="T4" fmla="*/ 0 w 64"/>
                <a:gd name="T5" fmla="*/ 19 h 482"/>
                <a:gd name="T6" fmla="*/ 45 w 64"/>
                <a:gd name="T7" fmla="*/ 0 h 482"/>
                <a:gd name="T8" fmla="*/ 64 w 64"/>
                <a:gd name="T9" fmla="*/ 0 h 482"/>
                <a:gd name="T10" fmla="*/ 64 w 64"/>
                <a:gd name="T11" fmla="*/ 48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482">
                  <a:moveTo>
                    <a:pt x="64" y="482"/>
                  </a:moveTo>
                  <a:lnTo>
                    <a:pt x="0" y="482"/>
                  </a:lnTo>
                  <a:lnTo>
                    <a:pt x="0" y="19"/>
                  </a:lnTo>
                  <a:lnTo>
                    <a:pt x="45" y="0"/>
                  </a:lnTo>
                  <a:lnTo>
                    <a:pt x="64" y="0"/>
                  </a:lnTo>
                  <a:lnTo>
                    <a:pt x="64" y="482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auto">
            <a:xfrm>
              <a:off x="1115" y="-366"/>
              <a:ext cx="236" cy="330"/>
            </a:xfrm>
            <a:custGeom>
              <a:avLst/>
              <a:gdLst>
                <a:gd name="T0" fmla="*/ 49 w 100"/>
                <a:gd name="T1" fmla="*/ 130 h 139"/>
                <a:gd name="T2" fmla="*/ 59 w 100"/>
                <a:gd name="T3" fmla="*/ 129 h 139"/>
                <a:gd name="T4" fmla="*/ 67 w 100"/>
                <a:gd name="T5" fmla="*/ 124 h 139"/>
                <a:gd name="T6" fmla="*/ 72 w 100"/>
                <a:gd name="T7" fmla="*/ 118 h 139"/>
                <a:gd name="T8" fmla="*/ 74 w 100"/>
                <a:gd name="T9" fmla="*/ 110 h 139"/>
                <a:gd name="T10" fmla="*/ 71 w 100"/>
                <a:gd name="T11" fmla="*/ 100 h 139"/>
                <a:gd name="T12" fmla="*/ 63 w 100"/>
                <a:gd name="T13" fmla="*/ 92 h 139"/>
                <a:gd name="T14" fmla="*/ 51 w 100"/>
                <a:gd name="T15" fmla="*/ 85 h 139"/>
                <a:gd name="T16" fmla="*/ 38 w 100"/>
                <a:gd name="T17" fmla="*/ 79 h 139"/>
                <a:gd name="T18" fmla="*/ 25 w 100"/>
                <a:gd name="T19" fmla="*/ 72 h 139"/>
                <a:gd name="T20" fmla="*/ 14 w 100"/>
                <a:gd name="T21" fmla="*/ 63 h 139"/>
                <a:gd name="T22" fmla="*/ 5 w 100"/>
                <a:gd name="T23" fmla="*/ 52 h 139"/>
                <a:gd name="T24" fmla="*/ 2 w 100"/>
                <a:gd name="T25" fmla="*/ 37 h 139"/>
                <a:gd name="T26" fmla="*/ 6 w 100"/>
                <a:gd name="T27" fmla="*/ 22 h 139"/>
                <a:gd name="T28" fmla="*/ 15 w 100"/>
                <a:gd name="T29" fmla="*/ 11 h 139"/>
                <a:gd name="T30" fmla="*/ 30 w 100"/>
                <a:gd name="T31" fmla="*/ 3 h 139"/>
                <a:gd name="T32" fmla="*/ 48 w 100"/>
                <a:gd name="T33" fmla="*/ 0 h 139"/>
                <a:gd name="T34" fmla="*/ 61 w 100"/>
                <a:gd name="T35" fmla="*/ 1 h 139"/>
                <a:gd name="T36" fmla="*/ 72 w 100"/>
                <a:gd name="T37" fmla="*/ 5 h 139"/>
                <a:gd name="T38" fmla="*/ 83 w 100"/>
                <a:gd name="T39" fmla="*/ 12 h 139"/>
                <a:gd name="T40" fmla="*/ 95 w 100"/>
                <a:gd name="T41" fmla="*/ 25 h 139"/>
                <a:gd name="T42" fmla="*/ 85 w 100"/>
                <a:gd name="T43" fmla="*/ 34 h 139"/>
                <a:gd name="T44" fmla="*/ 68 w 100"/>
                <a:gd name="T45" fmla="*/ 15 h 139"/>
                <a:gd name="T46" fmla="*/ 48 w 100"/>
                <a:gd name="T47" fmla="*/ 9 h 139"/>
                <a:gd name="T48" fmla="*/ 37 w 100"/>
                <a:gd name="T49" fmla="*/ 10 h 139"/>
                <a:gd name="T50" fmla="*/ 29 w 100"/>
                <a:gd name="T51" fmla="*/ 14 h 139"/>
                <a:gd name="T52" fmla="*/ 24 w 100"/>
                <a:gd name="T53" fmla="*/ 20 h 139"/>
                <a:gd name="T54" fmla="*/ 22 w 100"/>
                <a:gd name="T55" fmla="*/ 27 h 139"/>
                <a:gd name="T56" fmla="*/ 26 w 100"/>
                <a:gd name="T57" fmla="*/ 37 h 139"/>
                <a:gd name="T58" fmla="*/ 34 w 100"/>
                <a:gd name="T59" fmla="*/ 45 h 139"/>
                <a:gd name="T60" fmla="*/ 47 w 100"/>
                <a:gd name="T61" fmla="*/ 52 h 139"/>
                <a:gd name="T62" fmla="*/ 61 w 100"/>
                <a:gd name="T63" fmla="*/ 58 h 139"/>
                <a:gd name="T64" fmla="*/ 75 w 100"/>
                <a:gd name="T65" fmla="*/ 65 h 139"/>
                <a:gd name="T66" fmla="*/ 88 w 100"/>
                <a:gd name="T67" fmla="*/ 73 h 139"/>
                <a:gd name="T68" fmla="*/ 97 w 100"/>
                <a:gd name="T69" fmla="*/ 84 h 139"/>
                <a:gd name="T70" fmla="*/ 100 w 100"/>
                <a:gd name="T71" fmla="*/ 99 h 139"/>
                <a:gd name="T72" fmla="*/ 97 w 100"/>
                <a:gd name="T73" fmla="*/ 115 h 139"/>
                <a:gd name="T74" fmla="*/ 87 w 100"/>
                <a:gd name="T75" fmla="*/ 128 h 139"/>
                <a:gd name="T76" fmla="*/ 71 w 100"/>
                <a:gd name="T77" fmla="*/ 136 h 139"/>
                <a:gd name="T78" fmla="*/ 49 w 100"/>
                <a:gd name="T79" fmla="*/ 139 h 139"/>
                <a:gd name="T80" fmla="*/ 37 w 100"/>
                <a:gd name="T81" fmla="*/ 138 h 139"/>
                <a:gd name="T82" fmla="*/ 25 w 100"/>
                <a:gd name="T83" fmla="*/ 135 h 139"/>
                <a:gd name="T84" fmla="*/ 12 w 100"/>
                <a:gd name="T85" fmla="*/ 127 h 139"/>
                <a:gd name="T86" fmla="*/ 0 w 100"/>
                <a:gd name="T87" fmla="*/ 115 h 139"/>
                <a:gd name="T88" fmla="*/ 10 w 100"/>
                <a:gd name="T89" fmla="*/ 105 h 139"/>
                <a:gd name="T90" fmla="*/ 20 w 100"/>
                <a:gd name="T91" fmla="*/ 116 h 139"/>
                <a:gd name="T92" fmla="*/ 29 w 100"/>
                <a:gd name="T93" fmla="*/ 124 h 139"/>
                <a:gd name="T94" fmla="*/ 38 w 100"/>
                <a:gd name="T95" fmla="*/ 129 h 139"/>
                <a:gd name="T96" fmla="*/ 49 w 100"/>
                <a:gd name="T97" fmla="*/ 13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0" h="139">
                  <a:moveTo>
                    <a:pt x="49" y="130"/>
                  </a:moveTo>
                  <a:cubicBezTo>
                    <a:pt x="53" y="130"/>
                    <a:pt x="56" y="130"/>
                    <a:pt x="59" y="129"/>
                  </a:cubicBezTo>
                  <a:cubicBezTo>
                    <a:pt x="62" y="127"/>
                    <a:pt x="65" y="126"/>
                    <a:pt x="67" y="124"/>
                  </a:cubicBezTo>
                  <a:cubicBezTo>
                    <a:pt x="69" y="122"/>
                    <a:pt x="71" y="120"/>
                    <a:pt x="72" y="118"/>
                  </a:cubicBezTo>
                  <a:cubicBezTo>
                    <a:pt x="73" y="115"/>
                    <a:pt x="74" y="113"/>
                    <a:pt x="74" y="110"/>
                  </a:cubicBezTo>
                  <a:cubicBezTo>
                    <a:pt x="74" y="106"/>
                    <a:pt x="73" y="103"/>
                    <a:pt x="71" y="100"/>
                  </a:cubicBezTo>
                  <a:cubicBezTo>
                    <a:pt x="69" y="97"/>
                    <a:pt x="66" y="94"/>
                    <a:pt x="63" y="92"/>
                  </a:cubicBezTo>
                  <a:cubicBezTo>
                    <a:pt x="59" y="89"/>
                    <a:pt x="56" y="87"/>
                    <a:pt x="51" y="85"/>
                  </a:cubicBezTo>
                  <a:cubicBezTo>
                    <a:pt x="47" y="83"/>
                    <a:pt x="43" y="81"/>
                    <a:pt x="38" y="79"/>
                  </a:cubicBezTo>
                  <a:cubicBezTo>
                    <a:pt x="34" y="77"/>
                    <a:pt x="29" y="74"/>
                    <a:pt x="25" y="72"/>
                  </a:cubicBezTo>
                  <a:cubicBezTo>
                    <a:pt x="21" y="70"/>
                    <a:pt x="17" y="67"/>
                    <a:pt x="14" y="63"/>
                  </a:cubicBezTo>
                  <a:cubicBezTo>
                    <a:pt x="10" y="60"/>
                    <a:pt x="8" y="57"/>
                    <a:pt x="5" y="52"/>
                  </a:cubicBezTo>
                  <a:cubicBezTo>
                    <a:pt x="3" y="48"/>
                    <a:pt x="2" y="43"/>
                    <a:pt x="2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5" y="11"/>
                  </a:cubicBezTo>
                  <a:cubicBezTo>
                    <a:pt x="19" y="7"/>
                    <a:pt x="24" y="5"/>
                    <a:pt x="30" y="3"/>
                  </a:cubicBezTo>
                  <a:cubicBezTo>
                    <a:pt x="35" y="1"/>
                    <a:pt x="41" y="0"/>
                    <a:pt x="48" y="0"/>
                  </a:cubicBezTo>
                  <a:cubicBezTo>
                    <a:pt x="52" y="0"/>
                    <a:pt x="57" y="0"/>
                    <a:pt x="61" y="1"/>
                  </a:cubicBezTo>
                  <a:cubicBezTo>
                    <a:pt x="64" y="2"/>
                    <a:pt x="68" y="3"/>
                    <a:pt x="72" y="5"/>
                  </a:cubicBezTo>
                  <a:cubicBezTo>
                    <a:pt x="76" y="6"/>
                    <a:pt x="79" y="9"/>
                    <a:pt x="83" y="12"/>
                  </a:cubicBezTo>
                  <a:cubicBezTo>
                    <a:pt x="87" y="15"/>
                    <a:pt x="90" y="20"/>
                    <a:pt x="95" y="25"/>
                  </a:cubicBezTo>
                  <a:cubicBezTo>
                    <a:pt x="85" y="34"/>
                    <a:pt x="85" y="34"/>
                    <a:pt x="85" y="34"/>
                  </a:cubicBezTo>
                  <a:cubicBezTo>
                    <a:pt x="80" y="25"/>
                    <a:pt x="74" y="19"/>
                    <a:pt x="68" y="15"/>
                  </a:cubicBezTo>
                  <a:cubicBezTo>
                    <a:pt x="61" y="11"/>
                    <a:pt x="55" y="9"/>
                    <a:pt x="48" y="9"/>
                  </a:cubicBezTo>
                  <a:cubicBezTo>
                    <a:pt x="44" y="9"/>
                    <a:pt x="40" y="9"/>
                    <a:pt x="37" y="10"/>
                  </a:cubicBezTo>
                  <a:cubicBezTo>
                    <a:pt x="34" y="11"/>
                    <a:pt x="31" y="13"/>
                    <a:pt x="29" y="14"/>
                  </a:cubicBezTo>
                  <a:cubicBezTo>
                    <a:pt x="27" y="16"/>
                    <a:pt x="25" y="18"/>
                    <a:pt x="24" y="20"/>
                  </a:cubicBezTo>
                  <a:cubicBezTo>
                    <a:pt x="23" y="22"/>
                    <a:pt x="22" y="24"/>
                    <a:pt x="22" y="27"/>
                  </a:cubicBezTo>
                  <a:cubicBezTo>
                    <a:pt x="22" y="31"/>
                    <a:pt x="23" y="34"/>
                    <a:pt x="26" y="37"/>
                  </a:cubicBezTo>
                  <a:cubicBezTo>
                    <a:pt x="28" y="40"/>
                    <a:pt x="31" y="43"/>
                    <a:pt x="34" y="45"/>
                  </a:cubicBezTo>
                  <a:cubicBezTo>
                    <a:pt x="38" y="48"/>
                    <a:pt x="42" y="50"/>
                    <a:pt x="47" y="52"/>
                  </a:cubicBezTo>
                  <a:cubicBezTo>
                    <a:pt x="51" y="54"/>
                    <a:pt x="56" y="56"/>
                    <a:pt x="61" y="58"/>
                  </a:cubicBezTo>
                  <a:cubicBezTo>
                    <a:pt x="66" y="60"/>
                    <a:pt x="71" y="62"/>
                    <a:pt x="75" y="65"/>
                  </a:cubicBezTo>
                  <a:cubicBezTo>
                    <a:pt x="80" y="67"/>
                    <a:pt x="84" y="70"/>
                    <a:pt x="88" y="73"/>
                  </a:cubicBezTo>
                  <a:cubicBezTo>
                    <a:pt x="91" y="77"/>
                    <a:pt x="94" y="80"/>
                    <a:pt x="97" y="84"/>
                  </a:cubicBezTo>
                  <a:cubicBezTo>
                    <a:pt x="99" y="89"/>
                    <a:pt x="100" y="93"/>
                    <a:pt x="100" y="99"/>
                  </a:cubicBezTo>
                  <a:cubicBezTo>
                    <a:pt x="100" y="105"/>
                    <a:pt x="99" y="110"/>
                    <a:pt x="97" y="115"/>
                  </a:cubicBezTo>
                  <a:cubicBezTo>
                    <a:pt x="95" y="120"/>
                    <a:pt x="92" y="124"/>
                    <a:pt x="87" y="128"/>
                  </a:cubicBezTo>
                  <a:cubicBezTo>
                    <a:pt x="83" y="131"/>
                    <a:pt x="78" y="134"/>
                    <a:pt x="71" y="136"/>
                  </a:cubicBezTo>
                  <a:cubicBezTo>
                    <a:pt x="65" y="138"/>
                    <a:pt x="58" y="139"/>
                    <a:pt x="49" y="139"/>
                  </a:cubicBezTo>
                  <a:cubicBezTo>
                    <a:pt x="45" y="139"/>
                    <a:pt x="41" y="139"/>
                    <a:pt x="37" y="138"/>
                  </a:cubicBezTo>
                  <a:cubicBezTo>
                    <a:pt x="33" y="138"/>
                    <a:pt x="29" y="137"/>
                    <a:pt x="25" y="135"/>
                  </a:cubicBezTo>
                  <a:cubicBezTo>
                    <a:pt x="20" y="133"/>
                    <a:pt x="16" y="131"/>
                    <a:pt x="12" y="127"/>
                  </a:cubicBezTo>
                  <a:cubicBezTo>
                    <a:pt x="8" y="124"/>
                    <a:pt x="4" y="120"/>
                    <a:pt x="0" y="115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14" y="109"/>
                    <a:pt x="17" y="113"/>
                    <a:pt x="20" y="116"/>
                  </a:cubicBezTo>
                  <a:cubicBezTo>
                    <a:pt x="23" y="120"/>
                    <a:pt x="26" y="122"/>
                    <a:pt x="29" y="124"/>
                  </a:cubicBezTo>
                  <a:cubicBezTo>
                    <a:pt x="32" y="126"/>
                    <a:pt x="35" y="128"/>
                    <a:pt x="38" y="129"/>
                  </a:cubicBezTo>
                  <a:cubicBezTo>
                    <a:pt x="42" y="130"/>
                    <a:pt x="45" y="130"/>
                    <a:pt x="49" y="130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9" name="Freeform 18"/>
            <p:cNvSpPr>
              <a:spLocks noEditPoints="1"/>
            </p:cNvSpPr>
            <p:nvPr/>
          </p:nvSpPr>
          <p:spPr bwMode="auto">
            <a:xfrm>
              <a:off x="-1240" y="-946"/>
              <a:ext cx="963" cy="986"/>
            </a:xfrm>
            <a:custGeom>
              <a:avLst/>
              <a:gdLst>
                <a:gd name="T0" fmla="*/ 963 w 963"/>
                <a:gd name="T1" fmla="*/ 986 h 986"/>
                <a:gd name="T2" fmla="*/ 0 w 963"/>
                <a:gd name="T3" fmla="*/ 986 h 986"/>
                <a:gd name="T4" fmla="*/ 0 w 963"/>
                <a:gd name="T5" fmla="*/ 0 h 986"/>
                <a:gd name="T6" fmla="*/ 963 w 963"/>
                <a:gd name="T7" fmla="*/ 0 h 986"/>
                <a:gd name="T8" fmla="*/ 963 w 963"/>
                <a:gd name="T9" fmla="*/ 986 h 986"/>
                <a:gd name="T10" fmla="*/ 12 w 963"/>
                <a:gd name="T11" fmla="*/ 974 h 986"/>
                <a:gd name="T12" fmla="*/ 949 w 963"/>
                <a:gd name="T13" fmla="*/ 974 h 986"/>
                <a:gd name="T14" fmla="*/ 949 w 963"/>
                <a:gd name="T15" fmla="*/ 14 h 986"/>
                <a:gd name="T16" fmla="*/ 12 w 963"/>
                <a:gd name="T17" fmla="*/ 14 h 986"/>
                <a:gd name="T18" fmla="*/ 12 w 963"/>
                <a:gd name="T19" fmla="*/ 974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3" h="986">
                  <a:moveTo>
                    <a:pt x="963" y="986"/>
                  </a:moveTo>
                  <a:lnTo>
                    <a:pt x="0" y="986"/>
                  </a:lnTo>
                  <a:lnTo>
                    <a:pt x="0" y="0"/>
                  </a:lnTo>
                  <a:lnTo>
                    <a:pt x="963" y="0"/>
                  </a:lnTo>
                  <a:lnTo>
                    <a:pt x="963" y="986"/>
                  </a:lnTo>
                  <a:close/>
                  <a:moveTo>
                    <a:pt x="12" y="974"/>
                  </a:moveTo>
                  <a:lnTo>
                    <a:pt x="949" y="974"/>
                  </a:lnTo>
                  <a:lnTo>
                    <a:pt x="949" y="14"/>
                  </a:lnTo>
                  <a:lnTo>
                    <a:pt x="12" y="14"/>
                  </a:lnTo>
                  <a:lnTo>
                    <a:pt x="12" y="974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50" name="Freeform 19"/>
            <p:cNvSpPr>
              <a:spLocks noEditPoints="1"/>
            </p:cNvSpPr>
            <p:nvPr/>
          </p:nvSpPr>
          <p:spPr bwMode="auto">
            <a:xfrm>
              <a:off x="-1344" y="-1158"/>
              <a:ext cx="1171" cy="1179"/>
            </a:xfrm>
            <a:custGeom>
              <a:avLst/>
              <a:gdLst>
                <a:gd name="T0" fmla="*/ 248 w 495"/>
                <a:gd name="T1" fmla="*/ 496 h 496"/>
                <a:gd name="T2" fmla="*/ 0 w 495"/>
                <a:gd name="T3" fmla="*/ 248 h 496"/>
                <a:gd name="T4" fmla="*/ 248 w 495"/>
                <a:gd name="T5" fmla="*/ 0 h 496"/>
                <a:gd name="T6" fmla="*/ 495 w 495"/>
                <a:gd name="T7" fmla="*/ 248 h 496"/>
                <a:gd name="T8" fmla="*/ 248 w 495"/>
                <a:gd name="T9" fmla="*/ 496 h 496"/>
                <a:gd name="T10" fmla="*/ 248 w 495"/>
                <a:gd name="T11" fmla="*/ 6 h 496"/>
                <a:gd name="T12" fmla="*/ 5 w 495"/>
                <a:gd name="T13" fmla="*/ 248 h 496"/>
                <a:gd name="T14" fmla="*/ 248 w 495"/>
                <a:gd name="T15" fmla="*/ 490 h 496"/>
                <a:gd name="T16" fmla="*/ 490 w 495"/>
                <a:gd name="T17" fmla="*/ 248 h 496"/>
                <a:gd name="T18" fmla="*/ 248 w 495"/>
                <a:gd name="T19" fmla="*/ 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5" h="496">
                  <a:moveTo>
                    <a:pt x="248" y="496"/>
                  </a:moveTo>
                  <a:cubicBezTo>
                    <a:pt x="111" y="496"/>
                    <a:pt x="0" y="385"/>
                    <a:pt x="0" y="248"/>
                  </a:cubicBezTo>
                  <a:cubicBezTo>
                    <a:pt x="0" y="111"/>
                    <a:pt x="111" y="0"/>
                    <a:pt x="248" y="0"/>
                  </a:cubicBezTo>
                  <a:cubicBezTo>
                    <a:pt x="384" y="0"/>
                    <a:pt x="495" y="111"/>
                    <a:pt x="495" y="248"/>
                  </a:cubicBezTo>
                  <a:cubicBezTo>
                    <a:pt x="495" y="385"/>
                    <a:pt x="384" y="496"/>
                    <a:pt x="248" y="496"/>
                  </a:cubicBezTo>
                  <a:moveTo>
                    <a:pt x="248" y="6"/>
                  </a:moveTo>
                  <a:cubicBezTo>
                    <a:pt x="114" y="6"/>
                    <a:pt x="5" y="114"/>
                    <a:pt x="5" y="248"/>
                  </a:cubicBezTo>
                  <a:cubicBezTo>
                    <a:pt x="5" y="382"/>
                    <a:pt x="114" y="490"/>
                    <a:pt x="248" y="490"/>
                  </a:cubicBezTo>
                  <a:cubicBezTo>
                    <a:pt x="381" y="490"/>
                    <a:pt x="490" y="382"/>
                    <a:pt x="490" y="248"/>
                  </a:cubicBezTo>
                  <a:cubicBezTo>
                    <a:pt x="490" y="114"/>
                    <a:pt x="381" y="6"/>
                    <a:pt x="248" y="6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51" name="Rectangle 20"/>
            <p:cNvSpPr>
              <a:spLocks noChangeArrowheads="1"/>
            </p:cNvSpPr>
            <p:nvPr/>
          </p:nvSpPr>
          <p:spPr bwMode="auto">
            <a:xfrm>
              <a:off x="-1236" y="-775"/>
              <a:ext cx="952" cy="14"/>
            </a:xfrm>
            <a:prstGeom prst="rect">
              <a:avLst/>
            </a:pr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52" name="Rectangle 21"/>
            <p:cNvSpPr>
              <a:spLocks noChangeArrowheads="1"/>
            </p:cNvSpPr>
            <p:nvPr/>
          </p:nvSpPr>
          <p:spPr bwMode="auto">
            <a:xfrm>
              <a:off x="-765" y="-1151"/>
              <a:ext cx="12" cy="668"/>
            </a:xfrm>
            <a:prstGeom prst="rect">
              <a:avLst/>
            </a:pr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53" name="Freeform 22"/>
            <p:cNvSpPr>
              <a:spLocks/>
            </p:cNvSpPr>
            <p:nvPr/>
          </p:nvSpPr>
          <p:spPr bwMode="auto">
            <a:xfrm>
              <a:off x="-1030" y="-497"/>
              <a:ext cx="545" cy="449"/>
            </a:xfrm>
            <a:custGeom>
              <a:avLst/>
              <a:gdLst>
                <a:gd name="T0" fmla="*/ 533 w 545"/>
                <a:gd name="T1" fmla="*/ 449 h 449"/>
                <a:gd name="T2" fmla="*/ 270 w 545"/>
                <a:gd name="T3" fmla="*/ 26 h 449"/>
                <a:gd name="T4" fmla="*/ 10 w 545"/>
                <a:gd name="T5" fmla="*/ 449 h 449"/>
                <a:gd name="T6" fmla="*/ 0 w 545"/>
                <a:gd name="T7" fmla="*/ 442 h 449"/>
                <a:gd name="T8" fmla="*/ 270 w 545"/>
                <a:gd name="T9" fmla="*/ 0 h 449"/>
                <a:gd name="T10" fmla="*/ 545 w 545"/>
                <a:gd name="T11" fmla="*/ 442 h 449"/>
                <a:gd name="T12" fmla="*/ 533 w 545"/>
                <a:gd name="T13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5" h="449">
                  <a:moveTo>
                    <a:pt x="533" y="449"/>
                  </a:moveTo>
                  <a:lnTo>
                    <a:pt x="270" y="26"/>
                  </a:lnTo>
                  <a:lnTo>
                    <a:pt x="10" y="449"/>
                  </a:lnTo>
                  <a:lnTo>
                    <a:pt x="0" y="442"/>
                  </a:lnTo>
                  <a:lnTo>
                    <a:pt x="270" y="0"/>
                  </a:lnTo>
                  <a:lnTo>
                    <a:pt x="545" y="442"/>
                  </a:lnTo>
                  <a:lnTo>
                    <a:pt x="533" y="449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54" name="Freeform 23"/>
            <p:cNvSpPr>
              <a:spLocks/>
            </p:cNvSpPr>
            <p:nvPr/>
          </p:nvSpPr>
          <p:spPr bwMode="auto">
            <a:xfrm>
              <a:off x="-1238" y="-946"/>
              <a:ext cx="956" cy="254"/>
            </a:xfrm>
            <a:custGeom>
              <a:avLst/>
              <a:gdLst>
                <a:gd name="T0" fmla="*/ 481 w 956"/>
                <a:gd name="T1" fmla="*/ 254 h 254"/>
                <a:gd name="T2" fmla="*/ 0 w 956"/>
                <a:gd name="T3" fmla="*/ 11 h 254"/>
                <a:gd name="T4" fmla="*/ 7 w 956"/>
                <a:gd name="T5" fmla="*/ 0 h 254"/>
                <a:gd name="T6" fmla="*/ 481 w 956"/>
                <a:gd name="T7" fmla="*/ 237 h 254"/>
                <a:gd name="T8" fmla="*/ 952 w 956"/>
                <a:gd name="T9" fmla="*/ 0 h 254"/>
                <a:gd name="T10" fmla="*/ 956 w 956"/>
                <a:gd name="T11" fmla="*/ 11 h 254"/>
                <a:gd name="T12" fmla="*/ 481 w 956"/>
                <a:gd name="T13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6" h="254">
                  <a:moveTo>
                    <a:pt x="481" y="254"/>
                  </a:moveTo>
                  <a:lnTo>
                    <a:pt x="0" y="11"/>
                  </a:lnTo>
                  <a:lnTo>
                    <a:pt x="7" y="0"/>
                  </a:lnTo>
                  <a:lnTo>
                    <a:pt x="481" y="237"/>
                  </a:lnTo>
                  <a:lnTo>
                    <a:pt x="952" y="0"/>
                  </a:lnTo>
                  <a:lnTo>
                    <a:pt x="956" y="11"/>
                  </a:lnTo>
                  <a:lnTo>
                    <a:pt x="481" y="254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sp>
        <p:nvSpPr>
          <p:cNvPr id="2" name="Symbol zastępczy daty 1">
            <a:extLst>
              <a:ext uri="{FF2B5EF4-FFF2-40B4-BE49-F238E27FC236}">
                <a16:creationId xmlns:a16="http://schemas.microsoft.com/office/drawing/2014/main" id="{778FE110-2DC3-4DAC-A92B-3FF565A41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id="{E080F63E-3BF1-4A77-9A46-7A04F586B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12927" y="6356350"/>
            <a:ext cx="4114800" cy="365125"/>
          </a:xfrm>
        </p:spPr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F8A990D4-180F-4F51-806C-CF6FA03EF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84900" y="6356350"/>
            <a:ext cx="2743200" cy="365125"/>
          </a:xfrm>
        </p:spPr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56" name="Symbol zastępczy tekstu 55"/>
          <p:cNvSpPr>
            <a:spLocks noGrp="1"/>
          </p:cNvSpPr>
          <p:nvPr>
            <p:ph type="body" sz="quarter" idx="13" hasCustomPrompt="1"/>
          </p:nvPr>
        </p:nvSpPr>
        <p:spPr>
          <a:xfrm>
            <a:off x="9098015" y="1029781"/>
            <a:ext cx="2560586" cy="341632"/>
          </a:xfrm>
          <a:noFill/>
        </p:spPr>
        <p:txBody>
          <a:bodyPr wrap="square" rtlCol="0">
            <a:normAutofit/>
          </a:bodyPr>
          <a:lstStyle>
            <a:lvl1pPr marL="0" indent="0">
              <a:buNone/>
              <a:defRPr lang="pl-PL" sz="1800" baseline="0" smtClean="0">
                <a:solidFill>
                  <a:schemeClr val="bg1"/>
                </a:solidFill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krótki opis</a:t>
            </a:r>
          </a:p>
        </p:txBody>
      </p:sp>
      <p:sp>
        <p:nvSpPr>
          <p:cNvPr id="57" name="Symbol zastępczy tekstu 55"/>
          <p:cNvSpPr>
            <a:spLocks noGrp="1"/>
          </p:cNvSpPr>
          <p:nvPr>
            <p:ph type="body" sz="quarter" idx="14" hasCustomPrompt="1"/>
          </p:nvPr>
        </p:nvSpPr>
        <p:spPr>
          <a:xfrm>
            <a:off x="9098015" y="2640205"/>
            <a:ext cx="2560586" cy="341632"/>
          </a:xfrm>
          <a:noFill/>
        </p:spPr>
        <p:txBody>
          <a:bodyPr wrap="square" rtlCol="0">
            <a:normAutofit/>
          </a:bodyPr>
          <a:lstStyle>
            <a:lvl1pPr marL="0" indent="0">
              <a:buNone/>
              <a:defRPr lang="pl-PL" sz="1800" baseline="0" smtClean="0">
                <a:solidFill>
                  <a:schemeClr val="bg1"/>
                </a:solidFill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krótki opis</a:t>
            </a:r>
          </a:p>
        </p:txBody>
      </p:sp>
      <p:sp>
        <p:nvSpPr>
          <p:cNvPr id="58" name="Symbol zastępczy tekstu 55"/>
          <p:cNvSpPr>
            <a:spLocks noGrp="1"/>
          </p:cNvSpPr>
          <p:nvPr>
            <p:ph type="body" sz="quarter" idx="15" hasCustomPrompt="1"/>
          </p:nvPr>
        </p:nvSpPr>
        <p:spPr>
          <a:xfrm>
            <a:off x="9098015" y="4215068"/>
            <a:ext cx="2560586" cy="341632"/>
          </a:xfrm>
          <a:noFill/>
        </p:spPr>
        <p:txBody>
          <a:bodyPr wrap="square" rtlCol="0">
            <a:normAutofit/>
          </a:bodyPr>
          <a:lstStyle>
            <a:lvl1pPr marL="0" indent="0">
              <a:buNone/>
              <a:defRPr lang="pl-PL" sz="1800" baseline="0" smtClean="0">
                <a:solidFill>
                  <a:schemeClr val="bg1"/>
                </a:solidFill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krótki opis</a:t>
            </a:r>
          </a:p>
        </p:txBody>
      </p:sp>
      <p:sp>
        <p:nvSpPr>
          <p:cNvPr id="59" name="Symbol zastępczy tekstu 55"/>
          <p:cNvSpPr>
            <a:spLocks noGrp="1"/>
          </p:cNvSpPr>
          <p:nvPr>
            <p:ph type="body" sz="quarter" idx="16" hasCustomPrompt="1"/>
          </p:nvPr>
        </p:nvSpPr>
        <p:spPr>
          <a:xfrm>
            <a:off x="9098015" y="5757919"/>
            <a:ext cx="2560586" cy="341632"/>
          </a:xfrm>
          <a:noFill/>
        </p:spPr>
        <p:txBody>
          <a:bodyPr wrap="square" rtlCol="0">
            <a:normAutofit/>
          </a:bodyPr>
          <a:lstStyle>
            <a:lvl1pPr marL="0" indent="0">
              <a:buNone/>
              <a:defRPr lang="pl-PL" sz="1800" baseline="0" smtClean="0">
                <a:solidFill>
                  <a:schemeClr val="bg1"/>
                </a:solidFill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krótki opis</a:t>
            </a:r>
          </a:p>
        </p:txBody>
      </p:sp>
    </p:spTree>
    <p:extLst>
      <p:ext uri="{BB962C8B-B14F-4D97-AF65-F5344CB8AC3E}">
        <p14:creationId xmlns:p14="http://schemas.microsoft.com/office/powerpoint/2010/main" val="36609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750"/>
                            </p:stCondLst>
                            <p:childTnLst>
                              <p:par>
                                <p:cTn id="1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75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25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75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750"/>
                            </p:stCondLst>
                            <p:childTnLst>
                              <p:par>
                                <p:cTn id="34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25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750"/>
                            </p:stCondLst>
                            <p:childTnLst>
                              <p:par>
                                <p:cTn id="4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25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750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750"/>
                            </p:stCondLst>
                            <p:childTnLst>
                              <p:par>
                                <p:cTn id="5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25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75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25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750"/>
                            </p:stCondLst>
                            <p:childTnLst>
                              <p:par>
                                <p:cTn id="6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7750"/>
                            </p:stCondLst>
                            <p:childTnLst>
                              <p:par>
                                <p:cTn id="72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8250"/>
                            </p:stCondLst>
                            <p:childTnLst>
                              <p:par>
                                <p:cTn id="7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8750"/>
                            </p:stCondLst>
                            <p:childTnLst>
                              <p:par>
                                <p:cTn id="8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9250"/>
                            </p:stCondLst>
                            <p:childTnLst>
                              <p:par>
                                <p:cTn id="8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9750"/>
                            </p:stCondLst>
                            <p:childTnLst>
                              <p:par>
                                <p:cTn id="8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9750"/>
                            </p:stCondLst>
                            <p:childTnLst>
                              <p:par>
                                <p:cTn id="91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56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9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786E62EC-220B-4AC3-9871-DDF913B92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1D240BD0-1999-4544-B0A1-0A557829EF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00807AF1-0AFD-4DB5-A1D6-E2002770CB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D69CF-B32D-4AAB-9F74-E49E94F4F73C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9F5C90FB-0137-47CE-93BF-A4318B3880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D0A6C7B3-39D2-4BA9-A6F3-97B9EFCB9D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3D50D-D2A4-4581-A52E-D3DCFCCAB030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5006995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7220114-DB4A-401B-AB0D-1F11EDAA8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24C24CFE-17F3-4C98-9539-8EB908C95D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F6FF3D2B-9492-45FE-A7C6-5E467DDACB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D69CF-B32D-4AAB-9F74-E49E94F4F73C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75367DD4-370C-43F4-8811-903E1AC5F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09D501C0-8EFE-412F-BD46-A834A7EEE3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3D50D-D2A4-4581-A52E-D3DCFCCAB030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040608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79E672D-066E-4B41-827C-64FC5B458F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82134D63-0AFB-448C-801F-74179359C28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5B18C39-9B2E-4EF0-9FAC-A54555CA55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1B4FCDB7-8461-402B-8734-424A95B43A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D69CF-B32D-4AAB-9F74-E49E94F4F73C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97186610-D2F9-487F-B534-16DD159056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2BD26C7B-1C6B-416E-8660-12B1E4967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3D50D-D2A4-4581-A52E-D3DCFCCAB030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154045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6597B2CD-F488-48A2-9B06-A3357D6D2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86BDC272-4655-4D90-A169-D4DDE77DDB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B2D80A6F-2AD2-42B9-9357-1F8131A3F0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66573EBE-BEEF-4F78-A09B-31C92B7D53C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5E32DEB7-B28D-4C20-B248-E67D3EDDD3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daty 6">
            <a:extLst>
              <a:ext uri="{FF2B5EF4-FFF2-40B4-BE49-F238E27FC236}">
                <a16:creationId xmlns:a16="http://schemas.microsoft.com/office/drawing/2014/main" id="{8BCD7B60-CEA7-4D6E-8BFF-7D658EF25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D69CF-B32D-4AAB-9F74-E49E94F4F73C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8" name="Symbol zastępczy stopki 7">
            <a:extLst>
              <a:ext uri="{FF2B5EF4-FFF2-40B4-BE49-F238E27FC236}">
                <a16:creationId xmlns:a16="http://schemas.microsoft.com/office/drawing/2014/main" id="{6E04EA83-5874-4480-9447-E6946124C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>
            <a:extLst>
              <a:ext uri="{FF2B5EF4-FFF2-40B4-BE49-F238E27FC236}">
                <a16:creationId xmlns:a16="http://schemas.microsoft.com/office/drawing/2014/main" id="{6C34F827-9B26-4CB3-A936-ED80C29810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3D50D-D2A4-4581-A52E-D3DCFCCAB030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2816449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9EF3D67-8DFB-419E-B5C6-1EB6A00F0E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76B06B31-10DB-45CB-9D70-7D793CEBC1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D69CF-B32D-4AAB-9F74-E49E94F4F73C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3F57C1B7-6FF4-48D7-8F09-24AC7D9A6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EC840585-B805-4E15-BF33-1B34B4FD84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3D50D-D2A4-4581-A52E-D3DCFCCAB030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084934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>
            <a:extLst>
              <a:ext uri="{FF2B5EF4-FFF2-40B4-BE49-F238E27FC236}">
                <a16:creationId xmlns:a16="http://schemas.microsoft.com/office/drawing/2014/main" id="{72867883-80CE-4D96-B46D-2F3CAA75AE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D69CF-B32D-4AAB-9F74-E49E94F4F73C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id="{99F878B4-09ED-468E-B194-E03E3BD82D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378FF249-3299-4F45-AECA-8371C4E3A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3D50D-D2A4-4581-A52E-D3DCFCCAB030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13076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6CAF180C-2014-4941-AF78-1F1DBC9C13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5ACB1E87-A2EE-4B0F-BCAB-C1F39D9E27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9048499F-197F-46EF-8250-07C0153EB6C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6247769A-FED5-4E0B-9428-2D3BC95332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D69CF-B32D-4AAB-9F74-E49E94F4F73C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76E4FD4C-8F00-4FA5-9121-C76AD79321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FFE8D505-8A98-4C4F-8642-E6D1EE9C1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3D50D-D2A4-4581-A52E-D3DCFCCAB030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328507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45842438-86FD-4FF7-A1A1-8F430327D6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161C8726-E115-455B-BD0F-85A16056302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3AF49743-190C-4A89-ACAD-ADCE5FC332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>
            <a:extLst>
              <a:ext uri="{FF2B5EF4-FFF2-40B4-BE49-F238E27FC236}">
                <a16:creationId xmlns:a16="http://schemas.microsoft.com/office/drawing/2014/main" id="{49278AAF-AEA7-44C8-8A7D-30B1A2418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D69CF-B32D-4AAB-9F74-E49E94F4F73C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6" name="Symbol zastępczy stopki 5">
            <a:extLst>
              <a:ext uri="{FF2B5EF4-FFF2-40B4-BE49-F238E27FC236}">
                <a16:creationId xmlns:a16="http://schemas.microsoft.com/office/drawing/2014/main" id="{8984F461-1F84-44C5-91C2-E48B400BA5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>
            <a:extLst>
              <a:ext uri="{FF2B5EF4-FFF2-40B4-BE49-F238E27FC236}">
                <a16:creationId xmlns:a16="http://schemas.microsoft.com/office/drawing/2014/main" id="{9A7FC6D0-8211-4CC4-B419-EEF59C9014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3D50D-D2A4-4581-A52E-D3DCFCCAB030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083432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FDC78B38-30C9-45E1-B38D-B329AD5AC4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0B0563C1-DAD0-4027-88FD-DC5151CEA19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418C28C9-3F16-4A5C-901C-6456D9A7E9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D69CF-B32D-4AAB-9F74-E49E94F4F73C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ABDA420C-21F3-4C23-AE98-F8199A5EA0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41FA0326-F6A7-41BB-9C16-4F51A0B63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3D50D-D2A4-4581-A52E-D3DCFCCAB030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536630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>
            <a:extLst>
              <a:ext uri="{FF2B5EF4-FFF2-40B4-BE49-F238E27FC236}">
                <a16:creationId xmlns:a16="http://schemas.microsoft.com/office/drawing/2014/main" id="{1EE1963D-7222-4B8D-94C5-86FCA7AEB14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9A8256A5-ED92-4D57-804D-DFEE92AE09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02B5C4B1-CAB2-454F-8FA3-B26C7F6769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D69CF-B32D-4AAB-9F74-E49E94F4F73C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C16BC862-3272-405B-9A79-A4B0DA2C24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06A6094D-1D86-4B04-94BD-9D9218FBD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43D50D-D2A4-4581-A52E-D3DCFCCAB030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13552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ży tytuł i zdję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A86BE1B3-629B-437E-96B1-28A6C4661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547B6776-35B6-4004-9F46-1E4311751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3F17E7D1-38F2-41DB-8464-81CB417EF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12" name="Symbol zastępczy tekstu 11"/>
          <p:cNvSpPr>
            <a:spLocks noGrp="1"/>
          </p:cNvSpPr>
          <p:nvPr>
            <p:ph type="body" sz="quarter" idx="14" hasCustomPrompt="1"/>
          </p:nvPr>
        </p:nvSpPr>
        <p:spPr>
          <a:xfrm>
            <a:off x="272139" y="5732891"/>
            <a:ext cx="11656336" cy="491881"/>
          </a:xfrm>
        </p:spPr>
        <p:txBody>
          <a:bodyPr anchor="t">
            <a:noAutofit/>
          </a:bodyPr>
          <a:lstStyle>
            <a:lvl1pPr marL="0" indent="0" algn="l">
              <a:buNone/>
              <a:defRPr sz="32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l-PL"/>
              <a:t>Tytuł duży</a:t>
            </a:r>
          </a:p>
        </p:txBody>
      </p:sp>
      <p:sp>
        <p:nvSpPr>
          <p:cNvPr id="7" name="Symbol zastępczy obrazu 6"/>
          <p:cNvSpPr>
            <a:spLocks noGrp="1"/>
          </p:cNvSpPr>
          <p:nvPr>
            <p:ph type="pic" sz="quarter" idx="17"/>
          </p:nvPr>
        </p:nvSpPr>
        <p:spPr>
          <a:xfrm>
            <a:off x="263525" y="1277484"/>
            <a:ext cx="11664950" cy="410731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endParaRPr lang="pl-PL"/>
          </a:p>
          <a:p>
            <a:endParaRPr lang="pl-PL"/>
          </a:p>
          <a:p>
            <a:endParaRPr lang="pl-PL"/>
          </a:p>
          <a:p>
            <a:endParaRPr lang="pl-PL"/>
          </a:p>
          <a:p>
            <a:endParaRPr lang="pl-PL"/>
          </a:p>
          <a:p>
            <a:r>
              <a:rPr lang="pl-PL"/>
              <a:t>Aby dodać zdjęcie kliknij ikonę</a:t>
            </a:r>
          </a:p>
        </p:txBody>
      </p:sp>
      <p:sp useBgFill="1">
        <p:nvSpPr>
          <p:cNvPr id="9" name="Prostokąt 8"/>
          <p:cNvSpPr/>
          <p:nvPr userDrawn="1"/>
        </p:nvSpPr>
        <p:spPr>
          <a:xfrm>
            <a:off x="2641600" y="203200"/>
            <a:ext cx="215900" cy="850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7512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1 -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2225247"/>
      </p:ext>
    </p:extLst>
  </p:cSld>
  <p:clrMapOvr>
    <a:masterClrMapping/>
  </p:clrMapOvr>
  <p:transition spd="med"/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Obraz 27">
            <a:extLst>
              <a:ext uri="{FF2B5EF4-FFF2-40B4-BE49-F238E27FC236}">
                <a16:creationId xmlns:a16="http://schemas.microsoft.com/office/drawing/2014/main" id="{02E6C61C-6558-4EB1-9238-0D76F899F8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317" y="236459"/>
            <a:ext cx="7200461" cy="6602758"/>
          </a:xfrm>
          <a:prstGeom prst="rect">
            <a:avLst/>
          </a:prstGeom>
        </p:spPr>
      </p:pic>
      <p:sp>
        <p:nvSpPr>
          <p:cNvPr id="29" name="Prostokąt 28">
            <a:extLst>
              <a:ext uri="{FF2B5EF4-FFF2-40B4-BE49-F238E27FC236}">
                <a16:creationId xmlns:a16="http://schemas.microsoft.com/office/drawing/2014/main" id="{7556872D-9860-4918-9046-04D2F22B930C}"/>
              </a:ext>
            </a:extLst>
          </p:cNvPr>
          <p:cNvSpPr/>
          <p:nvPr userDrawn="1"/>
        </p:nvSpPr>
        <p:spPr>
          <a:xfrm>
            <a:off x="3467100" y="0"/>
            <a:ext cx="8763000" cy="6858000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  <p:pic>
        <p:nvPicPr>
          <p:cNvPr id="32" name="Obraz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0211" y="3879867"/>
            <a:ext cx="3495157" cy="199939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3" name="Obraz 3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7232" y="1486566"/>
            <a:ext cx="4124689" cy="20145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4" name="Obraz 3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604" y="0"/>
            <a:ext cx="2548342" cy="389302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6" name="Symbol zastępczy tekstu 35"/>
          <p:cNvSpPr>
            <a:spLocks noGrp="1"/>
          </p:cNvSpPr>
          <p:nvPr>
            <p:ph type="body" sz="quarter" idx="10" hasCustomPrompt="1"/>
          </p:nvPr>
        </p:nvSpPr>
        <p:spPr>
          <a:xfrm>
            <a:off x="3826987" y="3735280"/>
            <a:ext cx="1933543" cy="923330"/>
          </a:xfrm>
          <a:noFill/>
        </p:spPr>
        <p:txBody>
          <a:bodyPr wrap="none" rtlCol="0">
            <a:spAutoFit/>
          </a:bodyPr>
          <a:lstStyle>
            <a:lvl1pPr marL="0" indent="0">
              <a:buNone/>
              <a:defRPr lang="pl-PL" sz="6000" smtClean="0">
                <a:solidFill>
                  <a:schemeClr val="accent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Tytuł</a:t>
            </a:r>
          </a:p>
        </p:txBody>
      </p:sp>
      <p:sp>
        <p:nvSpPr>
          <p:cNvPr id="39" name="Symbol zastępczy tekstu 38"/>
          <p:cNvSpPr>
            <a:spLocks noGrp="1"/>
          </p:cNvSpPr>
          <p:nvPr>
            <p:ph type="body" sz="quarter" idx="11" hasCustomPrompt="1"/>
          </p:nvPr>
        </p:nvSpPr>
        <p:spPr>
          <a:xfrm>
            <a:off x="3826987" y="4841885"/>
            <a:ext cx="4317207" cy="4247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l-PL" sz="2400" smtClean="0">
                <a:solidFill>
                  <a:srgbClr val="44546A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PODTYTUŁ</a:t>
            </a:r>
          </a:p>
        </p:txBody>
      </p:sp>
      <p:grpSp>
        <p:nvGrpSpPr>
          <p:cNvPr id="7" name="Group 13"/>
          <p:cNvGrpSpPr>
            <a:grpSpLocks noChangeAspect="1"/>
          </p:cNvGrpSpPr>
          <p:nvPr userDrawn="1"/>
        </p:nvGrpSpPr>
        <p:grpSpPr bwMode="auto">
          <a:xfrm>
            <a:off x="4583089" y="406675"/>
            <a:ext cx="1452563" cy="592121"/>
            <a:chOff x="2515" y="2849"/>
            <a:chExt cx="2566" cy="1046"/>
          </a:xfrm>
        </p:grpSpPr>
        <p:sp>
          <p:nvSpPr>
            <p:cNvPr id="8" name="Freeform 14"/>
            <p:cNvSpPr>
              <a:spLocks noEditPoints="1"/>
            </p:cNvSpPr>
            <p:nvPr/>
          </p:nvSpPr>
          <p:spPr bwMode="auto">
            <a:xfrm>
              <a:off x="2533" y="3006"/>
              <a:ext cx="306" cy="330"/>
            </a:xfrm>
            <a:custGeom>
              <a:avLst/>
              <a:gdLst>
                <a:gd name="T0" fmla="*/ 66 w 129"/>
                <a:gd name="T1" fmla="*/ 139 h 139"/>
                <a:gd name="T2" fmla="*/ 40 w 129"/>
                <a:gd name="T3" fmla="*/ 134 h 139"/>
                <a:gd name="T4" fmla="*/ 19 w 129"/>
                <a:gd name="T5" fmla="*/ 120 h 139"/>
                <a:gd name="T6" fmla="*/ 5 w 129"/>
                <a:gd name="T7" fmla="*/ 100 h 139"/>
                <a:gd name="T8" fmla="*/ 0 w 129"/>
                <a:gd name="T9" fmla="*/ 74 h 139"/>
                <a:gd name="T10" fmla="*/ 5 w 129"/>
                <a:gd name="T11" fmla="*/ 44 h 139"/>
                <a:gd name="T12" fmla="*/ 18 w 129"/>
                <a:gd name="T13" fmla="*/ 21 h 139"/>
                <a:gd name="T14" fmla="*/ 39 w 129"/>
                <a:gd name="T15" fmla="*/ 5 h 139"/>
                <a:gd name="T16" fmla="*/ 66 w 129"/>
                <a:gd name="T17" fmla="*/ 0 h 139"/>
                <a:gd name="T18" fmla="*/ 90 w 129"/>
                <a:gd name="T19" fmla="*/ 4 h 139"/>
                <a:gd name="T20" fmla="*/ 109 w 129"/>
                <a:gd name="T21" fmla="*/ 17 h 139"/>
                <a:gd name="T22" fmla="*/ 121 w 129"/>
                <a:gd name="T23" fmla="*/ 35 h 139"/>
                <a:gd name="T24" fmla="*/ 125 w 129"/>
                <a:gd name="T25" fmla="*/ 56 h 139"/>
                <a:gd name="T26" fmla="*/ 26 w 129"/>
                <a:gd name="T27" fmla="*/ 56 h 139"/>
                <a:gd name="T28" fmla="*/ 29 w 129"/>
                <a:gd name="T29" fmla="*/ 81 h 139"/>
                <a:gd name="T30" fmla="*/ 39 w 129"/>
                <a:gd name="T31" fmla="*/ 101 h 139"/>
                <a:gd name="T32" fmla="*/ 54 w 129"/>
                <a:gd name="T33" fmla="*/ 114 h 139"/>
                <a:gd name="T34" fmla="*/ 73 w 129"/>
                <a:gd name="T35" fmla="*/ 119 h 139"/>
                <a:gd name="T36" fmla="*/ 89 w 129"/>
                <a:gd name="T37" fmla="*/ 116 h 139"/>
                <a:gd name="T38" fmla="*/ 104 w 129"/>
                <a:gd name="T39" fmla="*/ 108 h 139"/>
                <a:gd name="T40" fmla="*/ 115 w 129"/>
                <a:gd name="T41" fmla="*/ 98 h 139"/>
                <a:gd name="T42" fmla="*/ 121 w 129"/>
                <a:gd name="T43" fmla="*/ 86 h 139"/>
                <a:gd name="T44" fmla="*/ 129 w 129"/>
                <a:gd name="T45" fmla="*/ 89 h 139"/>
                <a:gd name="T46" fmla="*/ 120 w 129"/>
                <a:gd name="T47" fmla="*/ 109 h 139"/>
                <a:gd name="T48" fmla="*/ 105 w 129"/>
                <a:gd name="T49" fmla="*/ 124 h 139"/>
                <a:gd name="T50" fmla="*/ 86 w 129"/>
                <a:gd name="T51" fmla="*/ 135 h 139"/>
                <a:gd name="T52" fmla="*/ 66 w 129"/>
                <a:gd name="T53" fmla="*/ 139 h 139"/>
                <a:gd name="T54" fmla="*/ 92 w 129"/>
                <a:gd name="T55" fmla="*/ 45 h 139"/>
                <a:gd name="T56" fmla="*/ 89 w 129"/>
                <a:gd name="T57" fmla="*/ 31 h 139"/>
                <a:gd name="T58" fmla="*/ 82 w 129"/>
                <a:gd name="T59" fmla="*/ 20 h 139"/>
                <a:gd name="T60" fmla="*/ 71 w 129"/>
                <a:gd name="T61" fmla="*/ 12 h 139"/>
                <a:gd name="T62" fmla="*/ 58 w 129"/>
                <a:gd name="T63" fmla="*/ 10 h 139"/>
                <a:gd name="T64" fmla="*/ 46 w 129"/>
                <a:gd name="T65" fmla="*/ 12 h 139"/>
                <a:gd name="T66" fmla="*/ 36 w 129"/>
                <a:gd name="T67" fmla="*/ 20 h 139"/>
                <a:gd name="T68" fmla="*/ 29 w 129"/>
                <a:gd name="T69" fmla="*/ 31 h 139"/>
                <a:gd name="T70" fmla="*/ 26 w 129"/>
                <a:gd name="T71" fmla="*/ 45 h 139"/>
                <a:gd name="T72" fmla="*/ 92 w 129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139">
                  <a:moveTo>
                    <a:pt x="66" y="139"/>
                  </a:moveTo>
                  <a:cubicBezTo>
                    <a:pt x="57" y="139"/>
                    <a:pt x="48" y="137"/>
                    <a:pt x="40" y="134"/>
                  </a:cubicBezTo>
                  <a:cubicBezTo>
                    <a:pt x="32" y="131"/>
                    <a:pt x="25" y="126"/>
                    <a:pt x="19" y="120"/>
                  </a:cubicBezTo>
                  <a:cubicBezTo>
                    <a:pt x="13" y="114"/>
                    <a:pt x="9" y="107"/>
                    <a:pt x="5" y="100"/>
                  </a:cubicBezTo>
                  <a:cubicBezTo>
                    <a:pt x="2" y="92"/>
                    <a:pt x="0" y="83"/>
                    <a:pt x="0" y="74"/>
                  </a:cubicBezTo>
                  <a:cubicBezTo>
                    <a:pt x="0" y="64"/>
                    <a:pt x="2" y="54"/>
                    <a:pt x="5" y="44"/>
                  </a:cubicBezTo>
                  <a:cubicBezTo>
                    <a:pt x="8" y="35"/>
                    <a:pt x="12" y="27"/>
                    <a:pt x="18" y="21"/>
                  </a:cubicBezTo>
                  <a:cubicBezTo>
                    <a:pt x="24" y="14"/>
                    <a:pt x="31" y="9"/>
                    <a:pt x="39" y="5"/>
                  </a:cubicBezTo>
                  <a:cubicBezTo>
                    <a:pt x="47" y="1"/>
                    <a:pt x="56" y="0"/>
                    <a:pt x="66" y="0"/>
                  </a:cubicBezTo>
                  <a:cubicBezTo>
                    <a:pt x="75" y="0"/>
                    <a:pt x="83" y="1"/>
                    <a:pt x="90" y="4"/>
                  </a:cubicBezTo>
                  <a:cubicBezTo>
                    <a:pt x="97" y="7"/>
                    <a:pt x="104" y="11"/>
                    <a:pt x="109" y="17"/>
                  </a:cubicBezTo>
                  <a:cubicBezTo>
                    <a:pt x="114" y="22"/>
                    <a:pt x="118" y="28"/>
                    <a:pt x="121" y="35"/>
                  </a:cubicBezTo>
                  <a:cubicBezTo>
                    <a:pt x="124" y="41"/>
                    <a:pt x="125" y="49"/>
                    <a:pt x="125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65"/>
                    <a:pt x="27" y="73"/>
                    <a:pt x="29" y="81"/>
                  </a:cubicBezTo>
                  <a:cubicBezTo>
                    <a:pt x="31" y="89"/>
                    <a:pt x="35" y="95"/>
                    <a:pt x="39" y="101"/>
                  </a:cubicBezTo>
                  <a:cubicBezTo>
                    <a:pt x="43" y="106"/>
                    <a:pt x="48" y="111"/>
                    <a:pt x="54" y="114"/>
                  </a:cubicBezTo>
                  <a:cubicBezTo>
                    <a:pt x="59" y="117"/>
                    <a:pt x="66" y="119"/>
                    <a:pt x="73" y="119"/>
                  </a:cubicBezTo>
                  <a:cubicBezTo>
                    <a:pt x="79" y="119"/>
                    <a:pt x="84" y="118"/>
                    <a:pt x="89" y="116"/>
                  </a:cubicBezTo>
                  <a:cubicBezTo>
                    <a:pt x="95" y="114"/>
                    <a:pt x="100" y="112"/>
                    <a:pt x="104" y="108"/>
                  </a:cubicBezTo>
                  <a:cubicBezTo>
                    <a:pt x="108" y="105"/>
                    <a:pt x="112" y="102"/>
                    <a:pt x="115" y="98"/>
                  </a:cubicBezTo>
                  <a:cubicBezTo>
                    <a:pt x="118" y="94"/>
                    <a:pt x="120" y="90"/>
                    <a:pt x="121" y="86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7" y="96"/>
                    <a:pt x="124" y="103"/>
                    <a:pt x="120" y="109"/>
                  </a:cubicBezTo>
                  <a:cubicBezTo>
                    <a:pt x="115" y="115"/>
                    <a:pt x="110" y="120"/>
                    <a:pt x="105" y="124"/>
                  </a:cubicBezTo>
                  <a:cubicBezTo>
                    <a:pt x="99" y="129"/>
                    <a:pt x="93" y="132"/>
                    <a:pt x="86" y="135"/>
                  </a:cubicBezTo>
                  <a:cubicBezTo>
                    <a:pt x="79" y="138"/>
                    <a:pt x="73" y="139"/>
                    <a:pt x="66" y="139"/>
                  </a:cubicBezTo>
                  <a:moveTo>
                    <a:pt x="92" y="45"/>
                  </a:moveTo>
                  <a:cubicBezTo>
                    <a:pt x="92" y="40"/>
                    <a:pt x="91" y="36"/>
                    <a:pt x="89" y="31"/>
                  </a:cubicBezTo>
                  <a:cubicBezTo>
                    <a:pt x="88" y="27"/>
                    <a:pt x="85" y="23"/>
                    <a:pt x="82" y="20"/>
                  </a:cubicBezTo>
                  <a:cubicBezTo>
                    <a:pt x="79" y="17"/>
                    <a:pt x="75" y="14"/>
                    <a:pt x="71" y="12"/>
                  </a:cubicBezTo>
                  <a:cubicBezTo>
                    <a:pt x="67" y="10"/>
                    <a:pt x="62" y="10"/>
                    <a:pt x="58" y="10"/>
                  </a:cubicBezTo>
                  <a:cubicBezTo>
                    <a:pt x="54" y="10"/>
                    <a:pt x="50" y="10"/>
                    <a:pt x="46" y="12"/>
                  </a:cubicBezTo>
                  <a:cubicBezTo>
                    <a:pt x="42" y="14"/>
                    <a:pt x="39" y="17"/>
                    <a:pt x="36" y="20"/>
                  </a:cubicBezTo>
                  <a:cubicBezTo>
                    <a:pt x="33" y="23"/>
                    <a:pt x="31" y="27"/>
                    <a:pt x="29" y="31"/>
                  </a:cubicBezTo>
                  <a:cubicBezTo>
                    <a:pt x="27" y="36"/>
                    <a:pt x="26" y="40"/>
                    <a:pt x="26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9" name="Freeform 15"/>
            <p:cNvSpPr>
              <a:spLocks/>
            </p:cNvSpPr>
            <p:nvPr/>
          </p:nvSpPr>
          <p:spPr bwMode="auto">
            <a:xfrm>
              <a:off x="2849" y="3013"/>
              <a:ext cx="324" cy="316"/>
            </a:xfrm>
            <a:custGeom>
              <a:avLst/>
              <a:gdLst>
                <a:gd name="T0" fmla="*/ 33 w 324"/>
                <a:gd name="T1" fmla="*/ 316 h 316"/>
                <a:gd name="T2" fmla="*/ 0 w 324"/>
                <a:gd name="T3" fmla="*/ 316 h 316"/>
                <a:gd name="T4" fmla="*/ 132 w 324"/>
                <a:gd name="T5" fmla="*/ 155 h 316"/>
                <a:gd name="T6" fmla="*/ 19 w 324"/>
                <a:gd name="T7" fmla="*/ 0 h 316"/>
                <a:gd name="T8" fmla="*/ 94 w 324"/>
                <a:gd name="T9" fmla="*/ 0 h 316"/>
                <a:gd name="T10" fmla="*/ 170 w 324"/>
                <a:gd name="T11" fmla="*/ 105 h 316"/>
                <a:gd name="T12" fmla="*/ 258 w 324"/>
                <a:gd name="T13" fmla="*/ 0 h 316"/>
                <a:gd name="T14" fmla="*/ 293 w 324"/>
                <a:gd name="T15" fmla="*/ 0 h 316"/>
                <a:gd name="T16" fmla="*/ 187 w 324"/>
                <a:gd name="T17" fmla="*/ 128 h 316"/>
                <a:gd name="T18" fmla="*/ 324 w 324"/>
                <a:gd name="T19" fmla="*/ 316 h 316"/>
                <a:gd name="T20" fmla="*/ 248 w 324"/>
                <a:gd name="T21" fmla="*/ 316 h 316"/>
                <a:gd name="T22" fmla="*/ 149 w 324"/>
                <a:gd name="T23" fmla="*/ 176 h 316"/>
                <a:gd name="T24" fmla="*/ 33 w 324"/>
                <a:gd name="T25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4" h="316">
                  <a:moveTo>
                    <a:pt x="33" y="316"/>
                  </a:moveTo>
                  <a:lnTo>
                    <a:pt x="0" y="316"/>
                  </a:lnTo>
                  <a:lnTo>
                    <a:pt x="132" y="155"/>
                  </a:lnTo>
                  <a:lnTo>
                    <a:pt x="19" y="0"/>
                  </a:lnTo>
                  <a:lnTo>
                    <a:pt x="94" y="0"/>
                  </a:lnTo>
                  <a:lnTo>
                    <a:pt x="170" y="105"/>
                  </a:lnTo>
                  <a:lnTo>
                    <a:pt x="258" y="0"/>
                  </a:lnTo>
                  <a:lnTo>
                    <a:pt x="293" y="0"/>
                  </a:lnTo>
                  <a:lnTo>
                    <a:pt x="187" y="128"/>
                  </a:lnTo>
                  <a:lnTo>
                    <a:pt x="324" y="316"/>
                  </a:lnTo>
                  <a:lnTo>
                    <a:pt x="248" y="316"/>
                  </a:lnTo>
                  <a:lnTo>
                    <a:pt x="149" y="176"/>
                  </a:lnTo>
                  <a:lnTo>
                    <a:pt x="33" y="316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0" name="Freeform 16"/>
            <p:cNvSpPr>
              <a:spLocks/>
            </p:cNvSpPr>
            <p:nvPr/>
          </p:nvSpPr>
          <p:spPr bwMode="auto">
            <a:xfrm>
              <a:off x="3157" y="2904"/>
              <a:ext cx="203" cy="432"/>
            </a:xfrm>
            <a:custGeom>
              <a:avLst/>
              <a:gdLst>
                <a:gd name="T0" fmla="*/ 86 w 86"/>
                <a:gd name="T1" fmla="*/ 162 h 182"/>
                <a:gd name="T2" fmla="*/ 71 w 86"/>
                <a:gd name="T3" fmla="*/ 177 h 182"/>
                <a:gd name="T4" fmla="*/ 50 w 86"/>
                <a:gd name="T5" fmla="*/ 182 h 182"/>
                <a:gd name="T6" fmla="*/ 38 w 86"/>
                <a:gd name="T7" fmla="*/ 180 h 182"/>
                <a:gd name="T8" fmla="*/ 30 w 86"/>
                <a:gd name="T9" fmla="*/ 173 h 182"/>
                <a:gd name="T10" fmla="*/ 25 w 86"/>
                <a:gd name="T11" fmla="*/ 164 h 182"/>
                <a:gd name="T12" fmla="*/ 23 w 86"/>
                <a:gd name="T13" fmla="*/ 151 h 182"/>
                <a:gd name="T14" fmla="*/ 23 w 86"/>
                <a:gd name="T15" fmla="*/ 57 h 182"/>
                <a:gd name="T16" fmla="*/ 0 w 86"/>
                <a:gd name="T17" fmla="*/ 57 h 182"/>
                <a:gd name="T18" fmla="*/ 0 w 86"/>
                <a:gd name="T19" fmla="*/ 50 h 182"/>
                <a:gd name="T20" fmla="*/ 19 w 86"/>
                <a:gd name="T21" fmla="*/ 46 h 182"/>
                <a:gd name="T22" fmla="*/ 31 w 86"/>
                <a:gd name="T23" fmla="*/ 35 h 182"/>
                <a:gd name="T24" fmla="*/ 38 w 86"/>
                <a:gd name="T25" fmla="*/ 19 h 182"/>
                <a:gd name="T26" fmla="*/ 42 w 86"/>
                <a:gd name="T27" fmla="*/ 0 h 182"/>
                <a:gd name="T28" fmla="*/ 50 w 86"/>
                <a:gd name="T29" fmla="*/ 0 h 182"/>
                <a:gd name="T30" fmla="*/ 50 w 86"/>
                <a:gd name="T31" fmla="*/ 45 h 182"/>
                <a:gd name="T32" fmla="*/ 80 w 86"/>
                <a:gd name="T33" fmla="*/ 45 h 182"/>
                <a:gd name="T34" fmla="*/ 80 w 86"/>
                <a:gd name="T35" fmla="*/ 57 h 182"/>
                <a:gd name="T36" fmla="*/ 50 w 86"/>
                <a:gd name="T37" fmla="*/ 57 h 182"/>
                <a:gd name="T38" fmla="*/ 50 w 86"/>
                <a:gd name="T39" fmla="*/ 151 h 182"/>
                <a:gd name="T40" fmla="*/ 54 w 86"/>
                <a:gd name="T41" fmla="*/ 161 h 182"/>
                <a:gd name="T42" fmla="*/ 64 w 86"/>
                <a:gd name="T43" fmla="*/ 165 h 182"/>
                <a:gd name="T44" fmla="*/ 73 w 86"/>
                <a:gd name="T45" fmla="*/ 163 h 182"/>
                <a:gd name="T46" fmla="*/ 79 w 86"/>
                <a:gd name="T47" fmla="*/ 158 h 182"/>
                <a:gd name="T48" fmla="*/ 86 w 86"/>
                <a:gd name="T49" fmla="*/ 16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6" h="182">
                  <a:moveTo>
                    <a:pt x="86" y="162"/>
                  </a:moveTo>
                  <a:cubicBezTo>
                    <a:pt x="82" y="168"/>
                    <a:pt x="77" y="173"/>
                    <a:pt x="71" y="177"/>
                  </a:cubicBezTo>
                  <a:cubicBezTo>
                    <a:pt x="65" y="180"/>
                    <a:pt x="58" y="182"/>
                    <a:pt x="50" y="182"/>
                  </a:cubicBezTo>
                  <a:cubicBezTo>
                    <a:pt x="45" y="182"/>
                    <a:pt x="41" y="181"/>
                    <a:pt x="38" y="180"/>
                  </a:cubicBezTo>
                  <a:cubicBezTo>
                    <a:pt x="35" y="178"/>
                    <a:pt x="32" y="176"/>
                    <a:pt x="30" y="173"/>
                  </a:cubicBezTo>
                  <a:cubicBezTo>
                    <a:pt x="28" y="171"/>
                    <a:pt x="26" y="167"/>
                    <a:pt x="25" y="164"/>
                  </a:cubicBezTo>
                  <a:cubicBezTo>
                    <a:pt x="24" y="160"/>
                    <a:pt x="23" y="156"/>
                    <a:pt x="23" y="151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8" y="50"/>
                    <a:pt x="14" y="49"/>
                    <a:pt x="19" y="46"/>
                  </a:cubicBezTo>
                  <a:cubicBezTo>
                    <a:pt x="23" y="43"/>
                    <a:pt x="27" y="40"/>
                    <a:pt x="31" y="35"/>
                  </a:cubicBezTo>
                  <a:cubicBezTo>
                    <a:pt x="34" y="30"/>
                    <a:pt x="36" y="25"/>
                    <a:pt x="38" y="19"/>
                  </a:cubicBezTo>
                  <a:cubicBezTo>
                    <a:pt x="40" y="13"/>
                    <a:pt x="41" y="6"/>
                    <a:pt x="4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50" y="155"/>
                    <a:pt x="51" y="158"/>
                    <a:pt x="54" y="161"/>
                  </a:cubicBezTo>
                  <a:cubicBezTo>
                    <a:pt x="57" y="164"/>
                    <a:pt x="60" y="165"/>
                    <a:pt x="64" y="165"/>
                  </a:cubicBezTo>
                  <a:cubicBezTo>
                    <a:pt x="67" y="165"/>
                    <a:pt x="70" y="164"/>
                    <a:pt x="73" y="163"/>
                  </a:cubicBezTo>
                  <a:cubicBezTo>
                    <a:pt x="75" y="162"/>
                    <a:pt x="77" y="160"/>
                    <a:pt x="79" y="158"/>
                  </a:cubicBezTo>
                  <a:lnTo>
                    <a:pt x="86" y="162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1" name="Freeform 17"/>
            <p:cNvSpPr>
              <a:spLocks noEditPoints="1"/>
            </p:cNvSpPr>
            <p:nvPr/>
          </p:nvSpPr>
          <p:spPr bwMode="auto">
            <a:xfrm>
              <a:off x="3382" y="3006"/>
              <a:ext cx="305" cy="330"/>
            </a:xfrm>
            <a:custGeom>
              <a:avLst/>
              <a:gdLst>
                <a:gd name="T0" fmla="*/ 66 w 129"/>
                <a:gd name="T1" fmla="*/ 139 h 139"/>
                <a:gd name="T2" fmla="*/ 40 w 129"/>
                <a:gd name="T3" fmla="*/ 134 h 139"/>
                <a:gd name="T4" fmla="*/ 20 w 129"/>
                <a:gd name="T5" fmla="*/ 120 h 139"/>
                <a:gd name="T6" fmla="*/ 6 w 129"/>
                <a:gd name="T7" fmla="*/ 100 h 139"/>
                <a:gd name="T8" fmla="*/ 0 w 129"/>
                <a:gd name="T9" fmla="*/ 74 h 139"/>
                <a:gd name="T10" fmla="*/ 5 w 129"/>
                <a:gd name="T11" fmla="*/ 44 h 139"/>
                <a:gd name="T12" fmla="*/ 18 w 129"/>
                <a:gd name="T13" fmla="*/ 21 h 139"/>
                <a:gd name="T14" fmla="*/ 39 w 129"/>
                <a:gd name="T15" fmla="*/ 5 h 139"/>
                <a:gd name="T16" fmla="*/ 66 w 129"/>
                <a:gd name="T17" fmla="*/ 0 h 139"/>
                <a:gd name="T18" fmla="*/ 90 w 129"/>
                <a:gd name="T19" fmla="*/ 4 h 139"/>
                <a:gd name="T20" fmla="*/ 109 w 129"/>
                <a:gd name="T21" fmla="*/ 17 h 139"/>
                <a:gd name="T22" fmla="*/ 121 w 129"/>
                <a:gd name="T23" fmla="*/ 35 h 139"/>
                <a:gd name="T24" fmla="*/ 126 w 129"/>
                <a:gd name="T25" fmla="*/ 56 h 139"/>
                <a:gd name="T26" fmla="*/ 26 w 129"/>
                <a:gd name="T27" fmla="*/ 56 h 139"/>
                <a:gd name="T28" fmla="*/ 29 w 129"/>
                <a:gd name="T29" fmla="*/ 81 h 139"/>
                <a:gd name="T30" fmla="*/ 39 w 129"/>
                <a:gd name="T31" fmla="*/ 101 h 139"/>
                <a:gd name="T32" fmla="*/ 54 w 129"/>
                <a:gd name="T33" fmla="*/ 114 h 139"/>
                <a:gd name="T34" fmla="*/ 73 w 129"/>
                <a:gd name="T35" fmla="*/ 119 h 139"/>
                <a:gd name="T36" fmla="*/ 90 w 129"/>
                <a:gd name="T37" fmla="*/ 116 h 139"/>
                <a:gd name="T38" fmla="*/ 104 w 129"/>
                <a:gd name="T39" fmla="*/ 108 h 139"/>
                <a:gd name="T40" fmla="*/ 115 w 129"/>
                <a:gd name="T41" fmla="*/ 98 h 139"/>
                <a:gd name="T42" fmla="*/ 122 w 129"/>
                <a:gd name="T43" fmla="*/ 86 h 139"/>
                <a:gd name="T44" fmla="*/ 129 w 129"/>
                <a:gd name="T45" fmla="*/ 89 h 139"/>
                <a:gd name="T46" fmla="*/ 120 w 129"/>
                <a:gd name="T47" fmla="*/ 109 h 139"/>
                <a:gd name="T48" fmla="*/ 105 w 129"/>
                <a:gd name="T49" fmla="*/ 124 h 139"/>
                <a:gd name="T50" fmla="*/ 86 w 129"/>
                <a:gd name="T51" fmla="*/ 135 h 139"/>
                <a:gd name="T52" fmla="*/ 66 w 129"/>
                <a:gd name="T53" fmla="*/ 139 h 139"/>
                <a:gd name="T54" fmla="*/ 92 w 129"/>
                <a:gd name="T55" fmla="*/ 45 h 139"/>
                <a:gd name="T56" fmla="*/ 90 w 129"/>
                <a:gd name="T57" fmla="*/ 31 h 139"/>
                <a:gd name="T58" fmla="*/ 82 w 129"/>
                <a:gd name="T59" fmla="*/ 20 h 139"/>
                <a:gd name="T60" fmla="*/ 71 w 129"/>
                <a:gd name="T61" fmla="*/ 12 h 139"/>
                <a:gd name="T62" fmla="*/ 58 w 129"/>
                <a:gd name="T63" fmla="*/ 10 h 139"/>
                <a:gd name="T64" fmla="*/ 46 w 129"/>
                <a:gd name="T65" fmla="*/ 12 h 139"/>
                <a:gd name="T66" fmla="*/ 37 w 129"/>
                <a:gd name="T67" fmla="*/ 20 h 139"/>
                <a:gd name="T68" fmla="*/ 30 w 129"/>
                <a:gd name="T69" fmla="*/ 31 h 139"/>
                <a:gd name="T70" fmla="*/ 26 w 129"/>
                <a:gd name="T71" fmla="*/ 45 h 139"/>
                <a:gd name="T72" fmla="*/ 92 w 129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139">
                  <a:moveTo>
                    <a:pt x="66" y="139"/>
                  </a:moveTo>
                  <a:cubicBezTo>
                    <a:pt x="57" y="139"/>
                    <a:pt x="48" y="137"/>
                    <a:pt x="40" y="134"/>
                  </a:cubicBezTo>
                  <a:cubicBezTo>
                    <a:pt x="33" y="131"/>
                    <a:pt x="26" y="126"/>
                    <a:pt x="20" y="120"/>
                  </a:cubicBezTo>
                  <a:cubicBezTo>
                    <a:pt x="14" y="114"/>
                    <a:pt x="9" y="107"/>
                    <a:pt x="6" y="100"/>
                  </a:cubicBezTo>
                  <a:cubicBezTo>
                    <a:pt x="2" y="92"/>
                    <a:pt x="0" y="83"/>
                    <a:pt x="0" y="74"/>
                  </a:cubicBezTo>
                  <a:cubicBezTo>
                    <a:pt x="0" y="64"/>
                    <a:pt x="2" y="54"/>
                    <a:pt x="5" y="44"/>
                  </a:cubicBezTo>
                  <a:cubicBezTo>
                    <a:pt x="8" y="35"/>
                    <a:pt x="13" y="27"/>
                    <a:pt x="18" y="21"/>
                  </a:cubicBezTo>
                  <a:cubicBezTo>
                    <a:pt x="24" y="14"/>
                    <a:pt x="31" y="9"/>
                    <a:pt x="39" y="5"/>
                  </a:cubicBezTo>
                  <a:cubicBezTo>
                    <a:pt x="47" y="1"/>
                    <a:pt x="56" y="0"/>
                    <a:pt x="66" y="0"/>
                  </a:cubicBezTo>
                  <a:cubicBezTo>
                    <a:pt x="75" y="0"/>
                    <a:pt x="83" y="1"/>
                    <a:pt x="90" y="4"/>
                  </a:cubicBezTo>
                  <a:cubicBezTo>
                    <a:pt x="98" y="7"/>
                    <a:pt x="104" y="11"/>
                    <a:pt x="109" y="17"/>
                  </a:cubicBezTo>
                  <a:cubicBezTo>
                    <a:pt x="114" y="22"/>
                    <a:pt x="118" y="28"/>
                    <a:pt x="121" y="35"/>
                  </a:cubicBezTo>
                  <a:cubicBezTo>
                    <a:pt x="124" y="41"/>
                    <a:pt x="126" y="49"/>
                    <a:pt x="1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65"/>
                    <a:pt x="27" y="73"/>
                    <a:pt x="29" y="81"/>
                  </a:cubicBezTo>
                  <a:cubicBezTo>
                    <a:pt x="32" y="89"/>
                    <a:pt x="35" y="95"/>
                    <a:pt x="39" y="101"/>
                  </a:cubicBezTo>
                  <a:cubicBezTo>
                    <a:pt x="43" y="106"/>
                    <a:pt x="48" y="111"/>
                    <a:pt x="54" y="114"/>
                  </a:cubicBezTo>
                  <a:cubicBezTo>
                    <a:pt x="60" y="117"/>
                    <a:pt x="66" y="119"/>
                    <a:pt x="73" y="119"/>
                  </a:cubicBezTo>
                  <a:cubicBezTo>
                    <a:pt x="79" y="119"/>
                    <a:pt x="84" y="118"/>
                    <a:pt x="90" y="116"/>
                  </a:cubicBezTo>
                  <a:cubicBezTo>
                    <a:pt x="95" y="114"/>
                    <a:pt x="100" y="112"/>
                    <a:pt x="104" y="108"/>
                  </a:cubicBezTo>
                  <a:cubicBezTo>
                    <a:pt x="109" y="105"/>
                    <a:pt x="112" y="102"/>
                    <a:pt x="115" y="98"/>
                  </a:cubicBezTo>
                  <a:cubicBezTo>
                    <a:pt x="118" y="94"/>
                    <a:pt x="120" y="90"/>
                    <a:pt x="122" y="86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7" y="96"/>
                    <a:pt x="124" y="103"/>
                    <a:pt x="120" y="109"/>
                  </a:cubicBezTo>
                  <a:cubicBezTo>
                    <a:pt x="116" y="115"/>
                    <a:pt x="111" y="120"/>
                    <a:pt x="105" y="124"/>
                  </a:cubicBezTo>
                  <a:cubicBezTo>
                    <a:pt x="99" y="129"/>
                    <a:pt x="93" y="132"/>
                    <a:pt x="86" y="135"/>
                  </a:cubicBezTo>
                  <a:cubicBezTo>
                    <a:pt x="80" y="138"/>
                    <a:pt x="73" y="139"/>
                    <a:pt x="66" y="139"/>
                  </a:cubicBezTo>
                  <a:moveTo>
                    <a:pt x="92" y="45"/>
                  </a:moveTo>
                  <a:cubicBezTo>
                    <a:pt x="92" y="40"/>
                    <a:pt x="92" y="36"/>
                    <a:pt x="90" y="31"/>
                  </a:cubicBezTo>
                  <a:cubicBezTo>
                    <a:pt x="88" y="27"/>
                    <a:pt x="85" y="23"/>
                    <a:pt x="82" y="20"/>
                  </a:cubicBezTo>
                  <a:cubicBezTo>
                    <a:pt x="79" y="17"/>
                    <a:pt x="76" y="14"/>
                    <a:pt x="71" y="12"/>
                  </a:cubicBezTo>
                  <a:cubicBezTo>
                    <a:pt x="67" y="10"/>
                    <a:pt x="63" y="10"/>
                    <a:pt x="58" y="10"/>
                  </a:cubicBezTo>
                  <a:cubicBezTo>
                    <a:pt x="54" y="10"/>
                    <a:pt x="50" y="10"/>
                    <a:pt x="46" y="12"/>
                  </a:cubicBezTo>
                  <a:cubicBezTo>
                    <a:pt x="43" y="14"/>
                    <a:pt x="39" y="17"/>
                    <a:pt x="37" y="20"/>
                  </a:cubicBezTo>
                  <a:cubicBezTo>
                    <a:pt x="34" y="23"/>
                    <a:pt x="31" y="27"/>
                    <a:pt x="30" y="31"/>
                  </a:cubicBezTo>
                  <a:cubicBezTo>
                    <a:pt x="28" y="36"/>
                    <a:pt x="26" y="40"/>
                    <a:pt x="26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2" name="Freeform 18"/>
            <p:cNvSpPr>
              <a:spLocks/>
            </p:cNvSpPr>
            <p:nvPr/>
          </p:nvSpPr>
          <p:spPr bwMode="auto">
            <a:xfrm>
              <a:off x="3747" y="3006"/>
              <a:ext cx="265" cy="323"/>
            </a:xfrm>
            <a:custGeom>
              <a:avLst/>
              <a:gdLst>
                <a:gd name="T0" fmla="*/ 0 w 112"/>
                <a:gd name="T1" fmla="*/ 2 h 136"/>
                <a:gd name="T2" fmla="*/ 27 w 112"/>
                <a:gd name="T3" fmla="*/ 2 h 136"/>
                <a:gd name="T4" fmla="*/ 27 w 112"/>
                <a:gd name="T5" fmla="*/ 27 h 136"/>
                <a:gd name="T6" fmla="*/ 52 w 112"/>
                <a:gd name="T7" fmla="*/ 6 h 136"/>
                <a:gd name="T8" fmla="*/ 78 w 112"/>
                <a:gd name="T9" fmla="*/ 0 h 136"/>
                <a:gd name="T10" fmla="*/ 92 w 112"/>
                <a:gd name="T11" fmla="*/ 3 h 136"/>
                <a:gd name="T12" fmla="*/ 102 w 112"/>
                <a:gd name="T13" fmla="*/ 12 h 136"/>
                <a:gd name="T14" fmla="*/ 109 w 112"/>
                <a:gd name="T15" fmla="*/ 24 h 136"/>
                <a:gd name="T16" fmla="*/ 112 w 112"/>
                <a:gd name="T17" fmla="*/ 40 h 136"/>
                <a:gd name="T18" fmla="*/ 112 w 112"/>
                <a:gd name="T19" fmla="*/ 136 h 136"/>
                <a:gd name="T20" fmla="*/ 85 w 112"/>
                <a:gd name="T21" fmla="*/ 136 h 136"/>
                <a:gd name="T22" fmla="*/ 85 w 112"/>
                <a:gd name="T23" fmla="*/ 45 h 136"/>
                <a:gd name="T24" fmla="*/ 80 w 112"/>
                <a:gd name="T25" fmla="*/ 24 h 136"/>
                <a:gd name="T26" fmla="*/ 64 w 112"/>
                <a:gd name="T27" fmla="*/ 18 h 136"/>
                <a:gd name="T28" fmla="*/ 55 w 112"/>
                <a:gd name="T29" fmla="*/ 19 h 136"/>
                <a:gd name="T30" fmla="*/ 46 w 112"/>
                <a:gd name="T31" fmla="*/ 23 h 136"/>
                <a:gd name="T32" fmla="*/ 36 w 112"/>
                <a:gd name="T33" fmla="*/ 29 h 136"/>
                <a:gd name="T34" fmla="*/ 27 w 112"/>
                <a:gd name="T35" fmla="*/ 37 h 136"/>
                <a:gd name="T36" fmla="*/ 27 w 112"/>
                <a:gd name="T37" fmla="*/ 136 h 136"/>
                <a:gd name="T38" fmla="*/ 0 w 112"/>
                <a:gd name="T39" fmla="*/ 136 h 136"/>
                <a:gd name="T40" fmla="*/ 0 w 112"/>
                <a:gd name="T41" fmla="*/ 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" h="136">
                  <a:moveTo>
                    <a:pt x="0" y="2"/>
                  </a:moveTo>
                  <a:cubicBezTo>
                    <a:pt x="27" y="2"/>
                    <a:pt x="27" y="2"/>
                    <a:pt x="27" y="2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5" y="18"/>
                    <a:pt x="43" y="11"/>
                    <a:pt x="52" y="6"/>
                  </a:cubicBezTo>
                  <a:cubicBezTo>
                    <a:pt x="60" y="2"/>
                    <a:pt x="69" y="0"/>
                    <a:pt x="78" y="0"/>
                  </a:cubicBezTo>
                  <a:cubicBezTo>
                    <a:pt x="83" y="0"/>
                    <a:pt x="87" y="1"/>
                    <a:pt x="92" y="3"/>
                  </a:cubicBezTo>
                  <a:cubicBezTo>
                    <a:pt x="96" y="5"/>
                    <a:pt x="99" y="8"/>
                    <a:pt x="102" y="12"/>
                  </a:cubicBezTo>
                  <a:cubicBezTo>
                    <a:pt x="105" y="15"/>
                    <a:pt x="108" y="19"/>
                    <a:pt x="109" y="24"/>
                  </a:cubicBezTo>
                  <a:cubicBezTo>
                    <a:pt x="111" y="29"/>
                    <a:pt x="112" y="35"/>
                    <a:pt x="112" y="40"/>
                  </a:cubicBezTo>
                  <a:cubicBezTo>
                    <a:pt x="112" y="136"/>
                    <a:pt x="112" y="136"/>
                    <a:pt x="112" y="136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36"/>
                    <a:pt x="83" y="29"/>
                    <a:pt x="80" y="24"/>
                  </a:cubicBezTo>
                  <a:cubicBezTo>
                    <a:pt x="76" y="20"/>
                    <a:pt x="70" y="18"/>
                    <a:pt x="64" y="18"/>
                  </a:cubicBezTo>
                  <a:cubicBezTo>
                    <a:pt x="61" y="18"/>
                    <a:pt x="58" y="18"/>
                    <a:pt x="55" y="19"/>
                  </a:cubicBezTo>
                  <a:cubicBezTo>
                    <a:pt x="52" y="20"/>
                    <a:pt x="49" y="21"/>
                    <a:pt x="46" y="23"/>
                  </a:cubicBezTo>
                  <a:cubicBezTo>
                    <a:pt x="42" y="25"/>
                    <a:pt x="39" y="27"/>
                    <a:pt x="36" y="29"/>
                  </a:cubicBezTo>
                  <a:cubicBezTo>
                    <a:pt x="33" y="31"/>
                    <a:pt x="30" y="34"/>
                    <a:pt x="27" y="37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0" y="136"/>
                    <a:pt x="0" y="136"/>
                    <a:pt x="0" y="136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3" name="Freeform 19"/>
            <p:cNvSpPr>
              <a:spLocks noEditPoints="1"/>
            </p:cNvSpPr>
            <p:nvPr/>
          </p:nvSpPr>
          <p:spPr bwMode="auto">
            <a:xfrm>
              <a:off x="4069" y="2849"/>
              <a:ext cx="303" cy="487"/>
            </a:xfrm>
            <a:custGeom>
              <a:avLst/>
              <a:gdLst>
                <a:gd name="T0" fmla="*/ 101 w 128"/>
                <a:gd name="T1" fmla="*/ 189 h 205"/>
                <a:gd name="T2" fmla="*/ 91 w 128"/>
                <a:gd name="T3" fmla="*/ 196 h 205"/>
                <a:gd name="T4" fmla="*/ 80 w 128"/>
                <a:gd name="T5" fmla="*/ 201 h 205"/>
                <a:gd name="T6" fmla="*/ 68 w 128"/>
                <a:gd name="T7" fmla="*/ 204 h 205"/>
                <a:gd name="T8" fmla="*/ 57 w 128"/>
                <a:gd name="T9" fmla="*/ 205 h 205"/>
                <a:gd name="T10" fmla="*/ 35 w 128"/>
                <a:gd name="T11" fmla="*/ 200 h 205"/>
                <a:gd name="T12" fmla="*/ 17 w 128"/>
                <a:gd name="T13" fmla="*/ 185 h 205"/>
                <a:gd name="T14" fmla="*/ 5 w 128"/>
                <a:gd name="T15" fmla="*/ 163 h 205"/>
                <a:gd name="T16" fmla="*/ 0 w 128"/>
                <a:gd name="T17" fmla="*/ 137 h 205"/>
                <a:gd name="T18" fmla="*/ 6 w 128"/>
                <a:gd name="T19" fmla="*/ 110 h 205"/>
                <a:gd name="T20" fmla="*/ 21 w 128"/>
                <a:gd name="T21" fmla="*/ 88 h 205"/>
                <a:gd name="T22" fmla="*/ 43 w 128"/>
                <a:gd name="T23" fmla="*/ 72 h 205"/>
                <a:gd name="T24" fmla="*/ 71 w 128"/>
                <a:gd name="T25" fmla="*/ 66 h 205"/>
                <a:gd name="T26" fmla="*/ 88 w 128"/>
                <a:gd name="T27" fmla="*/ 69 h 205"/>
                <a:gd name="T28" fmla="*/ 101 w 128"/>
                <a:gd name="T29" fmla="*/ 78 h 205"/>
                <a:gd name="T30" fmla="*/ 101 w 128"/>
                <a:gd name="T31" fmla="*/ 7 h 205"/>
                <a:gd name="T32" fmla="*/ 120 w 128"/>
                <a:gd name="T33" fmla="*/ 0 h 205"/>
                <a:gd name="T34" fmla="*/ 128 w 128"/>
                <a:gd name="T35" fmla="*/ 0 h 205"/>
                <a:gd name="T36" fmla="*/ 128 w 128"/>
                <a:gd name="T37" fmla="*/ 205 h 205"/>
                <a:gd name="T38" fmla="*/ 101 w 128"/>
                <a:gd name="T39" fmla="*/ 205 h 205"/>
                <a:gd name="T40" fmla="*/ 101 w 128"/>
                <a:gd name="T41" fmla="*/ 189 h 205"/>
                <a:gd name="T42" fmla="*/ 101 w 128"/>
                <a:gd name="T43" fmla="*/ 111 h 205"/>
                <a:gd name="T44" fmla="*/ 98 w 128"/>
                <a:gd name="T45" fmla="*/ 96 h 205"/>
                <a:gd name="T46" fmla="*/ 91 w 128"/>
                <a:gd name="T47" fmla="*/ 85 h 205"/>
                <a:gd name="T48" fmla="*/ 80 w 128"/>
                <a:gd name="T49" fmla="*/ 78 h 205"/>
                <a:gd name="T50" fmla="*/ 68 w 128"/>
                <a:gd name="T51" fmla="*/ 76 h 205"/>
                <a:gd name="T52" fmla="*/ 53 w 128"/>
                <a:gd name="T53" fmla="*/ 80 h 205"/>
                <a:gd name="T54" fmla="*/ 41 w 128"/>
                <a:gd name="T55" fmla="*/ 91 h 205"/>
                <a:gd name="T56" fmla="*/ 33 w 128"/>
                <a:gd name="T57" fmla="*/ 108 h 205"/>
                <a:gd name="T58" fmla="*/ 30 w 128"/>
                <a:gd name="T59" fmla="*/ 129 h 205"/>
                <a:gd name="T60" fmla="*/ 33 w 128"/>
                <a:gd name="T61" fmla="*/ 153 h 205"/>
                <a:gd name="T62" fmla="*/ 42 w 128"/>
                <a:gd name="T63" fmla="*/ 173 h 205"/>
                <a:gd name="T64" fmla="*/ 55 w 128"/>
                <a:gd name="T65" fmla="*/ 186 h 205"/>
                <a:gd name="T66" fmla="*/ 72 w 128"/>
                <a:gd name="T67" fmla="*/ 191 h 205"/>
                <a:gd name="T68" fmla="*/ 80 w 128"/>
                <a:gd name="T69" fmla="*/ 189 h 205"/>
                <a:gd name="T70" fmla="*/ 88 w 128"/>
                <a:gd name="T71" fmla="*/ 186 h 205"/>
                <a:gd name="T72" fmla="*/ 95 w 128"/>
                <a:gd name="T73" fmla="*/ 182 h 205"/>
                <a:gd name="T74" fmla="*/ 101 w 128"/>
                <a:gd name="T75" fmla="*/ 177 h 205"/>
                <a:gd name="T76" fmla="*/ 101 w 128"/>
                <a:gd name="T77" fmla="*/ 1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8" h="205">
                  <a:moveTo>
                    <a:pt x="101" y="189"/>
                  </a:moveTo>
                  <a:cubicBezTo>
                    <a:pt x="98" y="191"/>
                    <a:pt x="95" y="194"/>
                    <a:pt x="91" y="196"/>
                  </a:cubicBezTo>
                  <a:cubicBezTo>
                    <a:pt x="88" y="198"/>
                    <a:pt x="84" y="199"/>
                    <a:pt x="80" y="201"/>
                  </a:cubicBezTo>
                  <a:cubicBezTo>
                    <a:pt x="76" y="202"/>
                    <a:pt x="72" y="203"/>
                    <a:pt x="68" y="204"/>
                  </a:cubicBezTo>
                  <a:cubicBezTo>
                    <a:pt x="64" y="205"/>
                    <a:pt x="61" y="205"/>
                    <a:pt x="57" y="205"/>
                  </a:cubicBezTo>
                  <a:cubicBezTo>
                    <a:pt x="49" y="205"/>
                    <a:pt x="42" y="203"/>
                    <a:pt x="35" y="200"/>
                  </a:cubicBezTo>
                  <a:cubicBezTo>
                    <a:pt x="28" y="196"/>
                    <a:pt x="22" y="191"/>
                    <a:pt x="17" y="185"/>
                  </a:cubicBezTo>
                  <a:cubicBezTo>
                    <a:pt x="12" y="179"/>
                    <a:pt x="8" y="171"/>
                    <a:pt x="5" y="163"/>
                  </a:cubicBezTo>
                  <a:cubicBezTo>
                    <a:pt x="2" y="155"/>
                    <a:pt x="0" y="146"/>
                    <a:pt x="0" y="137"/>
                  </a:cubicBezTo>
                  <a:cubicBezTo>
                    <a:pt x="0" y="128"/>
                    <a:pt x="2" y="119"/>
                    <a:pt x="6" y="110"/>
                  </a:cubicBezTo>
                  <a:cubicBezTo>
                    <a:pt x="10" y="102"/>
                    <a:pt x="15" y="94"/>
                    <a:pt x="21" y="88"/>
                  </a:cubicBezTo>
                  <a:cubicBezTo>
                    <a:pt x="27" y="81"/>
                    <a:pt x="35" y="76"/>
                    <a:pt x="43" y="72"/>
                  </a:cubicBezTo>
                  <a:cubicBezTo>
                    <a:pt x="52" y="68"/>
                    <a:pt x="61" y="66"/>
                    <a:pt x="71" y="66"/>
                  </a:cubicBezTo>
                  <a:cubicBezTo>
                    <a:pt x="77" y="66"/>
                    <a:pt x="83" y="67"/>
                    <a:pt x="88" y="69"/>
                  </a:cubicBezTo>
                  <a:cubicBezTo>
                    <a:pt x="93" y="71"/>
                    <a:pt x="97" y="74"/>
                    <a:pt x="101" y="7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8" y="205"/>
                    <a:pt x="128" y="205"/>
                    <a:pt x="128" y="205"/>
                  </a:cubicBezTo>
                  <a:cubicBezTo>
                    <a:pt x="101" y="205"/>
                    <a:pt x="101" y="205"/>
                    <a:pt x="101" y="205"/>
                  </a:cubicBezTo>
                  <a:lnTo>
                    <a:pt x="101" y="189"/>
                  </a:lnTo>
                  <a:close/>
                  <a:moveTo>
                    <a:pt x="101" y="111"/>
                  </a:moveTo>
                  <a:cubicBezTo>
                    <a:pt x="101" y="106"/>
                    <a:pt x="100" y="101"/>
                    <a:pt x="98" y="96"/>
                  </a:cubicBezTo>
                  <a:cubicBezTo>
                    <a:pt x="96" y="92"/>
                    <a:pt x="94" y="88"/>
                    <a:pt x="91" y="85"/>
                  </a:cubicBezTo>
                  <a:cubicBezTo>
                    <a:pt x="87" y="82"/>
                    <a:pt x="84" y="80"/>
                    <a:pt x="80" y="78"/>
                  </a:cubicBezTo>
                  <a:cubicBezTo>
                    <a:pt x="76" y="76"/>
                    <a:pt x="72" y="76"/>
                    <a:pt x="68" y="76"/>
                  </a:cubicBezTo>
                  <a:cubicBezTo>
                    <a:pt x="63" y="76"/>
                    <a:pt x="58" y="77"/>
                    <a:pt x="53" y="80"/>
                  </a:cubicBezTo>
                  <a:cubicBezTo>
                    <a:pt x="48" y="82"/>
                    <a:pt x="44" y="86"/>
                    <a:pt x="41" y="91"/>
                  </a:cubicBezTo>
                  <a:cubicBezTo>
                    <a:pt x="37" y="95"/>
                    <a:pt x="35" y="101"/>
                    <a:pt x="33" y="108"/>
                  </a:cubicBezTo>
                  <a:cubicBezTo>
                    <a:pt x="31" y="114"/>
                    <a:pt x="30" y="122"/>
                    <a:pt x="30" y="129"/>
                  </a:cubicBezTo>
                  <a:cubicBezTo>
                    <a:pt x="30" y="138"/>
                    <a:pt x="31" y="146"/>
                    <a:pt x="33" y="153"/>
                  </a:cubicBezTo>
                  <a:cubicBezTo>
                    <a:pt x="35" y="161"/>
                    <a:pt x="38" y="167"/>
                    <a:pt x="42" y="173"/>
                  </a:cubicBezTo>
                  <a:cubicBezTo>
                    <a:pt x="46" y="178"/>
                    <a:pt x="50" y="183"/>
                    <a:pt x="55" y="186"/>
                  </a:cubicBezTo>
                  <a:cubicBezTo>
                    <a:pt x="61" y="189"/>
                    <a:pt x="66" y="191"/>
                    <a:pt x="72" y="191"/>
                  </a:cubicBezTo>
                  <a:cubicBezTo>
                    <a:pt x="75" y="191"/>
                    <a:pt x="77" y="190"/>
                    <a:pt x="80" y="189"/>
                  </a:cubicBezTo>
                  <a:cubicBezTo>
                    <a:pt x="83" y="189"/>
                    <a:pt x="86" y="188"/>
                    <a:pt x="88" y="186"/>
                  </a:cubicBezTo>
                  <a:cubicBezTo>
                    <a:pt x="91" y="185"/>
                    <a:pt x="93" y="184"/>
                    <a:pt x="95" y="182"/>
                  </a:cubicBezTo>
                  <a:cubicBezTo>
                    <a:pt x="98" y="180"/>
                    <a:pt x="99" y="179"/>
                    <a:pt x="101" y="177"/>
                  </a:cubicBezTo>
                  <a:lnTo>
                    <a:pt x="101" y="111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20"/>
            <p:cNvSpPr>
              <a:spLocks noEditPoints="1"/>
            </p:cNvSpPr>
            <p:nvPr/>
          </p:nvSpPr>
          <p:spPr bwMode="auto">
            <a:xfrm>
              <a:off x="4431" y="3006"/>
              <a:ext cx="304" cy="330"/>
            </a:xfrm>
            <a:custGeom>
              <a:avLst/>
              <a:gdLst>
                <a:gd name="T0" fmla="*/ 65 w 128"/>
                <a:gd name="T1" fmla="*/ 139 h 139"/>
                <a:gd name="T2" fmla="*/ 40 w 128"/>
                <a:gd name="T3" fmla="*/ 134 h 139"/>
                <a:gd name="T4" fmla="*/ 19 w 128"/>
                <a:gd name="T5" fmla="*/ 120 h 139"/>
                <a:gd name="T6" fmla="*/ 5 w 128"/>
                <a:gd name="T7" fmla="*/ 100 h 139"/>
                <a:gd name="T8" fmla="*/ 0 w 128"/>
                <a:gd name="T9" fmla="*/ 74 h 139"/>
                <a:gd name="T10" fmla="*/ 4 w 128"/>
                <a:gd name="T11" fmla="*/ 44 h 139"/>
                <a:gd name="T12" fmla="*/ 18 w 128"/>
                <a:gd name="T13" fmla="*/ 21 h 139"/>
                <a:gd name="T14" fmla="*/ 38 w 128"/>
                <a:gd name="T15" fmla="*/ 5 h 139"/>
                <a:gd name="T16" fmla="*/ 65 w 128"/>
                <a:gd name="T17" fmla="*/ 0 h 139"/>
                <a:gd name="T18" fmla="*/ 89 w 128"/>
                <a:gd name="T19" fmla="*/ 4 h 139"/>
                <a:gd name="T20" fmla="*/ 108 w 128"/>
                <a:gd name="T21" fmla="*/ 17 h 139"/>
                <a:gd name="T22" fmla="*/ 120 w 128"/>
                <a:gd name="T23" fmla="*/ 35 h 139"/>
                <a:gd name="T24" fmla="*/ 125 w 128"/>
                <a:gd name="T25" fmla="*/ 56 h 139"/>
                <a:gd name="T26" fmla="*/ 25 w 128"/>
                <a:gd name="T27" fmla="*/ 56 h 139"/>
                <a:gd name="T28" fmla="*/ 28 w 128"/>
                <a:gd name="T29" fmla="*/ 81 h 139"/>
                <a:gd name="T30" fmla="*/ 38 w 128"/>
                <a:gd name="T31" fmla="*/ 101 h 139"/>
                <a:gd name="T32" fmla="*/ 53 w 128"/>
                <a:gd name="T33" fmla="*/ 114 h 139"/>
                <a:gd name="T34" fmla="*/ 72 w 128"/>
                <a:gd name="T35" fmla="*/ 119 h 139"/>
                <a:gd name="T36" fmla="*/ 89 w 128"/>
                <a:gd name="T37" fmla="*/ 116 h 139"/>
                <a:gd name="T38" fmla="*/ 103 w 128"/>
                <a:gd name="T39" fmla="*/ 108 h 139"/>
                <a:gd name="T40" fmla="*/ 114 w 128"/>
                <a:gd name="T41" fmla="*/ 98 h 139"/>
                <a:gd name="T42" fmla="*/ 121 w 128"/>
                <a:gd name="T43" fmla="*/ 86 h 139"/>
                <a:gd name="T44" fmla="*/ 128 w 128"/>
                <a:gd name="T45" fmla="*/ 89 h 139"/>
                <a:gd name="T46" fmla="*/ 119 w 128"/>
                <a:gd name="T47" fmla="*/ 109 h 139"/>
                <a:gd name="T48" fmla="*/ 104 w 128"/>
                <a:gd name="T49" fmla="*/ 124 h 139"/>
                <a:gd name="T50" fmla="*/ 86 w 128"/>
                <a:gd name="T51" fmla="*/ 135 h 139"/>
                <a:gd name="T52" fmla="*/ 65 w 128"/>
                <a:gd name="T53" fmla="*/ 139 h 139"/>
                <a:gd name="T54" fmla="*/ 92 w 128"/>
                <a:gd name="T55" fmla="*/ 45 h 139"/>
                <a:gd name="T56" fmla="*/ 89 w 128"/>
                <a:gd name="T57" fmla="*/ 31 h 139"/>
                <a:gd name="T58" fmla="*/ 81 w 128"/>
                <a:gd name="T59" fmla="*/ 20 h 139"/>
                <a:gd name="T60" fmla="*/ 70 w 128"/>
                <a:gd name="T61" fmla="*/ 12 h 139"/>
                <a:gd name="T62" fmla="*/ 57 w 128"/>
                <a:gd name="T63" fmla="*/ 10 h 139"/>
                <a:gd name="T64" fmla="*/ 45 w 128"/>
                <a:gd name="T65" fmla="*/ 12 h 139"/>
                <a:gd name="T66" fmla="*/ 36 w 128"/>
                <a:gd name="T67" fmla="*/ 20 h 139"/>
                <a:gd name="T68" fmla="*/ 29 w 128"/>
                <a:gd name="T69" fmla="*/ 31 h 139"/>
                <a:gd name="T70" fmla="*/ 25 w 128"/>
                <a:gd name="T71" fmla="*/ 45 h 139"/>
                <a:gd name="T72" fmla="*/ 92 w 128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8" h="139">
                  <a:moveTo>
                    <a:pt x="65" y="139"/>
                  </a:moveTo>
                  <a:cubicBezTo>
                    <a:pt x="56" y="139"/>
                    <a:pt x="47" y="137"/>
                    <a:pt x="40" y="134"/>
                  </a:cubicBezTo>
                  <a:cubicBezTo>
                    <a:pt x="32" y="131"/>
                    <a:pt x="25" y="126"/>
                    <a:pt x="19" y="120"/>
                  </a:cubicBezTo>
                  <a:cubicBezTo>
                    <a:pt x="13" y="114"/>
                    <a:pt x="8" y="107"/>
                    <a:pt x="5" y="100"/>
                  </a:cubicBezTo>
                  <a:cubicBezTo>
                    <a:pt x="1" y="92"/>
                    <a:pt x="0" y="83"/>
                    <a:pt x="0" y="74"/>
                  </a:cubicBezTo>
                  <a:cubicBezTo>
                    <a:pt x="0" y="64"/>
                    <a:pt x="1" y="54"/>
                    <a:pt x="4" y="44"/>
                  </a:cubicBezTo>
                  <a:cubicBezTo>
                    <a:pt x="7" y="35"/>
                    <a:pt x="12" y="27"/>
                    <a:pt x="18" y="21"/>
                  </a:cubicBezTo>
                  <a:cubicBezTo>
                    <a:pt x="23" y="14"/>
                    <a:pt x="30" y="9"/>
                    <a:pt x="38" y="5"/>
                  </a:cubicBezTo>
                  <a:cubicBezTo>
                    <a:pt x="46" y="1"/>
                    <a:pt x="55" y="0"/>
                    <a:pt x="65" y="0"/>
                  </a:cubicBezTo>
                  <a:cubicBezTo>
                    <a:pt x="74" y="0"/>
                    <a:pt x="82" y="1"/>
                    <a:pt x="89" y="4"/>
                  </a:cubicBezTo>
                  <a:cubicBezTo>
                    <a:pt x="97" y="7"/>
                    <a:pt x="103" y="11"/>
                    <a:pt x="108" y="17"/>
                  </a:cubicBezTo>
                  <a:cubicBezTo>
                    <a:pt x="113" y="22"/>
                    <a:pt x="117" y="28"/>
                    <a:pt x="120" y="35"/>
                  </a:cubicBezTo>
                  <a:cubicBezTo>
                    <a:pt x="123" y="41"/>
                    <a:pt x="125" y="49"/>
                    <a:pt x="1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65"/>
                    <a:pt x="26" y="73"/>
                    <a:pt x="28" y="81"/>
                  </a:cubicBezTo>
                  <a:cubicBezTo>
                    <a:pt x="31" y="89"/>
                    <a:pt x="34" y="95"/>
                    <a:pt x="38" y="101"/>
                  </a:cubicBezTo>
                  <a:cubicBezTo>
                    <a:pt x="42" y="106"/>
                    <a:pt x="47" y="111"/>
                    <a:pt x="53" y="114"/>
                  </a:cubicBezTo>
                  <a:cubicBezTo>
                    <a:pt x="59" y="117"/>
                    <a:pt x="65" y="119"/>
                    <a:pt x="72" y="119"/>
                  </a:cubicBezTo>
                  <a:cubicBezTo>
                    <a:pt x="78" y="119"/>
                    <a:pt x="83" y="118"/>
                    <a:pt x="89" y="116"/>
                  </a:cubicBezTo>
                  <a:cubicBezTo>
                    <a:pt x="94" y="114"/>
                    <a:pt x="99" y="112"/>
                    <a:pt x="103" y="108"/>
                  </a:cubicBezTo>
                  <a:cubicBezTo>
                    <a:pt x="108" y="105"/>
                    <a:pt x="111" y="102"/>
                    <a:pt x="114" y="98"/>
                  </a:cubicBezTo>
                  <a:cubicBezTo>
                    <a:pt x="117" y="94"/>
                    <a:pt x="120" y="90"/>
                    <a:pt x="121" y="86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6" y="96"/>
                    <a:pt x="123" y="103"/>
                    <a:pt x="119" y="109"/>
                  </a:cubicBezTo>
                  <a:cubicBezTo>
                    <a:pt x="115" y="115"/>
                    <a:pt x="110" y="120"/>
                    <a:pt x="104" y="124"/>
                  </a:cubicBezTo>
                  <a:cubicBezTo>
                    <a:pt x="98" y="129"/>
                    <a:pt x="92" y="132"/>
                    <a:pt x="86" y="135"/>
                  </a:cubicBezTo>
                  <a:cubicBezTo>
                    <a:pt x="79" y="138"/>
                    <a:pt x="72" y="139"/>
                    <a:pt x="65" y="139"/>
                  </a:cubicBezTo>
                  <a:moveTo>
                    <a:pt x="92" y="45"/>
                  </a:moveTo>
                  <a:cubicBezTo>
                    <a:pt x="92" y="40"/>
                    <a:pt x="91" y="36"/>
                    <a:pt x="89" y="31"/>
                  </a:cubicBezTo>
                  <a:cubicBezTo>
                    <a:pt x="87" y="27"/>
                    <a:pt x="85" y="23"/>
                    <a:pt x="81" y="20"/>
                  </a:cubicBezTo>
                  <a:cubicBezTo>
                    <a:pt x="78" y="17"/>
                    <a:pt x="75" y="14"/>
                    <a:pt x="70" y="12"/>
                  </a:cubicBezTo>
                  <a:cubicBezTo>
                    <a:pt x="66" y="10"/>
                    <a:pt x="62" y="10"/>
                    <a:pt x="57" y="10"/>
                  </a:cubicBezTo>
                  <a:cubicBezTo>
                    <a:pt x="53" y="10"/>
                    <a:pt x="49" y="10"/>
                    <a:pt x="45" y="12"/>
                  </a:cubicBezTo>
                  <a:cubicBezTo>
                    <a:pt x="42" y="14"/>
                    <a:pt x="39" y="17"/>
                    <a:pt x="36" y="20"/>
                  </a:cubicBezTo>
                  <a:cubicBezTo>
                    <a:pt x="33" y="23"/>
                    <a:pt x="31" y="27"/>
                    <a:pt x="29" y="31"/>
                  </a:cubicBezTo>
                  <a:cubicBezTo>
                    <a:pt x="27" y="36"/>
                    <a:pt x="26" y="40"/>
                    <a:pt x="25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21"/>
            <p:cNvSpPr>
              <a:spLocks noEditPoints="1"/>
            </p:cNvSpPr>
            <p:nvPr/>
          </p:nvSpPr>
          <p:spPr bwMode="auto">
            <a:xfrm>
              <a:off x="4780" y="2849"/>
              <a:ext cx="301" cy="487"/>
            </a:xfrm>
            <a:custGeom>
              <a:avLst/>
              <a:gdLst>
                <a:gd name="T0" fmla="*/ 101 w 127"/>
                <a:gd name="T1" fmla="*/ 189 h 205"/>
                <a:gd name="T2" fmla="*/ 91 w 127"/>
                <a:gd name="T3" fmla="*/ 196 h 205"/>
                <a:gd name="T4" fmla="*/ 80 w 127"/>
                <a:gd name="T5" fmla="*/ 201 h 205"/>
                <a:gd name="T6" fmla="*/ 68 w 127"/>
                <a:gd name="T7" fmla="*/ 204 h 205"/>
                <a:gd name="T8" fmla="*/ 57 w 127"/>
                <a:gd name="T9" fmla="*/ 205 h 205"/>
                <a:gd name="T10" fmla="*/ 34 w 127"/>
                <a:gd name="T11" fmla="*/ 200 h 205"/>
                <a:gd name="T12" fmla="*/ 16 w 127"/>
                <a:gd name="T13" fmla="*/ 185 h 205"/>
                <a:gd name="T14" fmla="*/ 4 w 127"/>
                <a:gd name="T15" fmla="*/ 163 h 205"/>
                <a:gd name="T16" fmla="*/ 0 w 127"/>
                <a:gd name="T17" fmla="*/ 137 h 205"/>
                <a:gd name="T18" fmla="*/ 6 w 127"/>
                <a:gd name="T19" fmla="*/ 110 h 205"/>
                <a:gd name="T20" fmla="*/ 21 w 127"/>
                <a:gd name="T21" fmla="*/ 88 h 205"/>
                <a:gd name="T22" fmla="*/ 43 w 127"/>
                <a:gd name="T23" fmla="*/ 72 h 205"/>
                <a:gd name="T24" fmla="*/ 70 w 127"/>
                <a:gd name="T25" fmla="*/ 66 h 205"/>
                <a:gd name="T26" fmla="*/ 87 w 127"/>
                <a:gd name="T27" fmla="*/ 69 h 205"/>
                <a:gd name="T28" fmla="*/ 101 w 127"/>
                <a:gd name="T29" fmla="*/ 78 h 205"/>
                <a:gd name="T30" fmla="*/ 101 w 127"/>
                <a:gd name="T31" fmla="*/ 7 h 205"/>
                <a:gd name="T32" fmla="*/ 119 w 127"/>
                <a:gd name="T33" fmla="*/ 0 h 205"/>
                <a:gd name="T34" fmla="*/ 127 w 127"/>
                <a:gd name="T35" fmla="*/ 0 h 205"/>
                <a:gd name="T36" fmla="*/ 127 w 127"/>
                <a:gd name="T37" fmla="*/ 205 h 205"/>
                <a:gd name="T38" fmla="*/ 101 w 127"/>
                <a:gd name="T39" fmla="*/ 205 h 205"/>
                <a:gd name="T40" fmla="*/ 101 w 127"/>
                <a:gd name="T41" fmla="*/ 189 h 205"/>
                <a:gd name="T42" fmla="*/ 101 w 127"/>
                <a:gd name="T43" fmla="*/ 111 h 205"/>
                <a:gd name="T44" fmla="*/ 98 w 127"/>
                <a:gd name="T45" fmla="*/ 96 h 205"/>
                <a:gd name="T46" fmla="*/ 90 w 127"/>
                <a:gd name="T47" fmla="*/ 85 h 205"/>
                <a:gd name="T48" fmla="*/ 79 w 127"/>
                <a:gd name="T49" fmla="*/ 78 h 205"/>
                <a:gd name="T50" fmla="*/ 67 w 127"/>
                <a:gd name="T51" fmla="*/ 76 h 205"/>
                <a:gd name="T52" fmla="*/ 53 w 127"/>
                <a:gd name="T53" fmla="*/ 80 h 205"/>
                <a:gd name="T54" fmla="*/ 40 w 127"/>
                <a:gd name="T55" fmla="*/ 91 h 205"/>
                <a:gd name="T56" fmla="*/ 32 w 127"/>
                <a:gd name="T57" fmla="*/ 108 h 205"/>
                <a:gd name="T58" fmla="*/ 29 w 127"/>
                <a:gd name="T59" fmla="*/ 129 h 205"/>
                <a:gd name="T60" fmla="*/ 33 w 127"/>
                <a:gd name="T61" fmla="*/ 153 h 205"/>
                <a:gd name="T62" fmla="*/ 42 w 127"/>
                <a:gd name="T63" fmla="*/ 173 h 205"/>
                <a:gd name="T64" fmla="*/ 55 w 127"/>
                <a:gd name="T65" fmla="*/ 186 h 205"/>
                <a:gd name="T66" fmla="*/ 71 w 127"/>
                <a:gd name="T67" fmla="*/ 191 h 205"/>
                <a:gd name="T68" fmla="*/ 80 w 127"/>
                <a:gd name="T69" fmla="*/ 189 h 205"/>
                <a:gd name="T70" fmla="*/ 88 w 127"/>
                <a:gd name="T71" fmla="*/ 186 h 205"/>
                <a:gd name="T72" fmla="*/ 95 w 127"/>
                <a:gd name="T73" fmla="*/ 182 h 205"/>
                <a:gd name="T74" fmla="*/ 101 w 127"/>
                <a:gd name="T75" fmla="*/ 177 h 205"/>
                <a:gd name="T76" fmla="*/ 101 w 127"/>
                <a:gd name="T77" fmla="*/ 1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7" h="205">
                  <a:moveTo>
                    <a:pt x="101" y="189"/>
                  </a:moveTo>
                  <a:cubicBezTo>
                    <a:pt x="98" y="191"/>
                    <a:pt x="94" y="194"/>
                    <a:pt x="91" y="196"/>
                  </a:cubicBezTo>
                  <a:cubicBezTo>
                    <a:pt x="87" y="198"/>
                    <a:pt x="83" y="199"/>
                    <a:pt x="80" y="201"/>
                  </a:cubicBezTo>
                  <a:cubicBezTo>
                    <a:pt x="76" y="202"/>
                    <a:pt x="72" y="203"/>
                    <a:pt x="68" y="204"/>
                  </a:cubicBezTo>
                  <a:cubicBezTo>
                    <a:pt x="64" y="205"/>
                    <a:pt x="60" y="205"/>
                    <a:pt x="57" y="205"/>
                  </a:cubicBezTo>
                  <a:cubicBezTo>
                    <a:pt x="49" y="205"/>
                    <a:pt x="41" y="203"/>
                    <a:pt x="34" y="200"/>
                  </a:cubicBezTo>
                  <a:cubicBezTo>
                    <a:pt x="28" y="196"/>
                    <a:pt x="22" y="191"/>
                    <a:pt x="16" y="185"/>
                  </a:cubicBezTo>
                  <a:cubicBezTo>
                    <a:pt x="11" y="179"/>
                    <a:pt x="7" y="171"/>
                    <a:pt x="4" y="163"/>
                  </a:cubicBezTo>
                  <a:cubicBezTo>
                    <a:pt x="1" y="155"/>
                    <a:pt x="0" y="146"/>
                    <a:pt x="0" y="137"/>
                  </a:cubicBezTo>
                  <a:cubicBezTo>
                    <a:pt x="0" y="128"/>
                    <a:pt x="2" y="119"/>
                    <a:pt x="6" y="110"/>
                  </a:cubicBezTo>
                  <a:cubicBezTo>
                    <a:pt x="9" y="102"/>
                    <a:pt x="14" y="94"/>
                    <a:pt x="21" y="88"/>
                  </a:cubicBezTo>
                  <a:cubicBezTo>
                    <a:pt x="27" y="81"/>
                    <a:pt x="34" y="76"/>
                    <a:pt x="43" y="72"/>
                  </a:cubicBezTo>
                  <a:cubicBezTo>
                    <a:pt x="51" y="68"/>
                    <a:pt x="60" y="66"/>
                    <a:pt x="70" y="66"/>
                  </a:cubicBezTo>
                  <a:cubicBezTo>
                    <a:pt x="77" y="66"/>
                    <a:pt x="82" y="67"/>
                    <a:pt x="87" y="69"/>
                  </a:cubicBezTo>
                  <a:cubicBezTo>
                    <a:pt x="92" y="71"/>
                    <a:pt x="97" y="74"/>
                    <a:pt x="101" y="7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7" y="205"/>
                    <a:pt x="127" y="205"/>
                    <a:pt x="127" y="205"/>
                  </a:cubicBezTo>
                  <a:cubicBezTo>
                    <a:pt x="101" y="205"/>
                    <a:pt x="101" y="205"/>
                    <a:pt x="101" y="205"/>
                  </a:cubicBezTo>
                  <a:lnTo>
                    <a:pt x="101" y="189"/>
                  </a:lnTo>
                  <a:close/>
                  <a:moveTo>
                    <a:pt x="101" y="111"/>
                  </a:moveTo>
                  <a:cubicBezTo>
                    <a:pt x="101" y="106"/>
                    <a:pt x="100" y="101"/>
                    <a:pt x="98" y="96"/>
                  </a:cubicBezTo>
                  <a:cubicBezTo>
                    <a:pt x="96" y="92"/>
                    <a:pt x="93" y="88"/>
                    <a:pt x="90" y="85"/>
                  </a:cubicBezTo>
                  <a:cubicBezTo>
                    <a:pt x="87" y="82"/>
                    <a:pt x="83" y="80"/>
                    <a:pt x="79" y="78"/>
                  </a:cubicBezTo>
                  <a:cubicBezTo>
                    <a:pt x="76" y="76"/>
                    <a:pt x="71" y="76"/>
                    <a:pt x="67" y="76"/>
                  </a:cubicBezTo>
                  <a:cubicBezTo>
                    <a:pt x="62" y="76"/>
                    <a:pt x="57" y="77"/>
                    <a:pt x="53" y="80"/>
                  </a:cubicBezTo>
                  <a:cubicBezTo>
                    <a:pt x="48" y="82"/>
                    <a:pt x="44" y="86"/>
                    <a:pt x="40" y="91"/>
                  </a:cubicBezTo>
                  <a:cubicBezTo>
                    <a:pt x="37" y="95"/>
                    <a:pt x="34" y="101"/>
                    <a:pt x="32" y="108"/>
                  </a:cubicBezTo>
                  <a:cubicBezTo>
                    <a:pt x="30" y="114"/>
                    <a:pt x="29" y="122"/>
                    <a:pt x="29" y="129"/>
                  </a:cubicBezTo>
                  <a:cubicBezTo>
                    <a:pt x="29" y="138"/>
                    <a:pt x="30" y="146"/>
                    <a:pt x="33" y="153"/>
                  </a:cubicBezTo>
                  <a:cubicBezTo>
                    <a:pt x="35" y="161"/>
                    <a:pt x="38" y="167"/>
                    <a:pt x="42" y="173"/>
                  </a:cubicBezTo>
                  <a:cubicBezTo>
                    <a:pt x="45" y="178"/>
                    <a:pt x="50" y="183"/>
                    <a:pt x="55" y="186"/>
                  </a:cubicBezTo>
                  <a:cubicBezTo>
                    <a:pt x="60" y="189"/>
                    <a:pt x="66" y="191"/>
                    <a:pt x="71" y="191"/>
                  </a:cubicBezTo>
                  <a:cubicBezTo>
                    <a:pt x="74" y="191"/>
                    <a:pt x="77" y="190"/>
                    <a:pt x="80" y="189"/>
                  </a:cubicBezTo>
                  <a:cubicBezTo>
                    <a:pt x="83" y="189"/>
                    <a:pt x="85" y="188"/>
                    <a:pt x="88" y="186"/>
                  </a:cubicBezTo>
                  <a:cubicBezTo>
                    <a:pt x="90" y="185"/>
                    <a:pt x="93" y="184"/>
                    <a:pt x="95" y="182"/>
                  </a:cubicBezTo>
                  <a:cubicBezTo>
                    <a:pt x="97" y="180"/>
                    <a:pt x="99" y="179"/>
                    <a:pt x="101" y="177"/>
                  </a:cubicBezTo>
                  <a:lnTo>
                    <a:pt x="101" y="111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22"/>
            <p:cNvSpPr>
              <a:spLocks/>
            </p:cNvSpPr>
            <p:nvPr/>
          </p:nvSpPr>
          <p:spPr bwMode="auto">
            <a:xfrm>
              <a:off x="2515" y="3463"/>
              <a:ext cx="201" cy="432"/>
            </a:xfrm>
            <a:custGeom>
              <a:avLst/>
              <a:gdLst>
                <a:gd name="T0" fmla="*/ 85 w 85"/>
                <a:gd name="T1" fmla="*/ 163 h 182"/>
                <a:gd name="T2" fmla="*/ 71 w 85"/>
                <a:gd name="T3" fmla="*/ 177 h 182"/>
                <a:gd name="T4" fmla="*/ 50 w 85"/>
                <a:gd name="T5" fmla="*/ 182 h 182"/>
                <a:gd name="T6" fmla="*/ 38 w 85"/>
                <a:gd name="T7" fmla="*/ 180 h 182"/>
                <a:gd name="T8" fmla="*/ 30 w 85"/>
                <a:gd name="T9" fmla="*/ 174 h 182"/>
                <a:gd name="T10" fmla="*/ 25 w 85"/>
                <a:gd name="T11" fmla="*/ 164 h 182"/>
                <a:gd name="T12" fmla="*/ 23 w 85"/>
                <a:gd name="T13" fmla="*/ 151 h 182"/>
                <a:gd name="T14" fmla="*/ 23 w 85"/>
                <a:gd name="T15" fmla="*/ 57 h 182"/>
                <a:gd name="T16" fmla="*/ 0 w 85"/>
                <a:gd name="T17" fmla="*/ 57 h 182"/>
                <a:gd name="T18" fmla="*/ 0 w 85"/>
                <a:gd name="T19" fmla="*/ 51 h 182"/>
                <a:gd name="T20" fmla="*/ 19 w 85"/>
                <a:gd name="T21" fmla="*/ 46 h 182"/>
                <a:gd name="T22" fmla="*/ 30 w 85"/>
                <a:gd name="T23" fmla="*/ 36 h 182"/>
                <a:gd name="T24" fmla="*/ 38 w 85"/>
                <a:gd name="T25" fmla="*/ 19 h 182"/>
                <a:gd name="T26" fmla="*/ 42 w 85"/>
                <a:gd name="T27" fmla="*/ 0 h 182"/>
                <a:gd name="T28" fmla="*/ 50 w 85"/>
                <a:gd name="T29" fmla="*/ 0 h 182"/>
                <a:gd name="T30" fmla="*/ 50 w 85"/>
                <a:gd name="T31" fmla="*/ 46 h 182"/>
                <a:gd name="T32" fmla="*/ 80 w 85"/>
                <a:gd name="T33" fmla="*/ 46 h 182"/>
                <a:gd name="T34" fmla="*/ 80 w 85"/>
                <a:gd name="T35" fmla="*/ 57 h 182"/>
                <a:gd name="T36" fmla="*/ 50 w 85"/>
                <a:gd name="T37" fmla="*/ 57 h 182"/>
                <a:gd name="T38" fmla="*/ 50 w 85"/>
                <a:gd name="T39" fmla="*/ 151 h 182"/>
                <a:gd name="T40" fmla="*/ 54 w 85"/>
                <a:gd name="T41" fmla="*/ 161 h 182"/>
                <a:gd name="T42" fmla="*/ 64 w 85"/>
                <a:gd name="T43" fmla="*/ 166 h 182"/>
                <a:gd name="T44" fmla="*/ 73 w 85"/>
                <a:gd name="T45" fmla="*/ 163 h 182"/>
                <a:gd name="T46" fmla="*/ 79 w 85"/>
                <a:gd name="T47" fmla="*/ 158 h 182"/>
                <a:gd name="T48" fmla="*/ 85 w 85"/>
                <a:gd name="T49" fmla="*/ 16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5" h="182">
                  <a:moveTo>
                    <a:pt x="85" y="163"/>
                  </a:moveTo>
                  <a:cubicBezTo>
                    <a:pt x="82" y="169"/>
                    <a:pt x="77" y="174"/>
                    <a:pt x="71" y="177"/>
                  </a:cubicBezTo>
                  <a:cubicBezTo>
                    <a:pt x="65" y="181"/>
                    <a:pt x="58" y="182"/>
                    <a:pt x="50" y="182"/>
                  </a:cubicBezTo>
                  <a:cubicBezTo>
                    <a:pt x="45" y="182"/>
                    <a:pt x="41" y="182"/>
                    <a:pt x="38" y="180"/>
                  </a:cubicBezTo>
                  <a:cubicBezTo>
                    <a:pt x="35" y="179"/>
                    <a:pt x="32" y="177"/>
                    <a:pt x="30" y="174"/>
                  </a:cubicBezTo>
                  <a:cubicBezTo>
                    <a:pt x="28" y="171"/>
                    <a:pt x="26" y="168"/>
                    <a:pt x="25" y="164"/>
                  </a:cubicBezTo>
                  <a:cubicBezTo>
                    <a:pt x="24" y="160"/>
                    <a:pt x="23" y="156"/>
                    <a:pt x="23" y="151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8" y="51"/>
                    <a:pt x="14" y="49"/>
                    <a:pt x="19" y="46"/>
                  </a:cubicBezTo>
                  <a:cubicBezTo>
                    <a:pt x="23" y="44"/>
                    <a:pt x="27" y="40"/>
                    <a:pt x="30" y="36"/>
                  </a:cubicBezTo>
                  <a:cubicBezTo>
                    <a:pt x="34" y="31"/>
                    <a:pt x="36" y="25"/>
                    <a:pt x="38" y="19"/>
                  </a:cubicBezTo>
                  <a:cubicBezTo>
                    <a:pt x="39" y="13"/>
                    <a:pt x="41" y="7"/>
                    <a:pt x="4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50" y="155"/>
                    <a:pt x="51" y="159"/>
                    <a:pt x="54" y="161"/>
                  </a:cubicBezTo>
                  <a:cubicBezTo>
                    <a:pt x="57" y="164"/>
                    <a:pt x="60" y="166"/>
                    <a:pt x="64" y="166"/>
                  </a:cubicBezTo>
                  <a:cubicBezTo>
                    <a:pt x="67" y="166"/>
                    <a:pt x="70" y="165"/>
                    <a:pt x="73" y="163"/>
                  </a:cubicBezTo>
                  <a:cubicBezTo>
                    <a:pt x="75" y="162"/>
                    <a:pt x="77" y="160"/>
                    <a:pt x="79" y="158"/>
                  </a:cubicBezTo>
                  <a:lnTo>
                    <a:pt x="85" y="163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7" name="Freeform 23"/>
            <p:cNvSpPr>
              <a:spLocks noEditPoints="1"/>
            </p:cNvSpPr>
            <p:nvPr/>
          </p:nvSpPr>
          <p:spPr bwMode="auto">
            <a:xfrm>
              <a:off x="2742" y="3565"/>
              <a:ext cx="334" cy="330"/>
            </a:xfrm>
            <a:custGeom>
              <a:avLst/>
              <a:gdLst>
                <a:gd name="T0" fmla="*/ 71 w 141"/>
                <a:gd name="T1" fmla="*/ 139 h 139"/>
                <a:gd name="T2" fmla="*/ 42 w 141"/>
                <a:gd name="T3" fmla="*/ 134 h 139"/>
                <a:gd name="T4" fmla="*/ 20 w 141"/>
                <a:gd name="T5" fmla="*/ 119 h 139"/>
                <a:gd name="T6" fmla="*/ 5 w 141"/>
                <a:gd name="T7" fmla="*/ 98 h 139"/>
                <a:gd name="T8" fmla="*/ 0 w 141"/>
                <a:gd name="T9" fmla="*/ 71 h 139"/>
                <a:gd name="T10" fmla="*/ 5 w 141"/>
                <a:gd name="T11" fmla="*/ 44 h 139"/>
                <a:gd name="T12" fmla="*/ 20 w 141"/>
                <a:gd name="T13" fmla="*/ 21 h 139"/>
                <a:gd name="T14" fmla="*/ 42 w 141"/>
                <a:gd name="T15" fmla="*/ 6 h 139"/>
                <a:gd name="T16" fmla="*/ 71 w 141"/>
                <a:gd name="T17" fmla="*/ 0 h 139"/>
                <a:gd name="T18" fmla="*/ 99 w 141"/>
                <a:gd name="T19" fmla="*/ 5 h 139"/>
                <a:gd name="T20" fmla="*/ 121 w 141"/>
                <a:gd name="T21" fmla="*/ 19 h 139"/>
                <a:gd name="T22" fmla="*/ 136 w 141"/>
                <a:gd name="T23" fmla="*/ 40 h 139"/>
                <a:gd name="T24" fmla="*/ 141 w 141"/>
                <a:gd name="T25" fmla="*/ 66 h 139"/>
                <a:gd name="T26" fmla="*/ 136 w 141"/>
                <a:gd name="T27" fmla="*/ 94 h 139"/>
                <a:gd name="T28" fmla="*/ 121 w 141"/>
                <a:gd name="T29" fmla="*/ 118 h 139"/>
                <a:gd name="T30" fmla="*/ 99 w 141"/>
                <a:gd name="T31" fmla="*/ 134 h 139"/>
                <a:gd name="T32" fmla="*/ 71 w 141"/>
                <a:gd name="T33" fmla="*/ 139 h 139"/>
                <a:gd name="T34" fmla="*/ 76 w 141"/>
                <a:gd name="T35" fmla="*/ 129 h 139"/>
                <a:gd name="T36" fmla="*/ 90 w 141"/>
                <a:gd name="T37" fmla="*/ 125 h 139"/>
                <a:gd name="T38" fmla="*/ 101 w 141"/>
                <a:gd name="T39" fmla="*/ 115 h 139"/>
                <a:gd name="T40" fmla="*/ 109 w 141"/>
                <a:gd name="T41" fmla="*/ 99 h 139"/>
                <a:gd name="T42" fmla="*/ 111 w 141"/>
                <a:gd name="T43" fmla="*/ 80 h 139"/>
                <a:gd name="T44" fmla="*/ 109 w 141"/>
                <a:gd name="T45" fmla="*/ 52 h 139"/>
                <a:gd name="T46" fmla="*/ 101 w 141"/>
                <a:gd name="T47" fmla="*/ 30 h 139"/>
                <a:gd name="T48" fmla="*/ 86 w 141"/>
                <a:gd name="T49" fmla="*/ 15 h 139"/>
                <a:gd name="T50" fmla="*/ 64 w 141"/>
                <a:gd name="T51" fmla="*/ 10 h 139"/>
                <a:gd name="T52" fmla="*/ 51 w 141"/>
                <a:gd name="T53" fmla="*/ 14 h 139"/>
                <a:gd name="T54" fmla="*/ 40 w 141"/>
                <a:gd name="T55" fmla="*/ 24 h 139"/>
                <a:gd name="T56" fmla="*/ 33 w 141"/>
                <a:gd name="T57" fmla="*/ 40 h 139"/>
                <a:gd name="T58" fmla="*/ 30 w 141"/>
                <a:gd name="T59" fmla="*/ 59 h 139"/>
                <a:gd name="T60" fmla="*/ 33 w 141"/>
                <a:gd name="T61" fmla="*/ 87 h 139"/>
                <a:gd name="T62" fmla="*/ 42 w 141"/>
                <a:gd name="T63" fmla="*/ 109 h 139"/>
                <a:gd name="T64" fmla="*/ 56 w 141"/>
                <a:gd name="T65" fmla="*/ 124 h 139"/>
                <a:gd name="T66" fmla="*/ 76 w 141"/>
                <a:gd name="T67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1" h="139">
                  <a:moveTo>
                    <a:pt x="71" y="139"/>
                  </a:moveTo>
                  <a:cubicBezTo>
                    <a:pt x="60" y="139"/>
                    <a:pt x="51" y="138"/>
                    <a:pt x="42" y="134"/>
                  </a:cubicBezTo>
                  <a:cubicBezTo>
                    <a:pt x="34" y="131"/>
                    <a:pt x="26" y="126"/>
                    <a:pt x="20" y="119"/>
                  </a:cubicBezTo>
                  <a:cubicBezTo>
                    <a:pt x="14" y="113"/>
                    <a:pt x="9" y="106"/>
                    <a:pt x="5" y="98"/>
                  </a:cubicBezTo>
                  <a:cubicBezTo>
                    <a:pt x="2" y="90"/>
                    <a:pt x="0" y="81"/>
                    <a:pt x="0" y="71"/>
                  </a:cubicBezTo>
                  <a:cubicBezTo>
                    <a:pt x="0" y="61"/>
                    <a:pt x="2" y="52"/>
                    <a:pt x="5" y="44"/>
                  </a:cubicBezTo>
                  <a:cubicBezTo>
                    <a:pt x="9" y="35"/>
                    <a:pt x="14" y="27"/>
                    <a:pt x="20" y="21"/>
                  </a:cubicBezTo>
                  <a:cubicBezTo>
                    <a:pt x="26" y="15"/>
                    <a:pt x="34" y="9"/>
                    <a:pt x="42" y="6"/>
                  </a:cubicBezTo>
                  <a:cubicBezTo>
                    <a:pt x="51" y="2"/>
                    <a:pt x="60" y="0"/>
                    <a:pt x="71" y="0"/>
                  </a:cubicBezTo>
                  <a:cubicBezTo>
                    <a:pt x="81" y="0"/>
                    <a:pt x="90" y="2"/>
                    <a:pt x="99" y="5"/>
                  </a:cubicBezTo>
                  <a:cubicBezTo>
                    <a:pt x="108" y="9"/>
                    <a:pt x="115" y="13"/>
                    <a:pt x="121" y="19"/>
                  </a:cubicBezTo>
                  <a:cubicBezTo>
                    <a:pt x="128" y="25"/>
                    <a:pt x="133" y="32"/>
                    <a:pt x="136" y="40"/>
                  </a:cubicBezTo>
                  <a:cubicBezTo>
                    <a:pt x="140" y="48"/>
                    <a:pt x="141" y="57"/>
                    <a:pt x="141" y="66"/>
                  </a:cubicBezTo>
                  <a:cubicBezTo>
                    <a:pt x="141" y="76"/>
                    <a:pt x="140" y="85"/>
                    <a:pt x="136" y="94"/>
                  </a:cubicBezTo>
                  <a:cubicBezTo>
                    <a:pt x="133" y="103"/>
                    <a:pt x="128" y="111"/>
                    <a:pt x="121" y="118"/>
                  </a:cubicBezTo>
                  <a:cubicBezTo>
                    <a:pt x="115" y="124"/>
                    <a:pt x="108" y="130"/>
                    <a:pt x="99" y="134"/>
                  </a:cubicBezTo>
                  <a:cubicBezTo>
                    <a:pt x="90" y="137"/>
                    <a:pt x="81" y="139"/>
                    <a:pt x="71" y="139"/>
                  </a:cubicBezTo>
                  <a:moveTo>
                    <a:pt x="76" y="129"/>
                  </a:moveTo>
                  <a:cubicBezTo>
                    <a:pt x="81" y="129"/>
                    <a:pt x="86" y="128"/>
                    <a:pt x="90" y="125"/>
                  </a:cubicBezTo>
                  <a:cubicBezTo>
                    <a:pt x="94" y="123"/>
                    <a:pt x="98" y="119"/>
                    <a:pt x="101" y="115"/>
                  </a:cubicBezTo>
                  <a:cubicBezTo>
                    <a:pt x="105" y="110"/>
                    <a:pt x="107" y="105"/>
                    <a:pt x="109" y="99"/>
                  </a:cubicBezTo>
                  <a:cubicBezTo>
                    <a:pt x="111" y="93"/>
                    <a:pt x="111" y="86"/>
                    <a:pt x="111" y="80"/>
                  </a:cubicBezTo>
                  <a:cubicBezTo>
                    <a:pt x="111" y="70"/>
                    <a:pt x="111" y="61"/>
                    <a:pt x="109" y="52"/>
                  </a:cubicBezTo>
                  <a:cubicBezTo>
                    <a:pt x="107" y="44"/>
                    <a:pt x="105" y="37"/>
                    <a:pt x="101" y="30"/>
                  </a:cubicBezTo>
                  <a:cubicBezTo>
                    <a:pt x="97" y="24"/>
                    <a:pt x="92" y="19"/>
                    <a:pt x="86" y="15"/>
                  </a:cubicBezTo>
                  <a:cubicBezTo>
                    <a:pt x="80" y="12"/>
                    <a:pt x="73" y="10"/>
                    <a:pt x="64" y="10"/>
                  </a:cubicBezTo>
                  <a:cubicBezTo>
                    <a:pt x="60" y="10"/>
                    <a:pt x="55" y="11"/>
                    <a:pt x="51" y="14"/>
                  </a:cubicBezTo>
                  <a:cubicBezTo>
                    <a:pt x="47" y="16"/>
                    <a:pt x="43" y="20"/>
                    <a:pt x="40" y="24"/>
                  </a:cubicBezTo>
                  <a:cubicBezTo>
                    <a:pt x="37" y="29"/>
                    <a:pt x="34" y="34"/>
                    <a:pt x="33" y="40"/>
                  </a:cubicBezTo>
                  <a:cubicBezTo>
                    <a:pt x="31" y="46"/>
                    <a:pt x="30" y="52"/>
                    <a:pt x="30" y="59"/>
                  </a:cubicBezTo>
                  <a:cubicBezTo>
                    <a:pt x="30" y="69"/>
                    <a:pt x="31" y="78"/>
                    <a:pt x="33" y="87"/>
                  </a:cubicBezTo>
                  <a:cubicBezTo>
                    <a:pt x="35" y="95"/>
                    <a:pt x="38" y="103"/>
                    <a:pt x="42" y="109"/>
                  </a:cubicBezTo>
                  <a:cubicBezTo>
                    <a:pt x="46" y="115"/>
                    <a:pt x="51" y="120"/>
                    <a:pt x="56" y="124"/>
                  </a:cubicBezTo>
                  <a:cubicBezTo>
                    <a:pt x="62" y="128"/>
                    <a:pt x="68" y="129"/>
                    <a:pt x="76" y="129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8" name="Freeform 24"/>
            <p:cNvSpPr>
              <a:spLocks noEditPoints="1"/>
            </p:cNvSpPr>
            <p:nvPr/>
          </p:nvSpPr>
          <p:spPr bwMode="auto">
            <a:xfrm>
              <a:off x="3123" y="3565"/>
              <a:ext cx="337" cy="330"/>
            </a:xfrm>
            <a:custGeom>
              <a:avLst/>
              <a:gdLst>
                <a:gd name="T0" fmla="*/ 71 w 142"/>
                <a:gd name="T1" fmla="*/ 139 h 139"/>
                <a:gd name="T2" fmla="*/ 43 w 142"/>
                <a:gd name="T3" fmla="*/ 134 h 139"/>
                <a:gd name="T4" fmla="*/ 20 w 142"/>
                <a:gd name="T5" fmla="*/ 119 h 139"/>
                <a:gd name="T6" fmla="*/ 6 w 142"/>
                <a:gd name="T7" fmla="*/ 98 h 139"/>
                <a:gd name="T8" fmla="*/ 0 w 142"/>
                <a:gd name="T9" fmla="*/ 71 h 139"/>
                <a:gd name="T10" fmla="*/ 6 w 142"/>
                <a:gd name="T11" fmla="*/ 44 h 139"/>
                <a:gd name="T12" fmla="*/ 20 w 142"/>
                <a:gd name="T13" fmla="*/ 21 h 139"/>
                <a:gd name="T14" fmla="*/ 43 w 142"/>
                <a:gd name="T15" fmla="*/ 6 h 139"/>
                <a:gd name="T16" fmla="*/ 71 w 142"/>
                <a:gd name="T17" fmla="*/ 0 h 139"/>
                <a:gd name="T18" fmla="*/ 99 w 142"/>
                <a:gd name="T19" fmla="*/ 5 h 139"/>
                <a:gd name="T20" fmla="*/ 122 w 142"/>
                <a:gd name="T21" fmla="*/ 19 h 139"/>
                <a:gd name="T22" fmla="*/ 136 w 142"/>
                <a:gd name="T23" fmla="*/ 40 h 139"/>
                <a:gd name="T24" fmla="*/ 142 w 142"/>
                <a:gd name="T25" fmla="*/ 66 h 139"/>
                <a:gd name="T26" fmla="*/ 136 w 142"/>
                <a:gd name="T27" fmla="*/ 94 h 139"/>
                <a:gd name="T28" fmla="*/ 122 w 142"/>
                <a:gd name="T29" fmla="*/ 118 h 139"/>
                <a:gd name="T30" fmla="*/ 99 w 142"/>
                <a:gd name="T31" fmla="*/ 134 h 139"/>
                <a:gd name="T32" fmla="*/ 71 w 142"/>
                <a:gd name="T33" fmla="*/ 139 h 139"/>
                <a:gd name="T34" fmla="*/ 76 w 142"/>
                <a:gd name="T35" fmla="*/ 129 h 139"/>
                <a:gd name="T36" fmla="*/ 90 w 142"/>
                <a:gd name="T37" fmla="*/ 125 h 139"/>
                <a:gd name="T38" fmla="*/ 102 w 142"/>
                <a:gd name="T39" fmla="*/ 115 h 139"/>
                <a:gd name="T40" fmla="*/ 109 w 142"/>
                <a:gd name="T41" fmla="*/ 99 h 139"/>
                <a:gd name="T42" fmla="*/ 112 w 142"/>
                <a:gd name="T43" fmla="*/ 80 h 139"/>
                <a:gd name="T44" fmla="*/ 109 w 142"/>
                <a:gd name="T45" fmla="*/ 52 h 139"/>
                <a:gd name="T46" fmla="*/ 101 w 142"/>
                <a:gd name="T47" fmla="*/ 30 h 139"/>
                <a:gd name="T48" fmla="*/ 87 w 142"/>
                <a:gd name="T49" fmla="*/ 15 h 139"/>
                <a:gd name="T50" fmla="*/ 65 w 142"/>
                <a:gd name="T51" fmla="*/ 10 h 139"/>
                <a:gd name="T52" fmla="*/ 52 w 142"/>
                <a:gd name="T53" fmla="*/ 14 h 139"/>
                <a:gd name="T54" fmla="*/ 41 w 142"/>
                <a:gd name="T55" fmla="*/ 24 h 139"/>
                <a:gd name="T56" fmla="*/ 33 w 142"/>
                <a:gd name="T57" fmla="*/ 40 h 139"/>
                <a:gd name="T58" fmla="*/ 30 w 142"/>
                <a:gd name="T59" fmla="*/ 59 h 139"/>
                <a:gd name="T60" fmla="*/ 33 w 142"/>
                <a:gd name="T61" fmla="*/ 87 h 139"/>
                <a:gd name="T62" fmla="*/ 42 w 142"/>
                <a:gd name="T63" fmla="*/ 109 h 139"/>
                <a:gd name="T64" fmla="*/ 57 w 142"/>
                <a:gd name="T65" fmla="*/ 124 h 139"/>
                <a:gd name="T66" fmla="*/ 76 w 142"/>
                <a:gd name="T67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2" h="139">
                  <a:moveTo>
                    <a:pt x="71" y="139"/>
                  </a:moveTo>
                  <a:cubicBezTo>
                    <a:pt x="61" y="139"/>
                    <a:pt x="51" y="138"/>
                    <a:pt x="43" y="134"/>
                  </a:cubicBezTo>
                  <a:cubicBezTo>
                    <a:pt x="34" y="131"/>
                    <a:pt x="27" y="126"/>
                    <a:pt x="20" y="119"/>
                  </a:cubicBezTo>
                  <a:cubicBezTo>
                    <a:pt x="14" y="113"/>
                    <a:pt x="9" y="106"/>
                    <a:pt x="6" y="98"/>
                  </a:cubicBezTo>
                  <a:cubicBezTo>
                    <a:pt x="2" y="90"/>
                    <a:pt x="0" y="81"/>
                    <a:pt x="0" y="71"/>
                  </a:cubicBezTo>
                  <a:cubicBezTo>
                    <a:pt x="0" y="61"/>
                    <a:pt x="2" y="52"/>
                    <a:pt x="6" y="44"/>
                  </a:cubicBezTo>
                  <a:cubicBezTo>
                    <a:pt x="9" y="35"/>
                    <a:pt x="14" y="27"/>
                    <a:pt x="20" y="21"/>
                  </a:cubicBezTo>
                  <a:cubicBezTo>
                    <a:pt x="27" y="15"/>
                    <a:pt x="34" y="9"/>
                    <a:pt x="43" y="6"/>
                  </a:cubicBezTo>
                  <a:cubicBezTo>
                    <a:pt x="51" y="2"/>
                    <a:pt x="61" y="0"/>
                    <a:pt x="71" y="0"/>
                  </a:cubicBezTo>
                  <a:cubicBezTo>
                    <a:pt x="81" y="0"/>
                    <a:pt x="91" y="2"/>
                    <a:pt x="99" y="5"/>
                  </a:cubicBezTo>
                  <a:cubicBezTo>
                    <a:pt x="108" y="9"/>
                    <a:pt x="115" y="13"/>
                    <a:pt x="122" y="19"/>
                  </a:cubicBezTo>
                  <a:cubicBezTo>
                    <a:pt x="128" y="25"/>
                    <a:pt x="133" y="32"/>
                    <a:pt x="136" y="40"/>
                  </a:cubicBezTo>
                  <a:cubicBezTo>
                    <a:pt x="140" y="48"/>
                    <a:pt x="142" y="57"/>
                    <a:pt x="142" y="66"/>
                  </a:cubicBezTo>
                  <a:cubicBezTo>
                    <a:pt x="142" y="76"/>
                    <a:pt x="140" y="85"/>
                    <a:pt x="136" y="94"/>
                  </a:cubicBezTo>
                  <a:cubicBezTo>
                    <a:pt x="133" y="103"/>
                    <a:pt x="128" y="111"/>
                    <a:pt x="122" y="118"/>
                  </a:cubicBezTo>
                  <a:cubicBezTo>
                    <a:pt x="115" y="124"/>
                    <a:pt x="108" y="130"/>
                    <a:pt x="99" y="134"/>
                  </a:cubicBezTo>
                  <a:cubicBezTo>
                    <a:pt x="91" y="137"/>
                    <a:pt x="81" y="139"/>
                    <a:pt x="71" y="139"/>
                  </a:cubicBezTo>
                  <a:moveTo>
                    <a:pt x="76" y="129"/>
                  </a:moveTo>
                  <a:cubicBezTo>
                    <a:pt x="81" y="129"/>
                    <a:pt x="86" y="128"/>
                    <a:pt x="90" y="125"/>
                  </a:cubicBezTo>
                  <a:cubicBezTo>
                    <a:pt x="95" y="123"/>
                    <a:pt x="98" y="119"/>
                    <a:pt x="102" y="115"/>
                  </a:cubicBezTo>
                  <a:cubicBezTo>
                    <a:pt x="105" y="110"/>
                    <a:pt x="107" y="105"/>
                    <a:pt x="109" y="99"/>
                  </a:cubicBezTo>
                  <a:cubicBezTo>
                    <a:pt x="111" y="93"/>
                    <a:pt x="112" y="86"/>
                    <a:pt x="112" y="80"/>
                  </a:cubicBezTo>
                  <a:cubicBezTo>
                    <a:pt x="112" y="70"/>
                    <a:pt x="111" y="61"/>
                    <a:pt x="109" y="52"/>
                  </a:cubicBezTo>
                  <a:cubicBezTo>
                    <a:pt x="108" y="44"/>
                    <a:pt x="105" y="37"/>
                    <a:pt x="101" y="30"/>
                  </a:cubicBezTo>
                  <a:cubicBezTo>
                    <a:pt x="97" y="24"/>
                    <a:pt x="93" y="19"/>
                    <a:pt x="87" y="15"/>
                  </a:cubicBezTo>
                  <a:cubicBezTo>
                    <a:pt x="81" y="12"/>
                    <a:pt x="73" y="10"/>
                    <a:pt x="65" y="10"/>
                  </a:cubicBezTo>
                  <a:cubicBezTo>
                    <a:pt x="60" y="10"/>
                    <a:pt x="56" y="11"/>
                    <a:pt x="52" y="14"/>
                  </a:cubicBezTo>
                  <a:cubicBezTo>
                    <a:pt x="47" y="16"/>
                    <a:pt x="44" y="20"/>
                    <a:pt x="41" y="24"/>
                  </a:cubicBezTo>
                  <a:cubicBezTo>
                    <a:pt x="37" y="29"/>
                    <a:pt x="35" y="34"/>
                    <a:pt x="33" y="40"/>
                  </a:cubicBezTo>
                  <a:cubicBezTo>
                    <a:pt x="31" y="46"/>
                    <a:pt x="30" y="52"/>
                    <a:pt x="30" y="59"/>
                  </a:cubicBezTo>
                  <a:cubicBezTo>
                    <a:pt x="30" y="69"/>
                    <a:pt x="31" y="78"/>
                    <a:pt x="33" y="87"/>
                  </a:cubicBezTo>
                  <a:cubicBezTo>
                    <a:pt x="35" y="95"/>
                    <a:pt x="38" y="103"/>
                    <a:pt x="42" y="109"/>
                  </a:cubicBezTo>
                  <a:cubicBezTo>
                    <a:pt x="46" y="115"/>
                    <a:pt x="51" y="120"/>
                    <a:pt x="57" y="124"/>
                  </a:cubicBezTo>
                  <a:cubicBezTo>
                    <a:pt x="62" y="128"/>
                    <a:pt x="69" y="129"/>
                    <a:pt x="76" y="129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9" name="Freeform 25"/>
            <p:cNvSpPr>
              <a:spLocks/>
            </p:cNvSpPr>
            <p:nvPr/>
          </p:nvSpPr>
          <p:spPr bwMode="auto">
            <a:xfrm>
              <a:off x="3522" y="3408"/>
              <a:ext cx="64" cy="483"/>
            </a:xfrm>
            <a:custGeom>
              <a:avLst/>
              <a:gdLst>
                <a:gd name="T0" fmla="*/ 64 w 64"/>
                <a:gd name="T1" fmla="*/ 483 h 483"/>
                <a:gd name="T2" fmla="*/ 0 w 64"/>
                <a:gd name="T3" fmla="*/ 483 h 483"/>
                <a:gd name="T4" fmla="*/ 0 w 64"/>
                <a:gd name="T5" fmla="*/ 19 h 483"/>
                <a:gd name="T6" fmla="*/ 45 w 64"/>
                <a:gd name="T7" fmla="*/ 0 h 483"/>
                <a:gd name="T8" fmla="*/ 64 w 64"/>
                <a:gd name="T9" fmla="*/ 0 h 483"/>
                <a:gd name="T10" fmla="*/ 64 w 64"/>
                <a:gd name="T11" fmla="*/ 483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483">
                  <a:moveTo>
                    <a:pt x="64" y="483"/>
                  </a:moveTo>
                  <a:lnTo>
                    <a:pt x="0" y="483"/>
                  </a:lnTo>
                  <a:lnTo>
                    <a:pt x="0" y="19"/>
                  </a:lnTo>
                  <a:lnTo>
                    <a:pt x="45" y="0"/>
                  </a:lnTo>
                  <a:lnTo>
                    <a:pt x="64" y="0"/>
                  </a:lnTo>
                  <a:lnTo>
                    <a:pt x="64" y="483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0" name="Freeform 26"/>
            <p:cNvSpPr>
              <a:spLocks/>
            </p:cNvSpPr>
            <p:nvPr/>
          </p:nvSpPr>
          <p:spPr bwMode="auto">
            <a:xfrm>
              <a:off x="3647" y="3565"/>
              <a:ext cx="237" cy="330"/>
            </a:xfrm>
            <a:custGeom>
              <a:avLst/>
              <a:gdLst>
                <a:gd name="T0" fmla="*/ 49 w 100"/>
                <a:gd name="T1" fmla="*/ 130 h 139"/>
                <a:gd name="T2" fmla="*/ 59 w 100"/>
                <a:gd name="T3" fmla="*/ 129 h 139"/>
                <a:gd name="T4" fmla="*/ 67 w 100"/>
                <a:gd name="T5" fmla="*/ 124 h 139"/>
                <a:gd name="T6" fmla="*/ 72 w 100"/>
                <a:gd name="T7" fmla="*/ 118 h 139"/>
                <a:gd name="T8" fmla="*/ 74 w 100"/>
                <a:gd name="T9" fmla="*/ 110 h 139"/>
                <a:gd name="T10" fmla="*/ 71 w 100"/>
                <a:gd name="T11" fmla="*/ 100 h 139"/>
                <a:gd name="T12" fmla="*/ 63 w 100"/>
                <a:gd name="T13" fmla="*/ 92 h 139"/>
                <a:gd name="T14" fmla="*/ 51 w 100"/>
                <a:gd name="T15" fmla="*/ 85 h 139"/>
                <a:gd name="T16" fmla="*/ 38 w 100"/>
                <a:gd name="T17" fmla="*/ 79 h 139"/>
                <a:gd name="T18" fmla="*/ 25 w 100"/>
                <a:gd name="T19" fmla="*/ 72 h 139"/>
                <a:gd name="T20" fmla="*/ 14 w 100"/>
                <a:gd name="T21" fmla="*/ 63 h 139"/>
                <a:gd name="T22" fmla="*/ 5 w 100"/>
                <a:gd name="T23" fmla="*/ 52 h 139"/>
                <a:gd name="T24" fmla="*/ 2 w 100"/>
                <a:gd name="T25" fmla="*/ 37 h 139"/>
                <a:gd name="T26" fmla="*/ 6 w 100"/>
                <a:gd name="T27" fmla="*/ 22 h 139"/>
                <a:gd name="T28" fmla="*/ 15 w 100"/>
                <a:gd name="T29" fmla="*/ 11 h 139"/>
                <a:gd name="T30" fmla="*/ 30 w 100"/>
                <a:gd name="T31" fmla="*/ 3 h 139"/>
                <a:gd name="T32" fmla="*/ 48 w 100"/>
                <a:gd name="T33" fmla="*/ 0 h 139"/>
                <a:gd name="T34" fmla="*/ 61 w 100"/>
                <a:gd name="T35" fmla="*/ 1 h 139"/>
                <a:gd name="T36" fmla="*/ 72 w 100"/>
                <a:gd name="T37" fmla="*/ 5 h 139"/>
                <a:gd name="T38" fmla="*/ 83 w 100"/>
                <a:gd name="T39" fmla="*/ 12 h 139"/>
                <a:gd name="T40" fmla="*/ 95 w 100"/>
                <a:gd name="T41" fmla="*/ 25 h 139"/>
                <a:gd name="T42" fmla="*/ 85 w 100"/>
                <a:gd name="T43" fmla="*/ 34 h 139"/>
                <a:gd name="T44" fmla="*/ 68 w 100"/>
                <a:gd name="T45" fmla="*/ 15 h 139"/>
                <a:gd name="T46" fmla="*/ 48 w 100"/>
                <a:gd name="T47" fmla="*/ 9 h 139"/>
                <a:gd name="T48" fmla="*/ 37 w 100"/>
                <a:gd name="T49" fmla="*/ 10 h 139"/>
                <a:gd name="T50" fmla="*/ 29 w 100"/>
                <a:gd name="T51" fmla="*/ 14 h 139"/>
                <a:gd name="T52" fmla="*/ 24 w 100"/>
                <a:gd name="T53" fmla="*/ 20 h 139"/>
                <a:gd name="T54" fmla="*/ 22 w 100"/>
                <a:gd name="T55" fmla="*/ 27 h 139"/>
                <a:gd name="T56" fmla="*/ 26 w 100"/>
                <a:gd name="T57" fmla="*/ 37 h 139"/>
                <a:gd name="T58" fmla="*/ 34 w 100"/>
                <a:gd name="T59" fmla="*/ 45 h 139"/>
                <a:gd name="T60" fmla="*/ 47 w 100"/>
                <a:gd name="T61" fmla="*/ 52 h 139"/>
                <a:gd name="T62" fmla="*/ 61 w 100"/>
                <a:gd name="T63" fmla="*/ 58 h 139"/>
                <a:gd name="T64" fmla="*/ 75 w 100"/>
                <a:gd name="T65" fmla="*/ 65 h 139"/>
                <a:gd name="T66" fmla="*/ 88 w 100"/>
                <a:gd name="T67" fmla="*/ 73 h 139"/>
                <a:gd name="T68" fmla="*/ 97 w 100"/>
                <a:gd name="T69" fmla="*/ 84 h 139"/>
                <a:gd name="T70" fmla="*/ 100 w 100"/>
                <a:gd name="T71" fmla="*/ 99 h 139"/>
                <a:gd name="T72" fmla="*/ 97 w 100"/>
                <a:gd name="T73" fmla="*/ 115 h 139"/>
                <a:gd name="T74" fmla="*/ 87 w 100"/>
                <a:gd name="T75" fmla="*/ 128 h 139"/>
                <a:gd name="T76" fmla="*/ 71 w 100"/>
                <a:gd name="T77" fmla="*/ 136 h 139"/>
                <a:gd name="T78" fmla="*/ 49 w 100"/>
                <a:gd name="T79" fmla="*/ 139 h 139"/>
                <a:gd name="T80" fmla="*/ 37 w 100"/>
                <a:gd name="T81" fmla="*/ 138 h 139"/>
                <a:gd name="T82" fmla="*/ 25 w 100"/>
                <a:gd name="T83" fmla="*/ 135 h 139"/>
                <a:gd name="T84" fmla="*/ 12 w 100"/>
                <a:gd name="T85" fmla="*/ 127 h 139"/>
                <a:gd name="T86" fmla="*/ 0 w 100"/>
                <a:gd name="T87" fmla="*/ 115 h 139"/>
                <a:gd name="T88" fmla="*/ 10 w 100"/>
                <a:gd name="T89" fmla="*/ 105 h 139"/>
                <a:gd name="T90" fmla="*/ 20 w 100"/>
                <a:gd name="T91" fmla="*/ 116 h 139"/>
                <a:gd name="T92" fmla="*/ 29 w 100"/>
                <a:gd name="T93" fmla="*/ 124 h 139"/>
                <a:gd name="T94" fmla="*/ 38 w 100"/>
                <a:gd name="T95" fmla="*/ 129 h 139"/>
                <a:gd name="T96" fmla="*/ 49 w 100"/>
                <a:gd name="T97" fmla="*/ 13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0" h="139">
                  <a:moveTo>
                    <a:pt x="49" y="130"/>
                  </a:moveTo>
                  <a:cubicBezTo>
                    <a:pt x="53" y="130"/>
                    <a:pt x="56" y="130"/>
                    <a:pt x="59" y="129"/>
                  </a:cubicBezTo>
                  <a:cubicBezTo>
                    <a:pt x="62" y="127"/>
                    <a:pt x="65" y="126"/>
                    <a:pt x="67" y="124"/>
                  </a:cubicBezTo>
                  <a:cubicBezTo>
                    <a:pt x="69" y="122"/>
                    <a:pt x="71" y="120"/>
                    <a:pt x="72" y="118"/>
                  </a:cubicBezTo>
                  <a:cubicBezTo>
                    <a:pt x="73" y="115"/>
                    <a:pt x="74" y="113"/>
                    <a:pt x="74" y="110"/>
                  </a:cubicBezTo>
                  <a:cubicBezTo>
                    <a:pt x="74" y="106"/>
                    <a:pt x="73" y="103"/>
                    <a:pt x="71" y="100"/>
                  </a:cubicBezTo>
                  <a:cubicBezTo>
                    <a:pt x="69" y="97"/>
                    <a:pt x="66" y="94"/>
                    <a:pt x="63" y="92"/>
                  </a:cubicBezTo>
                  <a:cubicBezTo>
                    <a:pt x="59" y="89"/>
                    <a:pt x="56" y="87"/>
                    <a:pt x="51" y="85"/>
                  </a:cubicBezTo>
                  <a:cubicBezTo>
                    <a:pt x="47" y="83"/>
                    <a:pt x="43" y="81"/>
                    <a:pt x="38" y="79"/>
                  </a:cubicBezTo>
                  <a:cubicBezTo>
                    <a:pt x="34" y="77"/>
                    <a:pt x="29" y="74"/>
                    <a:pt x="25" y="72"/>
                  </a:cubicBezTo>
                  <a:cubicBezTo>
                    <a:pt x="21" y="70"/>
                    <a:pt x="17" y="67"/>
                    <a:pt x="14" y="63"/>
                  </a:cubicBezTo>
                  <a:cubicBezTo>
                    <a:pt x="10" y="60"/>
                    <a:pt x="8" y="57"/>
                    <a:pt x="5" y="52"/>
                  </a:cubicBezTo>
                  <a:cubicBezTo>
                    <a:pt x="3" y="48"/>
                    <a:pt x="2" y="43"/>
                    <a:pt x="2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5" y="11"/>
                  </a:cubicBezTo>
                  <a:cubicBezTo>
                    <a:pt x="19" y="7"/>
                    <a:pt x="24" y="5"/>
                    <a:pt x="30" y="3"/>
                  </a:cubicBezTo>
                  <a:cubicBezTo>
                    <a:pt x="35" y="1"/>
                    <a:pt x="41" y="0"/>
                    <a:pt x="48" y="0"/>
                  </a:cubicBezTo>
                  <a:cubicBezTo>
                    <a:pt x="52" y="0"/>
                    <a:pt x="57" y="0"/>
                    <a:pt x="61" y="1"/>
                  </a:cubicBezTo>
                  <a:cubicBezTo>
                    <a:pt x="64" y="2"/>
                    <a:pt x="68" y="3"/>
                    <a:pt x="72" y="5"/>
                  </a:cubicBezTo>
                  <a:cubicBezTo>
                    <a:pt x="76" y="6"/>
                    <a:pt x="79" y="9"/>
                    <a:pt x="83" y="12"/>
                  </a:cubicBezTo>
                  <a:cubicBezTo>
                    <a:pt x="87" y="15"/>
                    <a:pt x="90" y="20"/>
                    <a:pt x="95" y="25"/>
                  </a:cubicBezTo>
                  <a:cubicBezTo>
                    <a:pt x="85" y="34"/>
                    <a:pt x="85" y="34"/>
                    <a:pt x="85" y="34"/>
                  </a:cubicBezTo>
                  <a:cubicBezTo>
                    <a:pt x="80" y="25"/>
                    <a:pt x="74" y="19"/>
                    <a:pt x="68" y="15"/>
                  </a:cubicBezTo>
                  <a:cubicBezTo>
                    <a:pt x="61" y="11"/>
                    <a:pt x="55" y="9"/>
                    <a:pt x="48" y="9"/>
                  </a:cubicBezTo>
                  <a:cubicBezTo>
                    <a:pt x="44" y="9"/>
                    <a:pt x="40" y="9"/>
                    <a:pt x="37" y="10"/>
                  </a:cubicBezTo>
                  <a:cubicBezTo>
                    <a:pt x="34" y="11"/>
                    <a:pt x="31" y="13"/>
                    <a:pt x="29" y="14"/>
                  </a:cubicBezTo>
                  <a:cubicBezTo>
                    <a:pt x="27" y="16"/>
                    <a:pt x="25" y="18"/>
                    <a:pt x="24" y="20"/>
                  </a:cubicBezTo>
                  <a:cubicBezTo>
                    <a:pt x="23" y="22"/>
                    <a:pt x="22" y="24"/>
                    <a:pt x="22" y="27"/>
                  </a:cubicBezTo>
                  <a:cubicBezTo>
                    <a:pt x="22" y="31"/>
                    <a:pt x="23" y="34"/>
                    <a:pt x="26" y="37"/>
                  </a:cubicBezTo>
                  <a:cubicBezTo>
                    <a:pt x="28" y="40"/>
                    <a:pt x="31" y="43"/>
                    <a:pt x="34" y="45"/>
                  </a:cubicBezTo>
                  <a:cubicBezTo>
                    <a:pt x="38" y="48"/>
                    <a:pt x="42" y="50"/>
                    <a:pt x="47" y="52"/>
                  </a:cubicBezTo>
                  <a:cubicBezTo>
                    <a:pt x="51" y="54"/>
                    <a:pt x="56" y="56"/>
                    <a:pt x="61" y="58"/>
                  </a:cubicBezTo>
                  <a:cubicBezTo>
                    <a:pt x="66" y="60"/>
                    <a:pt x="71" y="62"/>
                    <a:pt x="75" y="65"/>
                  </a:cubicBezTo>
                  <a:cubicBezTo>
                    <a:pt x="80" y="67"/>
                    <a:pt x="84" y="70"/>
                    <a:pt x="88" y="73"/>
                  </a:cubicBezTo>
                  <a:cubicBezTo>
                    <a:pt x="91" y="77"/>
                    <a:pt x="94" y="80"/>
                    <a:pt x="97" y="84"/>
                  </a:cubicBezTo>
                  <a:cubicBezTo>
                    <a:pt x="99" y="89"/>
                    <a:pt x="100" y="93"/>
                    <a:pt x="100" y="99"/>
                  </a:cubicBezTo>
                  <a:cubicBezTo>
                    <a:pt x="100" y="105"/>
                    <a:pt x="99" y="110"/>
                    <a:pt x="97" y="115"/>
                  </a:cubicBezTo>
                  <a:cubicBezTo>
                    <a:pt x="95" y="120"/>
                    <a:pt x="92" y="124"/>
                    <a:pt x="87" y="128"/>
                  </a:cubicBezTo>
                  <a:cubicBezTo>
                    <a:pt x="83" y="131"/>
                    <a:pt x="78" y="134"/>
                    <a:pt x="71" y="136"/>
                  </a:cubicBezTo>
                  <a:cubicBezTo>
                    <a:pt x="65" y="138"/>
                    <a:pt x="58" y="139"/>
                    <a:pt x="49" y="139"/>
                  </a:cubicBezTo>
                  <a:cubicBezTo>
                    <a:pt x="45" y="139"/>
                    <a:pt x="41" y="139"/>
                    <a:pt x="37" y="138"/>
                  </a:cubicBezTo>
                  <a:cubicBezTo>
                    <a:pt x="33" y="138"/>
                    <a:pt x="29" y="137"/>
                    <a:pt x="25" y="135"/>
                  </a:cubicBezTo>
                  <a:cubicBezTo>
                    <a:pt x="20" y="133"/>
                    <a:pt x="16" y="131"/>
                    <a:pt x="12" y="127"/>
                  </a:cubicBezTo>
                  <a:cubicBezTo>
                    <a:pt x="8" y="124"/>
                    <a:pt x="4" y="120"/>
                    <a:pt x="0" y="115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14" y="109"/>
                    <a:pt x="17" y="113"/>
                    <a:pt x="20" y="116"/>
                  </a:cubicBezTo>
                  <a:cubicBezTo>
                    <a:pt x="23" y="120"/>
                    <a:pt x="26" y="122"/>
                    <a:pt x="29" y="124"/>
                  </a:cubicBezTo>
                  <a:cubicBezTo>
                    <a:pt x="32" y="126"/>
                    <a:pt x="35" y="128"/>
                    <a:pt x="38" y="129"/>
                  </a:cubicBezTo>
                  <a:cubicBezTo>
                    <a:pt x="42" y="130"/>
                    <a:pt x="45" y="130"/>
                    <a:pt x="49" y="130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3826987" y="359266"/>
            <a:ext cx="660852" cy="673216"/>
            <a:chOff x="-1350" y="3305"/>
            <a:chExt cx="1176" cy="1198"/>
          </a:xfrm>
        </p:grpSpPr>
        <p:sp>
          <p:nvSpPr>
            <p:cNvPr id="22" name="Freeform 5"/>
            <p:cNvSpPr>
              <a:spLocks noEditPoints="1"/>
            </p:cNvSpPr>
            <p:nvPr/>
          </p:nvSpPr>
          <p:spPr bwMode="auto">
            <a:xfrm>
              <a:off x="-1246" y="3517"/>
              <a:ext cx="967" cy="986"/>
            </a:xfrm>
            <a:custGeom>
              <a:avLst/>
              <a:gdLst>
                <a:gd name="T0" fmla="*/ 967 w 967"/>
                <a:gd name="T1" fmla="*/ 986 h 986"/>
                <a:gd name="T2" fmla="*/ 0 w 967"/>
                <a:gd name="T3" fmla="*/ 986 h 986"/>
                <a:gd name="T4" fmla="*/ 0 w 967"/>
                <a:gd name="T5" fmla="*/ 0 h 986"/>
                <a:gd name="T6" fmla="*/ 967 w 967"/>
                <a:gd name="T7" fmla="*/ 0 h 986"/>
                <a:gd name="T8" fmla="*/ 967 w 967"/>
                <a:gd name="T9" fmla="*/ 986 h 986"/>
                <a:gd name="T10" fmla="*/ 12 w 967"/>
                <a:gd name="T11" fmla="*/ 974 h 986"/>
                <a:gd name="T12" fmla="*/ 953 w 967"/>
                <a:gd name="T13" fmla="*/ 974 h 986"/>
                <a:gd name="T14" fmla="*/ 953 w 967"/>
                <a:gd name="T15" fmla="*/ 14 h 986"/>
                <a:gd name="T16" fmla="*/ 12 w 967"/>
                <a:gd name="T17" fmla="*/ 14 h 986"/>
                <a:gd name="T18" fmla="*/ 12 w 967"/>
                <a:gd name="T19" fmla="*/ 974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7" h="986">
                  <a:moveTo>
                    <a:pt x="967" y="986"/>
                  </a:moveTo>
                  <a:lnTo>
                    <a:pt x="0" y="986"/>
                  </a:lnTo>
                  <a:lnTo>
                    <a:pt x="0" y="0"/>
                  </a:lnTo>
                  <a:lnTo>
                    <a:pt x="967" y="0"/>
                  </a:lnTo>
                  <a:lnTo>
                    <a:pt x="967" y="986"/>
                  </a:lnTo>
                  <a:close/>
                  <a:moveTo>
                    <a:pt x="12" y="974"/>
                  </a:moveTo>
                  <a:lnTo>
                    <a:pt x="953" y="974"/>
                  </a:lnTo>
                  <a:lnTo>
                    <a:pt x="953" y="14"/>
                  </a:lnTo>
                  <a:lnTo>
                    <a:pt x="12" y="14"/>
                  </a:lnTo>
                  <a:lnTo>
                    <a:pt x="12" y="974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3" name="Freeform 6"/>
            <p:cNvSpPr>
              <a:spLocks noEditPoints="1"/>
            </p:cNvSpPr>
            <p:nvPr/>
          </p:nvSpPr>
          <p:spPr bwMode="auto">
            <a:xfrm>
              <a:off x="-1350" y="3305"/>
              <a:ext cx="1176" cy="1179"/>
            </a:xfrm>
            <a:custGeom>
              <a:avLst/>
              <a:gdLst>
                <a:gd name="T0" fmla="*/ 248 w 495"/>
                <a:gd name="T1" fmla="*/ 496 h 496"/>
                <a:gd name="T2" fmla="*/ 0 w 495"/>
                <a:gd name="T3" fmla="*/ 248 h 496"/>
                <a:gd name="T4" fmla="*/ 248 w 495"/>
                <a:gd name="T5" fmla="*/ 0 h 496"/>
                <a:gd name="T6" fmla="*/ 495 w 495"/>
                <a:gd name="T7" fmla="*/ 248 h 496"/>
                <a:gd name="T8" fmla="*/ 248 w 495"/>
                <a:gd name="T9" fmla="*/ 496 h 496"/>
                <a:gd name="T10" fmla="*/ 248 w 495"/>
                <a:gd name="T11" fmla="*/ 6 h 496"/>
                <a:gd name="T12" fmla="*/ 5 w 495"/>
                <a:gd name="T13" fmla="*/ 248 h 496"/>
                <a:gd name="T14" fmla="*/ 248 w 495"/>
                <a:gd name="T15" fmla="*/ 490 h 496"/>
                <a:gd name="T16" fmla="*/ 490 w 495"/>
                <a:gd name="T17" fmla="*/ 248 h 496"/>
                <a:gd name="T18" fmla="*/ 248 w 495"/>
                <a:gd name="T19" fmla="*/ 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5" h="496">
                  <a:moveTo>
                    <a:pt x="248" y="496"/>
                  </a:moveTo>
                  <a:cubicBezTo>
                    <a:pt x="111" y="496"/>
                    <a:pt x="0" y="385"/>
                    <a:pt x="0" y="248"/>
                  </a:cubicBezTo>
                  <a:cubicBezTo>
                    <a:pt x="0" y="111"/>
                    <a:pt x="111" y="0"/>
                    <a:pt x="248" y="0"/>
                  </a:cubicBezTo>
                  <a:cubicBezTo>
                    <a:pt x="384" y="0"/>
                    <a:pt x="495" y="111"/>
                    <a:pt x="495" y="248"/>
                  </a:cubicBezTo>
                  <a:cubicBezTo>
                    <a:pt x="495" y="385"/>
                    <a:pt x="384" y="496"/>
                    <a:pt x="248" y="496"/>
                  </a:cubicBezTo>
                  <a:moveTo>
                    <a:pt x="248" y="6"/>
                  </a:moveTo>
                  <a:cubicBezTo>
                    <a:pt x="114" y="6"/>
                    <a:pt x="5" y="114"/>
                    <a:pt x="5" y="248"/>
                  </a:cubicBezTo>
                  <a:cubicBezTo>
                    <a:pt x="5" y="382"/>
                    <a:pt x="114" y="490"/>
                    <a:pt x="248" y="490"/>
                  </a:cubicBezTo>
                  <a:cubicBezTo>
                    <a:pt x="381" y="490"/>
                    <a:pt x="490" y="382"/>
                    <a:pt x="490" y="248"/>
                  </a:cubicBezTo>
                  <a:cubicBezTo>
                    <a:pt x="490" y="114"/>
                    <a:pt x="381" y="6"/>
                    <a:pt x="248" y="6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auto">
            <a:xfrm>
              <a:off x="-1241" y="3688"/>
              <a:ext cx="955" cy="14"/>
            </a:xfrm>
            <a:prstGeom prst="rect">
              <a:avLst/>
            </a:pr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5" name="Rectangle 8"/>
            <p:cNvSpPr>
              <a:spLocks noChangeArrowheads="1"/>
            </p:cNvSpPr>
            <p:nvPr/>
          </p:nvSpPr>
          <p:spPr bwMode="auto">
            <a:xfrm>
              <a:off x="-768" y="3312"/>
              <a:ext cx="12" cy="668"/>
            </a:xfrm>
            <a:prstGeom prst="rect">
              <a:avLst/>
            </a:pr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6" name="Freeform 9"/>
            <p:cNvSpPr>
              <a:spLocks/>
            </p:cNvSpPr>
            <p:nvPr/>
          </p:nvSpPr>
          <p:spPr bwMode="auto">
            <a:xfrm>
              <a:off x="-1034" y="3966"/>
              <a:ext cx="546" cy="449"/>
            </a:xfrm>
            <a:custGeom>
              <a:avLst/>
              <a:gdLst>
                <a:gd name="T0" fmla="*/ 534 w 546"/>
                <a:gd name="T1" fmla="*/ 449 h 449"/>
                <a:gd name="T2" fmla="*/ 270 w 546"/>
                <a:gd name="T3" fmla="*/ 26 h 449"/>
                <a:gd name="T4" fmla="*/ 9 w 546"/>
                <a:gd name="T5" fmla="*/ 449 h 449"/>
                <a:gd name="T6" fmla="*/ 0 w 546"/>
                <a:gd name="T7" fmla="*/ 442 h 449"/>
                <a:gd name="T8" fmla="*/ 270 w 546"/>
                <a:gd name="T9" fmla="*/ 0 h 449"/>
                <a:gd name="T10" fmla="*/ 546 w 546"/>
                <a:gd name="T11" fmla="*/ 442 h 449"/>
                <a:gd name="T12" fmla="*/ 534 w 546"/>
                <a:gd name="T13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6" h="449">
                  <a:moveTo>
                    <a:pt x="534" y="449"/>
                  </a:moveTo>
                  <a:lnTo>
                    <a:pt x="270" y="26"/>
                  </a:lnTo>
                  <a:lnTo>
                    <a:pt x="9" y="449"/>
                  </a:lnTo>
                  <a:lnTo>
                    <a:pt x="0" y="442"/>
                  </a:lnTo>
                  <a:lnTo>
                    <a:pt x="270" y="0"/>
                  </a:lnTo>
                  <a:lnTo>
                    <a:pt x="546" y="442"/>
                  </a:lnTo>
                  <a:lnTo>
                    <a:pt x="534" y="449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7" name="Freeform 10"/>
            <p:cNvSpPr>
              <a:spLocks/>
            </p:cNvSpPr>
            <p:nvPr/>
          </p:nvSpPr>
          <p:spPr bwMode="auto">
            <a:xfrm>
              <a:off x="-1244" y="3517"/>
              <a:ext cx="960" cy="254"/>
            </a:xfrm>
            <a:custGeom>
              <a:avLst/>
              <a:gdLst>
                <a:gd name="T0" fmla="*/ 483 w 960"/>
                <a:gd name="T1" fmla="*/ 254 h 254"/>
                <a:gd name="T2" fmla="*/ 0 w 960"/>
                <a:gd name="T3" fmla="*/ 11 h 254"/>
                <a:gd name="T4" fmla="*/ 8 w 960"/>
                <a:gd name="T5" fmla="*/ 0 h 254"/>
                <a:gd name="T6" fmla="*/ 483 w 960"/>
                <a:gd name="T7" fmla="*/ 237 h 254"/>
                <a:gd name="T8" fmla="*/ 956 w 960"/>
                <a:gd name="T9" fmla="*/ 0 h 254"/>
                <a:gd name="T10" fmla="*/ 960 w 960"/>
                <a:gd name="T11" fmla="*/ 11 h 254"/>
                <a:gd name="T12" fmla="*/ 483 w 960"/>
                <a:gd name="T13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0" h="254">
                  <a:moveTo>
                    <a:pt x="483" y="254"/>
                  </a:moveTo>
                  <a:lnTo>
                    <a:pt x="0" y="11"/>
                  </a:lnTo>
                  <a:lnTo>
                    <a:pt x="8" y="0"/>
                  </a:lnTo>
                  <a:lnTo>
                    <a:pt x="483" y="237"/>
                  </a:lnTo>
                  <a:lnTo>
                    <a:pt x="956" y="0"/>
                  </a:lnTo>
                  <a:lnTo>
                    <a:pt x="960" y="11"/>
                  </a:lnTo>
                  <a:lnTo>
                    <a:pt x="483" y="254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1256608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750"/>
                            </p:stCondLst>
                            <p:childTnLst>
                              <p:par>
                                <p:cTn id="24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25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10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250"/>
                            </p:stCondLst>
                            <p:childTnLst>
                              <p:par>
                                <p:cTn id="3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10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- opis i 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lipsa 7"/>
          <p:cNvSpPr/>
          <p:nvPr userDrawn="1"/>
        </p:nvSpPr>
        <p:spPr>
          <a:xfrm>
            <a:off x="-137427" y="5924283"/>
            <a:ext cx="8355222" cy="154546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44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8794082" cy="424732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pic>
        <p:nvPicPr>
          <p:cNvPr id="6" name="Obraz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058" y="1352947"/>
            <a:ext cx="7917341" cy="4621748"/>
          </a:xfrm>
          <a:prstGeom prst="rect">
            <a:avLst/>
          </a:prstGeom>
          <a:effectLst>
            <a:outerShdw blurRad="152400" dir="2700000" algn="tl" rotWithShape="0">
              <a:prstClr val="black">
                <a:alpha val="33000"/>
              </a:prstClr>
            </a:outerShdw>
            <a:reflection blurRad="6350" stA="52000" endA="300" endPos="35000" dir="5400000" sy="-100000" algn="bl" rotWithShape="0"/>
          </a:effectLst>
        </p:spPr>
      </p:pic>
      <p:sp>
        <p:nvSpPr>
          <p:cNvPr id="9" name="Symbol zastępczy tekstu 13"/>
          <p:cNvSpPr>
            <a:spLocks noGrp="1"/>
          </p:cNvSpPr>
          <p:nvPr>
            <p:ph type="body" sz="quarter" idx="15" hasCustomPrompt="1"/>
          </p:nvPr>
        </p:nvSpPr>
        <p:spPr>
          <a:xfrm>
            <a:off x="7910285" y="1558951"/>
            <a:ext cx="4018189" cy="1870049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6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10" name="Symbol zastępczy tekstu 13"/>
          <p:cNvSpPr>
            <a:spLocks noGrp="1"/>
          </p:cNvSpPr>
          <p:nvPr>
            <p:ph type="body" sz="quarter" idx="16" hasCustomPrompt="1"/>
          </p:nvPr>
        </p:nvSpPr>
        <p:spPr>
          <a:xfrm>
            <a:off x="7910285" y="3635004"/>
            <a:ext cx="4018189" cy="1888514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6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11" name="Symbol zastępczy obrazu 10"/>
          <p:cNvSpPr>
            <a:spLocks noGrp="1"/>
          </p:cNvSpPr>
          <p:nvPr>
            <p:ph type="pic" sz="quarter" idx="17"/>
          </p:nvPr>
        </p:nvSpPr>
        <p:spPr>
          <a:xfrm>
            <a:off x="1242061" y="1558925"/>
            <a:ext cx="5926454" cy="412591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endParaRPr lang="pl-PL"/>
          </a:p>
          <a:p>
            <a:endParaRPr lang="pl-PL"/>
          </a:p>
          <a:p>
            <a:endParaRPr lang="pl-PL"/>
          </a:p>
          <a:p>
            <a:r>
              <a:rPr lang="pl-PL"/>
              <a:t>Kliknij ikonę aby dodać zdjęcie</a:t>
            </a:r>
          </a:p>
        </p:txBody>
      </p:sp>
    </p:spTree>
    <p:extLst>
      <p:ext uri="{BB962C8B-B14F-4D97-AF65-F5344CB8AC3E}">
        <p14:creationId xmlns:p14="http://schemas.microsoft.com/office/powerpoint/2010/main" val="1578106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uiExpand="1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t - opis i 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8794082" cy="424732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1022" y="6356350"/>
            <a:ext cx="2743200" cy="365125"/>
          </a:xfrm>
        </p:spPr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0" y="6356350"/>
            <a:ext cx="4114800" cy="365125"/>
          </a:xfrm>
        </p:spPr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458"/>
          <a:stretch/>
        </p:blipFill>
        <p:spPr>
          <a:xfrm>
            <a:off x="1336382" y="1256061"/>
            <a:ext cx="4759618" cy="5899481"/>
          </a:xfrm>
          <a:prstGeom prst="rect">
            <a:avLst/>
          </a:prstGeom>
          <a:effectLst>
            <a:outerShdw blurRad="152400" dir="2700000" algn="tl" rotWithShape="0">
              <a:prstClr val="black">
                <a:alpha val="33000"/>
              </a:prstClr>
            </a:outerShdw>
          </a:effectLst>
        </p:spPr>
      </p:pic>
      <p:sp>
        <p:nvSpPr>
          <p:cNvPr id="9" name="Symbol zastępczy tekstu 13"/>
          <p:cNvSpPr>
            <a:spLocks noGrp="1"/>
          </p:cNvSpPr>
          <p:nvPr>
            <p:ph type="body" sz="quarter" idx="15" hasCustomPrompt="1"/>
          </p:nvPr>
        </p:nvSpPr>
        <p:spPr>
          <a:xfrm>
            <a:off x="6516915" y="2001258"/>
            <a:ext cx="5411560" cy="1870049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6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10" name="Symbol zastępczy tekstu 13"/>
          <p:cNvSpPr>
            <a:spLocks noGrp="1"/>
          </p:cNvSpPr>
          <p:nvPr>
            <p:ph type="body" sz="quarter" idx="16" hasCustomPrompt="1"/>
          </p:nvPr>
        </p:nvSpPr>
        <p:spPr>
          <a:xfrm>
            <a:off x="6516915" y="4077311"/>
            <a:ext cx="5411560" cy="1888514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6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11" name="Symbol zastępczy obrazu 10"/>
          <p:cNvSpPr>
            <a:spLocks noGrp="1"/>
          </p:cNvSpPr>
          <p:nvPr>
            <p:ph type="pic" sz="quarter" idx="17"/>
          </p:nvPr>
        </p:nvSpPr>
        <p:spPr>
          <a:xfrm>
            <a:off x="1569720" y="1935480"/>
            <a:ext cx="4309830" cy="442087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endParaRPr lang="pl-PL"/>
          </a:p>
          <a:p>
            <a:endParaRPr lang="pl-PL"/>
          </a:p>
          <a:p>
            <a:endParaRPr lang="pl-PL"/>
          </a:p>
          <a:p>
            <a:r>
              <a:rPr lang="pl-PL"/>
              <a:t>Kliknij ikonę aby dodać zdjęcie</a:t>
            </a:r>
          </a:p>
        </p:txBody>
      </p:sp>
    </p:spTree>
    <p:extLst>
      <p:ext uri="{BB962C8B-B14F-4D97-AF65-F5344CB8AC3E}">
        <p14:creationId xmlns:p14="http://schemas.microsoft.com/office/powerpoint/2010/main" val="1923352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uiExpand="1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a/Pro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68892" y="0"/>
            <a:ext cx="3123108" cy="270827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59043"/>
            <a:ext cx="3339360" cy="299895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6480064" cy="424732"/>
          </a:xfrm>
        </p:spPr>
        <p:txBody>
          <a:bodyPr anchor="ctr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graphicFrame>
        <p:nvGraphicFramePr>
          <p:cNvPr id="9" name="Tabela 8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14277522"/>
              </p:ext>
            </p:extLst>
          </p:nvPr>
        </p:nvGraphicFramePr>
        <p:xfrm>
          <a:off x="1819945" y="1234230"/>
          <a:ext cx="9360000" cy="500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4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4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4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25392">
                <a:tc>
                  <a:txBody>
                    <a:bodyPr/>
                    <a:lstStyle/>
                    <a:p>
                      <a:endParaRPr lang="pl-PL"/>
                    </a:p>
                  </a:txBody>
                  <a:tcPr marR="90000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 marR="90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 marR="90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 marR="90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78608">
                <a:tc>
                  <a:txBody>
                    <a:bodyPr/>
                    <a:lstStyle/>
                    <a:p>
                      <a:endParaRPr lang="pl-PL"/>
                    </a:p>
                  </a:txBody>
                  <a:tcPr marR="90000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 marR="90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 marR="90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pl-PL"/>
                    </a:p>
                  </a:txBody>
                  <a:tcPr marR="90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Symbol zastępczy tekstu 13"/>
          <p:cNvSpPr>
            <a:spLocks noGrp="1"/>
          </p:cNvSpPr>
          <p:nvPr>
            <p:ph type="body" sz="quarter" idx="16" hasCustomPrompt="1"/>
          </p:nvPr>
        </p:nvSpPr>
        <p:spPr>
          <a:xfrm>
            <a:off x="1872505" y="1900004"/>
            <a:ext cx="1899104" cy="3017093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4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11" name="Symbol zastępczy tekstu 13"/>
          <p:cNvSpPr>
            <a:spLocks noGrp="1"/>
          </p:cNvSpPr>
          <p:nvPr>
            <p:ph type="body" sz="quarter" idx="17" hasCustomPrompt="1"/>
          </p:nvPr>
        </p:nvSpPr>
        <p:spPr>
          <a:xfrm>
            <a:off x="3829528" y="1900004"/>
            <a:ext cx="1899104" cy="3017093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4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12" name="Symbol zastępczy tekstu 13"/>
          <p:cNvSpPr>
            <a:spLocks noGrp="1"/>
          </p:cNvSpPr>
          <p:nvPr>
            <p:ph type="body" sz="quarter" idx="18" hasCustomPrompt="1"/>
          </p:nvPr>
        </p:nvSpPr>
        <p:spPr>
          <a:xfrm>
            <a:off x="5786551" y="1900004"/>
            <a:ext cx="1899104" cy="3017093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4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13" name="Symbol zastępczy tekstu 13"/>
          <p:cNvSpPr>
            <a:spLocks noGrp="1"/>
          </p:cNvSpPr>
          <p:nvPr>
            <p:ph type="body" sz="quarter" idx="19" hasCustomPrompt="1"/>
          </p:nvPr>
        </p:nvSpPr>
        <p:spPr>
          <a:xfrm>
            <a:off x="7714546" y="1900004"/>
            <a:ext cx="1899104" cy="3017093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4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14" name="Symbol zastępczy tekstu 13"/>
          <p:cNvSpPr>
            <a:spLocks noGrp="1"/>
          </p:cNvSpPr>
          <p:nvPr>
            <p:ph type="body" sz="quarter" idx="20" hasCustomPrompt="1"/>
          </p:nvPr>
        </p:nvSpPr>
        <p:spPr>
          <a:xfrm>
            <a:off x="7610269" y="1896426"/>
            <a:ext cx="1899104" cy="3017093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4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15" name="Symbol zastępczy tekstu 13"/>
          <p:cNvSpPr>
            <a:spLocks noGrp="1"/>
          </p:cNvSpPr>
          <p:nvPr>
            <p:ph type="body" sz="quarter" idx="21" hasCustomPrompt="1"/>
          </p:nvPr>
        </p:nvSpPr>
        <p:spPr>
          <a:xfrm>
            <a:off x="9555387" y="1896426"/>
            <a:ext cx="1899104" cy="3017093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4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  <p:sp>
        <p:nvSpPr>
          <p:cNvPr id="16" name="Symbol zastępczy tekstu 11"/>
          <p:cNvSpPr>
            <a:spLocks noGrp="1"/>
          </p:cNvSpPr>
          <p:nvPr>
            <p:ph type="body" sz="quarter" idx="14" hasCustomPrompt="1"/>
          </p:nvPr>
        </p:nvSpPr>
        <p:spPr>
          <a:xfrm>
            <a:off x="1936004" y="1264187"/>
            <a:ext cx="1781175" cy="406156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l-PL"/>
              <a:t>Nagłówek</a:t>
            </a:r>
          </a:p>
        </p:txBody>
      </p:sp>
      <p:sp>
        <p:nvSpPr>
          <p:cNvPr id="22" name="Symbol zastępczy tekstu 11"/>
          <p:cNvSpPr>
            <a:spLocks noGrp="1"/>
          </p:cNvSpPr>
          <p:nvPr>
            <p:ph type="body" sz="quarter" idx="22" hasCustomPrompt="1"/>
          </p:nvPr>
        </p:nvSpPr>
        <p:spPr>
          <a:xfrm>
            <a:off x="3901192" y="1264187"/>
            <a:ext cx="1781175" cy="406156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l-PL"/>
              <a:t>Nagłówek</a:t>
            </a:r>
          </a:p>
        </p:txBody>
      </p:sp>
      <p:sp>
        <p:nvSpPr>
          <p:cNvPr id="23" name="Symbol zastępczy tekstu 11"/>
          <p:cNvSpPr>
            <a:spLocks noGrp="1"/>
          </p:cNvSpPr>
          <p:nvPr>
            <p:ph type="body" sz="quarter" idx="23" hasCustomPrompt="1"/>
          </p:nvPr>
        </p:nvSpPr>
        <p:spPr>
          <a:xfrm>
            <a:off x="5839361" y="1264187"/>
            <a:ext cx="1781175" cy="406156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l-PL"/>
              <a:t>Nagłówek</a:t>
            </a:r>
          </a:p>
        </p:txBody>
      </p:sp>
      <p:sp>
        <p:nvSpPr>
          <p:cNvPr id="24" name="Symbol zastępczy tekstu 11"/>
          <p:cNvSpPr>
            <a:spLocks noGrp="1"/>
          </p:cNvSpPr>
          <p:nvPr>
            <p:ph type="body" sz="quarter" idx="24" hasCustomPrompt="1"/>
          </p:nvPr>
        </p:nvSpPr>
        <p:spPr>
          <a:xfrm>
            <a:off x="7794169" y="1264187"/>
            <a:ext cx="1781175" cy="406156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l-PL"/>
              <a:t>Nagłówek</a:t>
            </a:r>
          </a:p>
        </p:txBody>
      </p:sp>
      <p:sp>
        <p:nvSpPr>
          <p:cNvPr id="25" name="Symbol zastępczy tekstu 11"/>
          <p:cNvSpPr>
            <a:spLocks noGrp="1"/>
          </p:cNvSpPr>
          <p:nvPr>
            <p:ph type="body" sz="quarter" idx="25" hasCustomPrompt="1"/>
          </p:nvPr>
        </p:nvSpPr>
        <p:spPr>
          <a:xfrm>
            <a:off x="7669233" y="1260609"/>
            <a:ext cx="1781175" cy="406156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l-PL"/>
              <a:t>Nagłówek</a:t>
            </a:r>
          </a:p>
        </p:txBody>
      </p:sp>
      <p:sp>
        <p:nvSpPr>
          <p:cNvPr id="26" name="Symbol zastępczy tekstu 11"/>
          <p:cNvSpPr>
            <a:spLocks noGrp="1"/>
          </p:cNvSpPr>
          <p:nvPr>
            <p:ph type="body" sz="quarter" idx="26" hasCustomPrompt="1"/>
          </p:nvPr>
        </p:nvSpPr>
        <p:spPr>
          <a:xfrm>
            <a:off x="9613650" y="1260609"/>
            <a:ext cx="1781175" cy="406156"/>
          </a:xfrm>
        </p:spPr>
        <p:txBody>
          <a:bodyPr anchor="b">
            <a:normAutofit/>
          </a:bodyPr>
          <a:lstStyle>
            <a:lvl1pPr marL="0" indent="0" algn="ctr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l-PL"/>
              <a:t>Nagłówek</a:t>
            </a:r>
          </a:p>
        </p:txBody>
      </p:sp>
    </p:spTree>
    <p:extLst>
      <p:ext uri="{BB962C8B-B14F-4D97-AF65-F5344CB8AC3E}">
        <p14:creationId xmlns:p14="http://schemas.microsoft.com/office/powerpoint/2010/main" val="3732999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9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5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7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75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7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0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7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75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>
        <p:tmplLst>
          <p:tmpl>
            <p:tnLst>
              <p:par>
                <p:cTn presetID="22" presetClass="entr" presetSubtype="1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75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nn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68892" y="0"/>
            <a:ext cx="3123108" cy="270827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59043"/>
            <a:ext cx="3339360" cy="299895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6480064" cy="424732"/>
          </a:xfrm>
        </p:spPr>
        <p:txBody>
          <a:bodyPr anchor="ctr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85274" y="6356350"/>
            <a:ext cx="2743200" cy="365125"/>
          </a:xfrm>
        </p:spPr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19" name="Symbol zastępczy tekstu 18"/>
          <p:cNvSpPr>
            <a:spLocks noGrp="1"/>
          </p:cNvSpPr>
          <p:nvPr>
            <p:ph type="body" sz="quarter" idx="13" hasCustomPrompt="1"/>
          </p:nvPr>
        </p:nvSpPr>
        <p:spPr>
          <a:xfrm>
            <a:off x="351344" y="1573844"/>
            <a:ext cx="3468816" cy="52274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l-PL"/>
              <a:t>PRODUKT </a:t>
            </a:r>
          </a:p>
        </p:txBody>
      </p:sp>
      <p:sp>
        <p:nvSpPr>
          <p:cNvPr id="27" name="Symbol zastępczy tekstu 18"/>
          <p:cNvSpPr>
            <a:spLocks noGrp="1"/>
          </p:cNvSpPr>
          <p:nvPr>
            <p:ph type="body" sz="quarter" idx="14" hasCustomPrompt="1"/>
          </p:nvPr>
        </p:nvSpPr>
        <p:spPr>
          <a:xfrm>
            <a:off x="351344" y="2091640"/>
            <a:ext cx="3468816" cy="972456"/>
          </a:xfrm>
          <a:solidFill>
            <a:schemeClr val="accent1">
              <a:lumMod val="40000"/>
              <a:lumOff val="60000"/>
            </a:schemeClr>
          </a:solidFill>
          <a:ln>
            <a:solidFill>
              <a:srgbClr val="F39FC3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pl-PL"/>
              <a:t>X XXX zł + VAT</a:t>
            </a:r>
          </a:p>
        </p:txBody>
      </p:sp>
      <p:sp>
        <p:nvSpPr>
          <p:cNvPr id="29" name="Symbol zastępczy tekstu 18"/>
          <p:cNvSpPr>
            <a:spLocks noGrp="1"/>
          </p:cNvSpPr>
          <p:nvPr>
            <p:ph type="body" sz="quarter" idx="16" hasCustomPrompt="1"/>
          </p:nvPr>
        </p:nvSpPr>
        <p:spPr>
          <a:xfrm>
            <a:off x="4125762" y="1573844"/>
            <a:ext cx="3366859" cy="522741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l-PL"/>
              <a:t>PRODUKT </a:t>
            </a:r>
          </a:p>
        </p:txBody>
      </p:sp>
      <p:sp>
        <p:nvSpPr>
          <p:cNvPr id="30" name="Symbol zastępczy tekstu 18"/>
          <p:cNvSpPr>
            <a:spLocks noGrp="1"/>
          </p:cNvSpPr>
          <p:nvPr>
            <p:ph type="body" sz="quarter" idx="17" hasCustomPrompt="1"/>
          </p:nvPr>
        </p:nvSpPr>
        <p:spPr>
          <a:xfrm>
            <a:off x="4125762" y="2091640"/>
            <a:ext cx="3366859" cy="972456"/>
          </a:xfrm>
          <a:solidFill>
            <a:schemeClr val="tx2">
              <a:lumMod val="40000"/>
              <a:lumOff val="60000"/>
            </a:schemeClr>
          </a:solidFill>
          <a:ln>
            <a:solidFill>
              <a:srgbClr val="ADB9CA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pl-PL"/>
              <a:t>X XXX zł + VAT</a:t>
            </a:r>
          </a:p>
        </p:txBody>
      </p:sp>
      <p:sp>
        <p:nvSpPr>
          <p:cNvPr id="31" name="Symbol zastępczy tekstu 18"/>
          <p:cNvSpPr>
            <a:spLocks noGrp="1"/>
          </p:cNvSpPr>
          <p:nvPr>
            <p:ph type="body" sz="quarter" idx="18" hasCustomPrompt="1"/>
          </p:nvPr>
        </p:nvSpPr>
        <p:spPr>
          <a:xfrm>
            <a:off x="4125762" y="3062745"/>
            <a:ext cx="3366859" cy="2880856"/>
          </a:xfrm>
          <a:solidFill>
            <a:schemeClr val="bg1"/>
          </a:solidFill>
          <a:ln>
            <a:solidFill>
              <a:srgbClr val="ADB9CA"/>
            </a:solidFill>
          </a:ln>
        </p:spPr>
        <p:txBody>
          <a:bodyPr lIns="180000" tIns="252000" anchor="t">
            <a:normAutofit/>
          </a:bodyPr>
          <a:lstStyle>
            <a:lvl1pPr marL="342900" indent="-342900" algn="l">
              <a:buClr>
                <a:schemeClr val="tx2"/>
              </a:buClr>
              <a:buFont typeface="Symbol" panose="05050102010706020507" pitchFamily="18" charset="2"/>
              <a:buChar char="¨"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pl-PL"/>
              <a:t>Punkt</a:t>
            </a:r>
          </a:p>
          <a:p>
            <a:pPr lvl="0"/>
            <a:r>
              <a:rPr lang="pl-PL"/>
              <a:t>Punkt</a:t>
            </a:r>
          </a:p>
          <a:p>
            <a:pPr lvl="0"/>
            <a:r>
              <a:rPr lang="pl-PL"/>
              <a:t>Punk</a:t>
            </a:r>
          </a:p>
        </p:txBody>
      </p:sp>
      <p:sp>
        <p:nvSpPr>
          <p:cNvPr id="32" name="Symbol zastępczy tekstu 13"/>
          <p:cNvSpPr>
            <a:spLocks noGrp="1"/>
          </p:cNvSpPr>
          <p:nvPr>
            <p:ph type="body" sz="quarter" idx="19" hasCustomPrompt="1"/>
          </p:nvPr>
        </p:nvSpPr>
        <p:spPr>
          <a:xfrm>
            <a:off x="3820160" y="6096000"/>
            <a:ext cx="7487647" cy="625475"/>
          </a:xfrm>
        </p:spPr>
        <p:txBody>
          <a:bodyPr anchor="b">
            <a:normAutofit/>
          </a:bodyPr>
          <a:lstStyle>
            <a:lvl1pPr marL="0" indent="0">
              <a:lnSpc>
                <a:spcPct val="80000"/>
              </a:lnSpc>
              <a:buNone/>
              <a:defRPr sz="16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33" name="Symbol zastępczy tekstu 18"/>
          <p:cNvSpPr>
            <a:spLocks noGrp="1"/>
          </p:cNvSpPr>
          <p:nvPr>
            <p:ph type="body" sz="quarter" idx="20" hasCustomPrompt="1"/>
          </p:nvPr>
        </p:nvSpPr>
        <p:spPr>
          <a:xfrm>
            <a:off x="351344" y="3062745"/>
            <a:ext cx="3468816" cy="2880856"/>
          </a:xfrm>
          <a:solidFill>
            <a:schemeClr val="bg1"/>
          </a:solidFill>
          <a:ln>
            <a:solidFill>
              <a:srgbClr val="F39FC3"/>
            </a:solidFill>
          </a:ln>
        </p:spPr>
        <p:txBody>
          <a:bodyPr lIns="180000" tIns="252000" anchor="t">
            <a:normAutofit/>
          </a:bodyPr>
          <a:lstStyle>
            <a:lvl1pPr marL="342900" indent="-342900" algn="l">
              <a:buClr>
                <a:schemeClr val="accent1"/>
              </a:buClr>
              <a:buFont typeface="Symbol" panose="05050102010706020507" pitchFamily="18" charset="2"/>
              <a:buChar char="¨"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pl-PL"/>
              <a:t>Punkt</a:t>
            </a:r>
          </a:p>
          <a:p>
            <a:pPr lvl="0"/>
            <a:r>
              <a:rPr lang="pl-PL"/>
              <a:t>Punkt</a:t>
            </a:r>
          </a:p>
          <a:p>
            <a:pPr lvl="0"/>
            <a:r>
              <a:rPr lang="pl-PL"/>
              <a:t>Punkt</a:t>
            </a:r>
          </a:p>
        </p:txBody>
      </p:sp>
      <p:sp>
        <p:nvSpPr>
          <p:cNvPr id="15" name="Symbol zastępczy tekstu 18">
            <a:extLst>
              <a:ext uri="{FF2B5EF4-FFF2-40B4-BE49-F238E27FC236}">
                <a16:creationId xmlns:a16="http://schemas.microsoft.com/office/drawing/2014/main" id="{2BF3DCD4-B504-469E-ADE4-77B7DF152A7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23893" y="1587867"/>
            <a:ext cx="3383914" cy="522741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pl-PL"/>
              <a:t>PRODUKT </a:t>
            </a:r>
          </a:p>
        </p:txBody>
      </p:sp>
      <p:sp>
        <p:nvSpPr>
          <p:cNvPr id="16" name="Symbol zastępczy tekstu 18">
            <a:extLst>
              <a:ext uri="{FF2B5EF4-FFF2-40B4-BE49-F238E27FC236}">
                <a16:creationId xmlns:a16="http://schemas.microsoft.com/office/drawing/2014/main" id="{76204A82-E2D9-434B-A7B0-4D2885F7C6A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23893" y="2105663"/>
            <a:ext cx="3383914" cy="972456"/>
          </a:xfrm>
          <a:solidFill>
            <a:schemeClr val="tx2">
              <a:lumMod val="40000"/>
              <a:lumOff val="60000"/>
            </a:schemeClr>
          </a:solidFill>
          <a:ln>
            <a:solidFill>
              <a:srgbClr val="ADB9CA"/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pl-PL"/>
              <a:t>X XXX zł + VAT</a:t>
            </a:r>
          </a:p>
        </p:txBody>
      </p:sp>
      <p:sp>
        <p:nvSpPr>
          <p:cNvPr id="17" name="Symbol zastępczy tekstu 18">
            <a:extLst>
              <a:ext uri="{FF2B5EF4-FFF2-40B4-BE49-F238E27FC236}">
                <a16:creationId xmlns:a16="http://schemas.microsoft.com/office/drawing/2014/main" id="{A54E6D84-60B4-4950-BA74-0173AB7C00B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23893" y="3062879"/>
            <a:ext cx="3383914" cy="2880856"/>
          </a:xfrm>
          <a:solidFill>
            <a:schemeClr val="bg1"/>
          </a:solidFill>
          <a:ln>
            <a:solidFill>
              <a:srgbClr val="ADB9CA"/>
            </a:solidFill>
          </a:ln>
        </p:spPr>
        <p:txBody>
          <a:bodyPr lIns="180000" tIns="252000" anchor="t">
            <a:normAutofit/>
          </a:bodyPr>
          <a:lstStyle>
            <a:lvl1pPr marL="342900" indent="-342900" algn="l">
              <a:buClr>
                <a:schemeClr val="tx2"/>
              </a:buClr>
              <a:buFont typeface="Symbol" panose="05050102010706020507" pitchFamily="18" charset="2"/>
              <a:buChar char="¨"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pl-PL"/>
              <a:t>Punkt</a:t>
            </a:r>
          </a:p>
          <a:p>
            <a:pPr lvl="0"/>
            <a:r>
              <a:rPr lang="pl-PL"/>
              <a:t>Punkt</a:t>
            </a:r>
          </a:p>
          <a:p>
            <a:pPr lvl="0"/>
            <a:r>
              <a:rPr lang="pl-PL"/>
              <a:t>Punk</a:t>
            </a:r>
          </a:p>
        </p:txBody>
      </p:sp>
    </p:spTree>
    <p:extLst>
      <p:ext uri="{BB962C8B-B14F-4D97-AF65-F5344CB8AC3E}">
        <p14:creationId xmlns:p14="http://schemas.microsoft.com/office/powerpoint/2010/main" val="1548707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ży nagłówek - opis - zdję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8794082" cy="424732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8" name="Symbol zastępczy obrazu 7"/>
          <p:cNvSpPr>
            <a:spLocks noGrp="1"/>
          </p:cNvSpPr>
          <p:nvPr>
            <p:ph type="pic" sz="quarter" idx="13"/>
          </p:nvPr>
        </p:nvSpPr>
        <p:spPr>
          <a:xfrm>
            <a:off x="263525" y="1257300"/>
            <a:ext cx="5337175" cy="48133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endParaRPr lang="pl-PL"/>
          </a:p>
          <a:p>
            <a:endParaRPr lang="pl-PL"/>
          </a:p>
          <a:p>
            <a:endParaRPr lang="pl-PL"/>
          </a:p>
          <a:p>
            <a:r>
              <a:rPr lang="pl-PL"/>
              <a:t>Kliknij ikonę aby dodać obraz</a:t>
            </a:r>
          </a:p>
        </p:txBody>
      </p:sp>
      <p:sp>
        <p:nvSpPr>
          <p:cNvPr id="9" name="Symbol zastępczy tekstu 13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2393950"/>
            <a:ext cx="5832475" cy="3676650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6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11" name="Symbol zastępczy tekstu 10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1257300"/>
            <a:ext cx="5832475" cy="850900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pl-PL"/>
              <a:t>NAGŁÓWEK DUŻY</a:t>
            </a:r>
          </a:p>
        </p:txBody>
      </p:sp>
      <p:cxnSp>
        <p:nvCxnSpPr>
          <p:cNvPr id="13" name="Łącznik prosty 12"/>
          <p:cNvCxnSpPr/>
          <p:nvPr userDrawn="1"/>
        </p:nvCxnSpPr>
        <p:spPr>
          <a:xfrm>
            <a:off x="6096000" y="2159000"/>
            <a:ext cx="60960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5632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8794082" cy="424732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7" name="Symbol zastępczy zawartości 6"/>
          <p:cNvSpPr>
            <a:spLocks noGrp="1"/>
          </p:cNvSpPr>
          <p:nvPr>
            <p:ph sz="quarter" idx="13"/>
          </p:nvPr>
        </p:nvSpPr>
        <p:spPr>
          <a:xfrm>
            <a:off x="292100" y="1219200"/>
            <a:ext cx="11636375" cy="48339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4082751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ytuł i tekst_trójkąty w 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68892" y="0"/>
            <a:ext cx="3123108" cy="270827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59043"/>
            <a:ext cx="3339360" cy="299895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6480064" cy="424732"/>
          </a:xfrm>
        </p:spPr>
        <p:txBody>
          <a:bodyPr anchor="ctr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8" name="Symbol zastępczy zawartości 6"/>
          <p:cNvSpPr>
            <a:spLocks noGrp="1"/>
          </p:cNvSpPr>
          <p:nvPr>
            <p:ph sz="quarter" idx="13"/>
          </p:nvPr>
        </p:nvSpPr>
        <p:spPr>
          <a:xfrm>
            <a:off x="292100" y="1219200"/>
            <a:ext cx="11636375" cy="48339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446813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Obraz 27">
            <a:extLst>
              <a:ext uri="{FF2B5EF4-FFF2-40B4-BE49-F238E27FC236}">
                <a16:creationId xmlns:a16="http://schemas.microsoft.com/office/drawing/2014/main" id="{02E6C61C-6558-4EB1-9238-0D76F899F8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317" y="236459"/>
            <a:ext cx="7200461" cy="6602758"/>
          </a:xfrm>
          <a:prstGeom prst="rect">
            <a:avLst/>
          </a:prstGeom>
        </p:spPr>
      </p:pic>
      <p:sp>
        <p:nvSpPr>
          <p:cNvPr id="29" name="Prostokąt 28">
            <a:extLst>
              <a:ext uri="{FF2B5EF4-FFF2-40B4-BE49-F238E27FC236}">
                <a16:creationId xmlns:a16="http://schemas.microsoft.com/office/drawing/2014/main" id="{7556872D-9860-4918-9046-04D2F22B930C}"/>
              </a:ext>
            </a:extLst>
          </p:cNvPr>
          <p:cNvSpPr/>
          <p:nvPr userDrawn="1"/>
        </p:nvSpPr>
        <p:spPr>
          <a:xfrm>
            <a:off x="3467100" y="0"/>
            <a:ext cx="8763000" cy="6858000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chemeClr val="tx1"/>
              </a:solidFill>
            </a:endParaRPr>
          </a:p>
        </p:txBody>
      </p:sp>
      <p:pic>
        <p:nvPicPr>
          <p:cNvPr id="32" name="Obraz 3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0211" y="3879867"/>
            <a:ext cx="3495157" cy="199939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3" name="Obraz 3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7232" y="1486566"/>
            <a:ext cx="4124689" cy="20145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34" name="Obraz 3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604" y="0"/>
            <a:ext cx="2548342" cy="3893021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6" name="Symbol zastępczy tekstu 35"/>
          <p:cNvSpPr>
            <a:spLocks noGrp="1"/>
          </p:cNvSpPr>
          <p:nvPr>
            <p:ph type="body" sz="quarter" idx="10" hasCustomPrompt="1"/>
          </p:nvPr>
        </p:nvSpPr>
        <p:spPr>
          <a:xfrm>
            <a:off x="3826987" y="3735280"/>
            <a:ext cx="1933543" cy="923330"/>
          </a:xfrm>
          <a:noFill/>
        </p:spPr>
        <p:txBody>
          <a:bodyPr wrap="none" rtlCol="0">
            <a:spAutoFit/>
          </a:bodyPr>
          <a:lstStyle>
            <a:lvl1pPr marL="0" indent="0">
              <a:buNone/>
              <a:defRPr lang="pl-PL" sz="6000" smtClean="0">
                <a:solidFill>
                  <a:schemeClr val="accent1"/>
                </a:solidFill>
                <a:latin typeface="Roboto Medium" panose="02000000000000000000" pitchFamily="2" charset="0"/>
                <a:ea typeface="Roboto Medium" panose="02000000000000000000" pitchFamily="2" charset="0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Tytuł</a:t>
            </a:r>
          </a:p>
        </p:txBody>
      </p:sp>
      <p:sp>
        <p:nvSpPr>
          <p:cNvPr id="39" name="Symbol zastępczy tekstu 38"/>
          <p:cNvSpPr>
            <a:spLocks noGrp="1"/>
          </p:cNvSpPr>
          <p:nvPr>
            <p:ph type="body" sz="quarter" idx="11" hasCustomPrompt="1"/>
          </p:nvPr>
        </p:nvSpPr>
        <p:spPr>
          <a:xfrm>
            <a:off x="3826987" y="4841885"/>
            <a:ext cx="4317207" cy="424732"/>
          </a:xfrm>
          <a:noFill/>
        </p:spPr>
        <p:txBody>
          <a:bodyPr wrap="square" rtlCol="0">
            <a:spAutoFit/>
          </a:bodyPr>
          <a:lstStyle>
            <a:lvl1pPr marL="0" indent="0">
              <a:buNone/>
              <a:defRPr lang="pl-PL" sz="2400" smtClean="0">
                <a:solidFill>
                  <a:srgbClr val="44546A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PODTYTUŁ</a:t>
            </a:r>
          </a:p>
        </p:txBody>
      </p:sp>
      <p:grpSp>
        <p:nvGrpSpPr>
          <p:cNvPr id="7" name="Group 13"/>
          <p:cNvGrpSpPr>
            <a:grpSpLocks noChangeAspect="1"/>
          </p:cNvGrpSpPr>
          <p:nvPr userDrawn="1"/>
        </p:nvGrpSpPr>
        <p:grpSpPr bwMode="auto">
          <a:xfrm>
            <a:off x="4583089" y="406675"/>
            <a:ext cx="1452563" cy="592121"/>
            <a:chOff x="2515" y="2849"/>
            <a:chExt cx="2566" cy="1046"/>
          </a:xfrm>
        </p:grpSpPr>
        <p:sp>
          <p:nvSpPr>
            <p:cNvPr id="8" name="Freeform 14"/>
            <p:cNvSpPr>
              <a:spLocks noEditPoints="1"/>
            </p:cNvSpPr>
            <p:nvPr/>
          </p:nvSpPr>
          <p:spPr bwMode="auto">
            <a:xfrm>
              <a:off x="2533" y="3006"/>
              <a:ext cx="306" cy="330"/>
            </a:xfrm>
            <a:custGeom>
              <a:avLst/>
              <a:gdLst>
                <a:gd name="T0" fmla="*/ 66 w 129"/>
                <a:gd name="T1" fmla="*/ 139 h 139"/>
                <a:gd name="T2" fmla="*/ 40 w 129"/>
                <a:gd name="T3" fmla="*/ 134 h 139"/>
                <a:gd name="T4" fmla="*/ 19 w 129"/>
                <a:gd name="T5" fmla="*/ 120 h 139"/>
                <a:gd name="T6" fmla="*/ 5 w 129"/>
                <a:gd name="T7" fmla="*/ 100 h 139"/>
                <a:gd name="T8" fmla="*/ 0 w 129"/>
                <a:gd name="T9" fmla="*/ 74 h 139"/>
                <a:gd name="T10" fmla="*/ 5 w 129"/>
                <a:gd name="T11" fmla="*/ 44 h 139"/>
                <a:gd name="T12" fmla="*/ 18 w 129"/>
                <a:gd name="T13" fmla="*/ 21 h 139"/>
                <a:gd name="T14" fmla="*/ 39 w 129"/>
                <a:gd name="T15" fmla="*/ 5 h 139"/>
                <a:gd name="T16" fmla="*/ 66 w 129"/>
                <a:gd name="T17" fmla="*/ 0 h 139"/>
                <a:gd name="T18" fmla="*/ 90 w 129"/>
                <a:gd name="T19" fmla="*/ 4 h 139"/>
                <a:gd name="T20" fmla="*/ 109 w 129"/>
                <a:gd name="T21" fmla="*/ 17 h 139"/>
                <a:gd name="T22" fmla="*/ 121 w 129"/>
                <a:gd name="T23" fmla="*/ 35 h 139"/>
                <a:gd name="T24" fmla="*/ 125 w 129"/>
                <a:gd name="T25" fmla="*/ 56 h 139"/>
                <a:gd name="T26" fmla="*/ 26 w 129"/>
                <a:gd name="T27" fmla="*/ 56 h 139"/>
                <a:gd name="T28" fmla="*/ 29 w 129"/>
                <a:gd name="T29" fmla="*/ 81 h 139"/>
                <a:gd name="T30" fmla="*/ 39 w 129"/>
                <a:gd name="T31" fmla="*/ 101 h 139"/>
                <a:gd name="T32" fmla="*/ 54 w 129"/>
                <a:gd name="T33" fmla="*/ 114 h 139"/>
                <a:gd name="T34" fmla="*/ 73 w 129"/>
                <a:gd name="T35" fmla="*/ 119 h 139"/>
                <a:gd name="T36" fmla="*/ 89 w 129"/>
                <a:gd name="T37" fmla="*/ 116 h 139"/>
                <a:gd name="T38" fmla="*/ 104 w 129"/>
                <a:gd name="T39" fmla="*/ 108 h 139"/>
                <a:gd name="T40" fmla="*/ 115 w 129"/>
                <a:gd name="T41" fmla="*/ 98 h 139"/>
                <a:gd name="T42" fmla="*/ 121 w 129"/>
                <a:gd name="T43" fmla="*/ 86 h 139"/>
                <a:gd name="T44" fmla="*/ 129 w 129"/>
                <a:gd name="T45" fmla="*/ 89 h 139"/>
                <a:gd name="T46" fmla="*/ 120 w 129"/>
                <a:gd name="T47" fmla="*/ 109 h 139"/>
                <a:gd name="T48" fmla="*/ 105 w 129"/>
                <a:gd name="T49" fmla="*/ 124 h 139"/>
                <a:gd name="T50" fmla="*/ 86 w 129"/>
                <a:gd name="T51" fmla="*/ 135 h 139"/>
                <a:gd name="T52" fmla="*/ 66 w 129"/>
                <a:gd name="T53" fmla="*/ 139 h 139"/>
                <a:gd name="T54" fmla="*/ 92 w 129"/>
                <a:gd name="T55" fmla="*/ 45 h 139"/>
                <a:gd name="T56" fmla="*/ 89 w 129"/>
                <a:gd name="T57" fmla="*/ 31 h 139"/>
                <a:gd name="T58" fmla="*/ 82 w 129"/>
                <a:gd name="T59" fmla="*/ 20 h 139"/>
                <a:gd name="T60" fmla="*/ 71 w 129"/>
                <a:gd name="T61" fmla="*/ 12 h 139"/>
                <a:gd name="T62" fmla="*/ 58 w 129"/>
                <a:gd name="T63" fmla="*/ 10 h 139"/>
                <a:gd name="T64" fmla="*/ 46 w 129"/>
                <a:gd name="T65" fmla="*/ 12 h 139"/>
                <a:gd name="T66" fmla="*/ 36 w 129"/>
                <a:gd name="T67" fmla="*/ 20 h 139"/>
                <a:gd name="T68" fmla="*/ 29 w 129"/>
                <a:gd name="T69" fmla="*/ 31 h 139"/>
                <a:gd name="T70" fmla="*/ 26 w 129"/>
                <a:gd name="T71" fmla="*/ 45 h 139"/>
                <a:gd name="T72" fmla="*/ 92 w 129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139">
                  <a:moveTo>
                    <a:pt x="66" y="139"/>
                  </a:moveTo>
                  <a:cubicBezTo>
                    <a:pt x="57" y="139"/>
                    <a:pt x="48" y="137"/>
                    <a:pt x="40" y="134"/>
                  </a:cubicBezTo>
                  <a:cubicBezTo>
                    <a:pt x="32" y="131"/>
                    <a:pt x="25" y="126"/>
                    <a:pt x="19" y="120"/>
                  </a:cubicBezTo>
                  <a:cubicBezTo>
                    <a:pt x="13" y="114"/>
                    <a:pt x="9" y="107"/>
                    <a:pt x="5" y="100"/>
                  </a:cubicBezTo>
                  <a:cubicBezTo>
                    <a:pt x="2" y="92"/>
                    <a:pt x="0" y="83"/>
                    <a:pt x="0" y="74"/>
                  </a:cubicBezTo>
                  <a:cubicBezTo>
                    <a:pt x="0" y="64"/>
                    <a:pt x="2" y="54"/>
                    <a:pt x="5" y="44"/>
                  </a:cubicBezTo>
                  <a:cubicBezTo>
                    <a:pt x="8" y="35"/>
                    <a:pt x="12" y="27"/>
                    <a:pt x="18" y="21"/>
                  </a:cubicBezTo>
                  <a:cubicBezTo>
                    <a:pt x="24" y="14"/>
                    <a:pt x="31" y="9"/>
                    <a:pt x="39" y="5"/>
                  </a:cubicBezTo>
                  <a:cubicBezTo>
                    <a:pt x="47" y="1"/>
                    <a:pt x="56" y="0"/>
                    <a:pt x="66" y="0"/>
                  </a:cubicBezTo>
                  <a:cubicBezTo>
                    <a:pt x="75" y="0"/>
                    <a:pt x="83" y="1"/>
                    <a:pt x="90" y="4"/>
                  </a:cubicBezTo>
                  <a:cubicBezTo>
                    <a:pt x="97" y="7"/>
                    <a:pt x="104" y="11"/>
                    <a:pt x="109" y="17"/>
                  </a:cubicBezTo>
                  <a:cubicBezTo>
                    <a:pt x="114" y="22"/>
                    <a:pt x="118" y="28"/>
                    <a:pt x="121" y="35"/>
                  </a:cubicBezTo>
                  <a:cubicBezTo>
                    <a:pt x="124" y="41"/>
                    <a:pt x="125" y="49"/>
                    <a:pt x="125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65"/>
                    <a:pt x="27" y="73"/>
                    <a:pt x="29" y="81"/>
                  </a:cubicBezTo>
                  <a:cubicBezTo>
                    <a:pt x="31" y="89"/>
                    <a:pt x="35" y="95"/>
                    <a:pt x="39" y="101"/>
                  </a:cubicBezTo>
                  <a:cubicBezTo>
                    <a:pt x="43" y="106"/>
                    <a:pt x="48" y="111"/>
                    <a:pt x="54" y="114"/>
                  </a:cubicBezTo>
                  <a:cubicBezTo>
                    <a:pt x="59" y="117"/>
                    <a:pt x="66" y="119"/>
                    <a:pt x="73" y="119"/>
                  </a:cubicBezTo>
                  <a:cubicBezTo>
                    <a:pt x="79" y="119"/>
                    <a:pt x="84" y="118"/>
                    <a:pt x="89" y="116"/>
                  </a:cubicBezTo>
                  <a:cubicBezTo>
                    <a:pt x="95" y="114"/>
                    <a:pt x="100" y="112"/>
                    <a:pt x="104" y="108"/>
                  </a:cubicBezTo>
                  <a:cubicBezTo>
                    <a:pt x="108" y="105"/>
                    <a:pt x="112" y="102"/>
                    <a:pt x="115" y="98"/>
                  </a:cubicBezTo>
                  <a:cubicBezTo>
                    <a:pt x="118" y="94"/>
                    <a:pt x="120" y="90"/>
                    <a:pt x="121" y="86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7" y="96"/>
                    <a:pt x="124" y="103"/>
                    <a:pt x="120" y="109"/>
                  </a:cubicBezTo>
                  <a:cubicBezTo>
                    <a:pt x="115" y="115"/>
                    <a:pt x="110" y="120"/>
                    <a:pt x="105" y="124"/>
                  </a:cubicBezTo>
                  <a:cubicBezTo>
                    <a:pt x="99" y="129"/>
                    <a:pt x="93" y="132"/>
                    <a:pt x="86" y="135"/>
                  </a:cubicBezTo>
                  <a:cubicBezTo>
                    <a:pt x="79" y="138"/>
                    <a:pt x="73" y="139"/>
                    <a:pt x="66" y="139"/>
                  </a:cubicBezTo>
                  <a:moveTo>
                    <a:pt x="92" y="45"/>
                  </a:moveTo>
                  <a:cubicBezTo>
                    <a:pt x="92" y="40"/>
                    <a:pt x="91" y="36"/>
                    <a:pt x="89" y="31"/>
                  </a:cubicBezTo>
                  <a:cubicBezTo>
                    <a:pt x="88" y="27"/>
                    <a:pt x="85" y="23"/>
                    <a:pt x="82" y="20"/>
                  </a:cubicBezTo>
                  <a:cubicBezTo>
                    <a:pt x="79" y="17"/>
                    <a:pt x="75" y="14"/>
                    <a:pt x="71" y="12"/>
                  </a:cubicBezTo>
                  <a:cubicBezTo>
                    <a:pt x="67" y="10"/>
                    <a:pt x="62" y="10"/>
                    <a:pt x="58" y="10"/>
                  </a:cubicBezTo>
                  <a:cubicBezTo>
                    <a:pt x="54" y="10"/>
                    <a:pt x="50" y="10"/>
                    <a:pt x="46" y="12"/>
                  </a:cubicBezTo>
                  <a:cubicBezTo>
                    <a:pt x="42" y="14"/>
                    <a:pt x="39" y="17"/>
                    <a:pt x="36" y="20"/>
                  </a:cubicBezTo>
                  <a:cubicBezTo>
                    <a:pt x="33" y="23"/>
                    <a:pt x="31" y="27"/>
                    <a:pt x="29" y="31"/>
                  </a:cubicBezTo>
                  <a:cubicBezTo>
                    <a:pt x="27" y="36"/>
                    <a:pt x="26" y="40"/>
                    <a:pt x="26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9" name="Freeform 15"/>
            <p:cNvSpPr>
              <a:spLocks/>
            </p:cNvSpPr>
            <p:nvPr/>
          </p:nvSpPr>
          <p:spPr bwMode="auto">
            <a:xfrm>
              <a:off x="2849" y="3013"/>
              <a:ext cx="324" cy="316"/>
            </a:xfrm>
            <a:custGeom>
              <a:avLst/>
              <a:gdLst>
                <a:gd name="T0" fmla="*/ 33 w 324"/>
                <a:gd name="T1" fmla="*/ 316 h 316"/>
                <a:gd name="T2" fmla="*/ 0 w 324"/>
                <a:gd name="T3" fmla="*/ 316 h 316"/>
                <a:gd name="T4" fmla="*/ 132 w 324"/>
                <a:gd name="T5" fmla="*/ 155 h 316"/>
                <a:gd name="T6" fmla="*/ 19 w 324"/>
                <a:gd name="T7" fmla="*/ 0 h 316"/>
                <a:gd name="T8" fmla="*/ 94 w 324"/>
                <a:gd name="T9" fmla="*/ 0 h 316"/>
                <a:gd name="T10" fmla="*/ 170 w 324"/>
                <a:gd name="T11" fmla="*/ 105 h 316"/>
                <a:gd name="T12" fmla="*/ 258 w 324"/>
                <a:gd name="T13" fmla="*/ 0 h 316"/>
                <a:gd name="T14" fmla="*/ 293 w 324"/>
                <a:gd name="T15" fmla="*/ 0 h 316"/>
                <a:gd name="T16" fmla="*/ 187 w 324"/>
                <a:gd name="T17" fmla="*/ 128 h 316"/>
                <a:gd name="T18" fmla="*/ 324 w 324"/>
                <a:gd name="T19" fmla="*/ 316 h 316"/>
                <a:gd name="T20" fmla="*/ 248 w 324"/>
                <a:gd name="T21" fmla="*/ 316 h 316"/>
                <a:gd name="T22" fmla="*/ 149 w 324"/>
                <a:gd name="T23" fmla="*/ 176 h 316"/>
                <a:gd name="T24" fmla="*/ 33 w 324"/>
                <a:gd name="T25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4" h="316">
                  <a:moveTo>
                    <a:pt x="33" y="316"/>
                  </a:moveTo>
                  <a:lnTo>
                    <a:pt x="0" y="316"/>
                  </a:lnTo>
                  <a:lnTo>
                    <a:pt x="132" y="155"/>
                  </a:lnTo>
                  <a:lnTo>
                    <a:pt x="19" y="0"/>
                  </a:lnTo>
                  <a:lnTo>
                    <a:pt x="94" y="0"/>
                  </a:lnTo>
                  <a:lnTo>
                    <a:pt x="170" y="105"/>
                  </a:lnTo>
                  <a:lnTo>
                    <a:pt x="258" y="0"/>
                  </a:lnTo>
                  <a:lnTo>
                    <a:pt x="293" y="0"/>
                  </a:lnTo>
                  <a:lnTo>
                    <a:pt x="187" y="128"/>
                  </a:lnTo>
                  <a:lnTo>
                    <a:pt x="324" y="316"/>
                  </a:lnTo>
                  <a:lnTo>
                    <a:pt x="248" y="316"/>
                  </a:lnTo>
                  <a:lnTo>
                    <a:pt x="149" y="176"/>
                  </a:lnTo>
                  <a:lnTo>
                    <a:pt x="33" y="316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0" name="Freeform 16"/>
            <p:cNvSpPr>
              <a:spLocks/>
            </p:cNvSpPr>
            <p:nvPr/>
          </p:nvSpPr>
          <p:spPr bwMode="auto">
            <a:xfrm>
              <a:off x="3157" y="2904"/>
              <a:ext cx="203" cy="432"/>
            </a:xfrm>
            <a:custGeom>
              <a:avLst/>
              <a:gdLst>
                <a:gd name="T0" fmla="*/ 86 w 86"/>
                <a:gd name="T1" fmla="*/ 162 h 182"/>
                <a:gd name="T2" fmla="*/ 71 w 86"/>
                <a:gd name="T3" fmla="*/ 177 h 182"/>
                <a:gd name="T4" fmla="*/ 50 w 86"/>
                <a:gd name="T5" fmla="*/ 182 h 182"/>
                <a:gd name="T6" fmla="*/ 38 w 86"/>
                <a:gd name="T7" fmla="*/ 180 h 182"/>
                <a:gd name="T8" fmla="*/ 30 w 86"/>
                <a:gd name="T9" fmla="*/ 173 h 182"/>
                <a:gd name="T10" fmla="*/ 25 w 86"/>
                <a:gd name="T11" fmla="*/ 164 h 182"/>
                <a:gd name="T12" fmla="*/ 23 w 86"/>
                <a:gd name="T13" fmla="*/ 151 h 182"/>
                <a:gd name="T14" fmla="*/ 23 w 86"/>
                <a:gd name="T15" fmla="*/ 57 h 182"/>
                <a:gd name="T16" fmla="*/ 0 w 86"/>
                <a:gd name="T17" fmla="*/ 57 h 182"/>
                <a:gd name="T18" fmla="*/ 0 w 86"/>
                <a:gd name="T19" fmla="*/ 50 h 182"/>
                <a:gd name="T20" fmla="*/ 19 w 86"/>
                <a:gd name="T21" fmla="*/ 46 h 182"/>
                <a:gd name="T22" fmla="*/ 31 w 86"/>
                <a:gd name="T23" fmla="*/ 35 h 182"/>
                <a:gd name="T24" fmla="*/ 38 w 86"/>
                <a:gd name="T25" fmla="*/ 19 h 182"/>
                <a:gd name="T26" fmla="*/ 42 w 86"/>
                <a:gd name="T27" fmla="*/ 0 h 182"/>
                <a:gd name="T28" fmla="*/ 50 w 86"/>
                <a:gd name="T29" fmla="*/ 0 h 182"/>
                <a:gd name="T30" fmla="*/ 50 w 86"/>
                <a:gd name="T31" fmla="*/ 45 h 182"/>
                <a:gd name="T32" fmla="*/ 80 w 86"/>
                <a:gd name="T33" fmla="*/ 45 h 182"/>
                <a:gd name="T34" fmla="*/ 80 w 86"/>
                <a:gd name="T35" fmla="*/ 57 h 182"/>
                <a:gd name="T36" fmla="*/ 50 w 86"/>
                <a:gd name="T37" fmla="*/ 57 h 182"/>
                <a:gd name="T38" fmla="*/ 50 w 86"/>
                <a:gd name="T39" fmla="*/ 151 h 182"/>
                <a:gd name="T40" fmla="*/ 54 w 86"/>
                <a:gd name="T41" fmla="*/ 161 h 182"/>
                <a:gd name="T42" fmla="*/ 64 w 86"/>
                <a:gd name="T43" fmla="*/ 165 h 182"/>
                <a:gd name="T44" fmla="*/ 73 w 86"/>
                <a:gd name="T45" fmla="*/ 163 h 182"/>
                <a:gd name="T46" fmla="*/ 79 w 86"/>
                <a:gd name="T47" fmla="*/ 158 h 182"/>
                <a:gd name="T48" fmla="*/ 86 w 86"/>
                <a:gd name="T49" fmla="*/ 16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6" h="182">
                  <a:moveTo>
                    <a:pt x="86" y="162"/>
                  </a:moveTo>
                  <a:cubicBezTo>
                    <a:pt x="82" y="168"/>
                    <a:pt x="77" y="173"/>
                    <a:pt x="71" y="177"/>
                  </a:cubicBezTo>
                  <a:cubicBezTo>
                    <a:pt x="65" y="180"/>
                    <a:pt x="58" y="182"/>
                    <a:pt x="50" y="182"/>
                  </a:cubicBezTo>
                  <a:cubicBezTo>
                    <a:pt x="45" y="182"/>
                    <a:pt x="41" y="181"/>
                    <a:pt x="38" y="180"/>
                  </a:cubicBezTo>
                  <a:cubicBezTo>
                    <a:pt x="35" y="178"/>
                    <a:pt x="32" y="176"/>
                    <a:pt x="30" y="173"/>
                  </a:cubicBezTo>
                  <a:cubicBezTo>
                    <a:pt x="28" y="171"/>
                    <a:pt x="26" y="167"/>
                    <a:pt x="25" y="164"/>
                  </a:cubicBezTo>
                  <a:cubicBezTo>
                    <a:pt x="24" y="160"/>
                    <a:pt x="23" y="156"/>
                    <a:pt x="23" y="151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8" y="50"/>
                    <a:pt x="14" y="49"/>
                    <a:pt x="19" y="46"/>
                  </a:cubicBezTo>
                  <a:cubicBezTo>
                    <a:pt x="23" y="43"/>
                    <a:pt x="27" y="40"/>
                    <a:pt x="31" y="35"/>
                  </a:cubicBezTo>
                  <a:cubicBezTo>
                    <a:pt x="34" y="30"/>
                    <a:pt x="36" y="25"/>
                    <a:pt x="38" y="19"/>
                  </a:cubicBezTo>
                  <a:cubicBezTo>
                    <a:pt x="40" y="13"/>
                    <a:pt x="41" y="6"/>
                    <a:pt x="4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50" y="155"/>
                    <a:pt x="51" y="158"/>
                    <a:pt x="54" y="161"/>
                  </a:cubicBezTo>
                  <a:cubicBezTo>
                    <a:pt x="57" y="164"/>
                    <a:pt x="60" y="165"/>
                    <a:pt x="64" y="165"/>
                  </a:cubicBezTo>
                  <a:cubicBezTo>
                    <a:pt x="67" y="165"/>
                    <a:pt x="70" y="164"/>
                    <a:pt x="73" y="163"/>
                  </a:cubicBezTo>
                  <a:cubicBezTo>
                    <a:pt x="75" y="162"/>
                    <a:pt x="77" y="160"/>
                    <a:pt x="79" y="158"/>
                  </a:cubicBezTo>
                  <a:lnTo>
                    <a:pt x="86" y="162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1" name="Freeform 17"/>
            <p:cNvSpPr>
              <a:spLocks noEditPoints="1"/>
            </p:cNvSpPr>
            <p:nvPr/>
          </p:nvSpPr>
          <p:spPr bwMode="auto">
            <a:xfrm>
              <a:off x="3382" y="3006"/>
              <a:ext cx="305" cy="330"/>
            </a:xfrm>
            <a:custGeom>
              <a:avLst/>
              <a:gdLst>
                <a:gd name="T0" fmla="*/ 66 w 129"/>
                <a:gd name="T1" fmla="*/ 139 h 139"/>
                <a:gd name="T2" fmla="*/ 40 w 129"/>
                <a:gd name="T3" fmla="*/ 134 h 139"/>
                <a:gd name="T4" fmla="*/ 20 w 129"/>
                <a:gd name="T5" fmla="*/ 120 h 139"/>
                <a:gd name="T6" fmla="*/ 6 w 129"/>
                <a:gd name="T7" fmla="*/ 100 h 139"/>
                <a:gd name="T8" fmla="*/ 0 w 129"/>
                <a:gd name="T9" fmla="*/ 74 h 139"/>
                <a:gd name="T10" fmla="*/ 5 w 129"/>
                <a:gd name="T11" fmla="*/ 44 h 139"/>
                <a:gd name="T12" fmla="*/ 18 w 129"/>
                <a:gd name="T13" fmla="*/ 21 h 139"/>
                <a:gd name="T14" fmla="*/ 39 w 129"/>
                <a:gd name="T15" fmla="*/ 5 h 139"/>
                <a:gd name="T16" fmla="*/ 66 w 129"/>
                <a:gd name="T17" fmla="*/ 0 h 139"/>
                <a:gd name="T18" fmla="*/ 90 w 129"/>
                <a:gd name="T19" fmla="*/ 4 h 139"/>
                <a:gd name="T20" fmla="*/ 109 w 129"/>
                <a:gd name="T21" fmla="*/ 17 h 139"/>
                <a:gd name="T22" fmla="*/ 121 w 129"/>
                <a:gd name="T23" fmla="*/ 35 h 139"/>
                <a:gd name="T24" fmla="*/ 126 w 129"/>
                <a:gd name="T25" fmla="*/ 56 h 139"/>
                <a:gd name="T26" fmla="*/ 26 w 129"/>
                <a:gd name="T27" fmla="*/ 56 h 139"/>
                <a:gd name="T28" fmla="*/ 29 w 129"/>
                <a:gd name="T29" fmla="*/ 81 h 139"/>
                <a:gd name="T30" fmla="*/ 39 w 129"/>
                <a:gd name="T31" fmla="*/ 101 h 139"/>
                <a:gd name="T32" fmla="*/ 54 w 129"/>
                <a:gd name="T33" fmla="*/ 114 h 139"/>
                <a:gd name="T34" fmla="*/ 73 w 129"/>
                <a:gd name="T35" fmla="*/ 119 h 139"/>
                <a:gd name="T36" fmla="*/ 90 w 129"/>
                <a:gd name="T37" fmla="*/ 116 h 139"/>
                <a:gd name="T38" fmla="*/ 104 w 129"/>
                <a:gd name="T39" fmla="*/ 108 h 139"/>
                <a:gd name="T40" fmla="*/ 115 w 129"/>
                <a:gd name="T41" fmla="*/ 98 h 139"/>
                <a:gd name="T42" fmla="*/ 122 w 129"/>
                <a:gd name="T43" fmla="*/ 86 h 139"/>
                <a:gd name="T44" fmla="*/ 129 w 129"/>
                <a:gd name="T45" fmla="*/ 89 h 139"/>
                <a:gd name="T46" fmla="*/ 120 w 129"/>
                <a:gd name="T47" fmla="*/ 109 h 139"/>
                <a:gd name="T48" fmla="*/ 105 w 129"/>
                <a:gd name="T49" fmla="*/ 124 h 139"/>
                <a:gd name="T50" fmla="*/ 86 w 129"/>
                <a:gd name="T51" fmla="*/ 135 h 139"/>
                <a:gd name="T52" fmla="*/ 66 w 129"/>
                <a:gd name="T53" fmla="*/ 139 h 139"/>
                <a:gd name="T54" fmla="*/ 92 w 129"/>
                <a:gd name="T55" fmla="*/ 45 h 139"/>
                <a:gd name="T56" fmla="*/ 90 w 129"/>
                <a:gd name="T57" fmla="*/ 31 h 139"/>
                <a:gd name="T58" fmla="*/ 82 w 129"/>
                <a:gd name="T59" fmla="*/ 20 h 139"/>
                <a:gd name="T60" fmla="*/ 71 w 129"/>
                <a:gd name="T61" fmla="*/ 12 h 139"/>
                <a:gd name="T62" fmla="*/ 58 w 129"/>
                <a:gd name="T63" fmla="*/ 10 h 139"/>
                <a:gd name="T64" fmla="*/ 46 w 129"/>
                <a:gd name="T65" fmla="*/ 12 h 139"/>
                <a:gd name="T66" fmla="*/ 37 w 129"/>
                <a:gd name="T67" fmla="*/ 20 h 139"/>
                <a:gd name="T68" fmla="*/ 30 w 129"/>
                <a:gd name="T69" fmla="*/ 31 h 139"/>
                <a:gd name="T70" fmla="*/ 26 w 129"/>
                <a:gd name="T71" fmla="*/ 45 h 139"/>
                <a:gd name="T72" fmla="*/ 92 w 129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139">
                  <a:moveTo>
                    <a:pt x="66" y="139"/>
                  </a:moveTo>
                  <a:cubicBezTo>
                    <a:pt x="57" y="139"/>
                    <a:pt x="48" y="137"/>
                    <a:pt x="40" y="134"/>
                  </a:cubicBezTo>
                  <a:cubicBezTo>
                    <a:pt x="33" y="131"/>
                    <a:pt x="26" y="126"/>
                    <a:pt x="20" y="120"/>
                  </a:cubicBezTo>
                  <a:cubicBezTo>
                    <a:pt x="14" y="114"/>
                    <a:pt x="9" y="107"/>
                    <a:pt x="6" y="100"/>
                  </a:cubicBezTo>
                  <a:cubicBezTo>
                    <a:pt x="2" y="92"/>
                    <a:pt x="0" y="83"/>
                    <a:pt x="0" y="74"/>
                  </a:cubicBezTo>
                  <a:cubicBezTo>
                    <a:pt x="0" y="64"/>
                    <a:pt x="2" y="54"/>
                    <a:pt x="5" y="44"/>
                  </a:cubicBezTo>
                  <a:cubicBezTo>
                    <a:pt x="8" y="35"/>
                    <a:pt x="13" y="27"/>
                    <a:pt x="18" y="21"/>
                  </a:cubicBezTo>
                  <a:cubicBezTo>
                    <a:pt x="24" y="14"/>
                    <a:pt x="31" y="9"/>
                    <a:pt x="39" y="5"/>
                  </a:cubicBezTo>
                  <a:cubicBezTo>
                    <a:pt x="47" y="1"/>
                    <a:pt x="56" y="0"/>
                    <a:pt x="66" y="0"/>
                  </a:cubicBezTo>
                  <a:cubicBezTo>
                    <a:pt x="75" y="0"/>
                    <a:pt x="83" y="1"/>
                    <a:pt x="90" y="4"/>
                  </a:cubicBezTo>
                  <a:cubicBezTo>
                    <a:pt x="98" y="7"/>
                    <a:pt x="104" y="11"/>
                    <a:pt x="109" y="17"/>
                  </a:cubicBezTo>
                  <a:cubicBezTo>
                    <a:pt x="114" y="22"/>
                    <a:pt x="118" y="28"/>
                    <a:pt x="121" y="35"/>
                  </a:cubicBezTo>
                  <a:cubicBezTo>
                    <a:pt x="124" y="41"/>
                    <a:pt x="126" y="49"/>
                    <a:pt x="1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65"/>
                    <a:pt x="27" y="73"/>
                    <a:pt x="29" y="81"/>
                  </a:cubicBezTo>
                  <a:cubicBezTo>
                    <a:pt x="32" y="89"/>
                    <a:pt x="35" y="95"/>
                    <a:pt x="39" y="101"/>
                  </a:cubicBezTo>
                  <a:cubicBezTo>
                    <a:pt x="43" y="106"/>
                    <a:pt x="48" y="111"/>
                    <a:pt x="54" y="114"/>
                  </a:cubicBezTo>
                  <a:cubicBezTo>
                    <a:pt x="60" y="117"/>
                    <a:pt x="66" y="119"/>
                    <a:pt x="73" y="119"/>
                  </a:cubicBezTo>
                  <a:cubicBezTo>
                    <a:pt x="79" y="119"/>
                    <a:pt x="84" y="118"/>
                    <a:pt x="90" y="116"/>
                  </a:cubicBezTo>
                  <a:cubicBezTo>
                    <a:pt x="95" y="114"/>
                    <a:pt x="100" y="112"/>
                    <a:pt x="104" y="108"/>
                  </a:cubicBezTo>
                  <a:cubicBezTo>
                    <a:pt x="109" y="105"/>
                    <a:pt x="112" y="102"/>
                    <a:pt x="115" y="98"/>
                  </a:cubicBezTo>
                  <a:cubicBezTo>
                    <a:pt x="118" y="94"/>
                    <a:pt x="120" y="90"/>
                    <a:pt x="122" y="86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7" y="96"/>
                    <a:pt x="124" y="103"/>
                    <a:pt x="120" y="109"/>
                  </a:cubicBezTo>
                  <a:cubicBezTo>
                    <a:pt x="116" y="115"/>
                    <a:pt x="111" y="120"/>
                    <a:pt x="105" y="124"/>
                  </a:cubicBezTo>
                  <a:cubicBezTo>
                    <a:pt x="99" y="129"/>
                    <a:pt x="93" y="132"/>
                    <a:pt x="86" y="135"/>
                  </a:cubicBezTo>
                  <a:cubicBezTo>
                    <a:pt x="80" y="138"/>
                    <a:pt x="73" y="139"/>
                    <a:pt x="66" y="139"/>
                  </a:cubicBezTo>
                  <a:moveTo>
                    <a:pt x="92" y="45"/>
                  </a:moveTo>
                  <a:cubicBezTo>
                    <a:pt x="92" y="40"/>
                    <a:pt x="92" y="36"/>
                    <a:pt x="90" y="31"/>
                  </a:cubicBezTo>
                  <a:cubicBezTo>
                    <a:pt x="88" y="27"/>
                    <a:pt x="85" y="23"/>
                    <a:pt x="82" y="20"/>
                  </a:cubicBezTo>
                  <a:cubicBezTo>
                    <a:pt x="79" y="17"/>
                    <a:pt x="76" y="14"/>
                    <a:pt x="71" y="12"/>
                  </a:cubicBezTo>
                  <a:cubicBezTo>
                    <a:pt x="67" y="10"/>
                    <a:pt x="63" y="10"/>
                    <a:pt x="58" y="10"/>
                  </a:cubicBezTo>
                  <a:cubicBezTo>
                    <a:pt x="54" y="10"/>
                    <a:pt x="50" y="10"/>
                    <a:pt x="46" y="12"/>
                  </a:cubicBezTo>
                  <a:cubicBezTo>
                    <a:pt x="43" y="14"/>
                    <a:pt x="39" y="17"/>
                    <a:pt x="37" y="20"/>
                  </a:cubicBezTo>
                  <a:cubicBezTo>
                    <a:pt x="34" y="23"/>
                    <a:pt x="31" y="27"/>
                    <a:pt x="30" y="31"/>
                  </a:cubicBezTo>
                  <a:cubicBezTo>
                    <a:pt x="28" y="36"/>
                    <a:pt x="26" y="40"/>
                    <a:pt x="26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2" name="Freeform 18"/>
            <p:cNvSpPr>
              <a:spLocks/>
            </p:cNvSpPr>
            <p:nvPr/>
          </p:nvSpPr>
          <p:spPr bwMode="auto">
            <a:xfrm>
              <a:off x="3747" y="3006"/>
              <a:ext cx="265" cy="323"/>
            </a:xfrm>
            <a:custGeom>
              <a:avLst/>
              <a:gdLst>
                <a:gd name="T0" fmla="*/ 0 w 112"/>
                <a:gd name="T1" fmla="*/ 2 h 136"/>
                <a:gd name="T2" fmla="*/ 27 w 112"/>
                <a:gd name="T3" fmla="*/ 2 h 136"/>
                <a:gd name="T4" fmla="*/ 27 w 112"/>
                <a:gd name="T5" fmla="*/ 27 h 136"/>
                <a:gd name="T6" fmla="*/ 52 w 112"/>
                <a:gd name="T7" fmla="*/ 6 h 136"/>
                <a:gd name="T8" fmla="*/ 78 w 112"/>
                <a:gd name="T9" fmla="*/ 0 h 136"/>
                <a:gd name="T10" fmla="*/ 92 w 112"/>
                <a:gd name="T11" fmla="*/ 3 h 136"/>
                <a:gd name="T12" fmla="*/ 102 w 112"/>
                <a:gd name="T13" fmla="*/ 12 h 136"/>
                <a:gd name="T14" fmla="*/ 109 w 112"/>
                <a:gd name="T15" fmla="*/ 24 h 136"/>
                <a:gd name="T16" fmla="*/ 112 w 112"/>
                <a:gd name="T17" fmla="*/ 40 h 136"/>
                <a:gd name="T18" fmla="*/ 112 w 112"/>
                <a:gd name="T19" fmla="*/ 136 h 136"/>
                <a:gd name="T20" fmla="*/ 85 w 112"/>
                <a:gd name="T21" fmla="*/ 136 h 136"/>
                <a:gd name="T22" fmla="*/ 85 w 112"/>
                <a:gd name="T23" fmla="*/ 45 h 136"/>
                <a:gd name="T24" fmla="*/ 80 w 112"/>
                <a:gd name="T25" fmla="*/ 24 h 136"/>
                <a:gd name="T26" fmla="*/ 64 w 112"/>
                <a:gd name="T27" fmla="*/ 18 h 136"/>
                <a:gd name="T28" fmla="*/ 55 w 112"/>
                <a:gd name="T29" fmla="*/ 19 h 136"/>
                <a:gd name="T30" fmla="*/ 46 w 112"/>
                <a:gd name="T31" fmla="*/ 23 h 136"/>
                <a:gd name="T32" fmla="*/ 36 w 112"/>
                <a:gd name="T33" fmla="*/ 29 h 136"/>
                <a:gd name="T34" fmla="*/ 27 w 112"/>
                <a:gd name="T35" fmla="*/ 37 h 136"/>
                <a:gd name="T36" fmla="*/ 27 w 112"/>
                <a:gd name="T37" fmla="*/ 136 h 136"/>
                <a:gd name="T38" fmla="*/ 0 w 112"/>
                <a:gd name="T39" fmla="*/ 136 h 136"/>
                <a:gd name="T40" fmla="*/ 0 w 112"/>
                <a:gd name="T41" fmla="*/ 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" h="136">
                  <a:moveTo>
                    <a:pt x="0" y="2"/>
                  </a:moveTo>
                  <a:cubicBezTo>
                    <a:pt x="27" y="2"/>
                    <a:pt x="27" y="2"/>
                    <a:pt x="27" y="2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5" y="18"/>
                    <a:pt x="43" y="11"/>
                    <a:pt x="52" y="6"/>
                  </a:cubicBezTo>
                  <a:cubicBezTo>
                    <a:pt x="60" y="2"/>
                    <a:pt x="69" y="0"/>
                    <a:pt x="78" y="0"/>
                  </a:cubicBezTo>
                  <a:cubicBezTo>
                    <a:pt x="83" y="0"/>
                    <a:pt x="87" y="1"/>
                    <a:pt x="92" y="3"/>
                  </a:cubicBezTo>
                  <a:cubicBezTo>
                    <a:pt x="96" y="5"/>
                    <a:pt x="99" y="8"/>
                    <a:pt x="102" y="12"/>
                  </a:cubicBezTo>
                  <a:cubicBezTo>
                    <a:pt x="105" y="15"/>
                    <a:pt x="108" y="19"/>
                    <a:pt x="109" y="24"/>
                  </a:cubicBezTo>
                  <a:cubicBezTo>
                    <a:pt x="111" y="29"/>
                    <a:pt x="112" y="35"/>
                    <a:pt x="112" y="40"/>
                  </a:cubicBezTo>
                  <a:cubicBezTo>
                    <a:pt x="112" y="136"/>
                    <a:pt x="112" y="136"/>
                    <a:pt x="112" y="136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36"/>
                    <a:pt x="83" y="29"/>
                    <a:pt x="80" y="24"/>
                  </a:cubicBezTo>
                  <a:cubicBezTo>
                    <a:pt x="76" y="20"/>
                    <a:pt x="70" y="18"/>
                    <a:pt x="64" y="18"/>
                  </a:cubicBezTo>
                  <a:cubicBezTo>
                    <a:pt x="61" y="18"/>
                    <a:pt x="58" y="18"/>
                    <a:pt x="55" y="19"/>
                  </a:cubicBezTo>
                  <a:cubicBezTo>
                    <a:pt x="52" y="20"/>
                    <a:pt x="49" y="21"/>
                    <a:pt x="46" y="23"/>
                  </a:cubicBezTo>
                  <a:cubicBezTo>
                    <a:pt x="42" y="25"/>
                    <a:pt x="39" y="27"/>
                    <a:pt x="36" y="29"/>
                  </a:cubicBezTo>
                  <a:cubicBezTo>
                    <a:pt x="33" y="31"/>
                    <a:pt x="30" y="34"/>
                    <a:pt x="27" y="37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0" y="136"/>
                    <a:pt x="0" y="136"/>
                    <a:pt x="0" y="136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3" name="Freeform 19"/>
            <p:cNvSpPr>
              <a:spLocks noEditPoints="1"/>
            </p:cNvSpPr>
            <p:nvPr/>
          </p:nvSpPr>
          <p:spPr bwMode="auto">
            <a:xfrm>
              <a:off x="4069" y="2849"/>
              <a:ext cx="303" cy="487"/>
            </a:xfrm>
            <a:custGeom>
              <a:avLst/>
              <a:gdLst>
                <a:gd name="T0" fmla="*/ 101 w 128"/>
                <a:gd name="T1" fmla="*/ 189 h 205"/>
                <a:gd name="T2" fmla="*/ 91 w 128"/>
                <a:gd name="T3" fmla="*/ 196 h 205"/>
                <a:gd name="T4" fmla="*/ 80 w 128"/>
                <a:gd name="T5" fmla="*/ 201 h 205"/>
                <a:gd name="T6" fmla="*/ 68 w 128"/>
                <a:gd name="T7" fmla="*/ 204 h 205"/>
                <a:gd name="T8" fmla="*/ 57 w 128"/>
                <a:gd name="T9" fmla="*/ 205 h 205"/>
                <a:gd name="T10" fmla="*/ 35 w 128"/>
                <a:gd name="T11" fmla="*/ 200 h 205"/>
                <a:gd name="T12" fmla="*/ 17 w 128"/>
                <a:gd name="T13" fmla="*/ 185 h 205"/>
                <a:gd name="T14" fmla="*/ 5 w 128"/>
                <a:gd name="T15" fmla="*/ 163 h 205"/>
                <a:gd name="T16" fmla="*/ 0 w 128"/>
                <a:gd name="T17" fmla="*/ 137 h 205"/>
                <a:gd name="T18" fmla="*/ 6 w 128"/>
                <a:gd name="T19" fmla="*/ 110 h 205"/>
                <a:gd name="T20" fmla="*/ 21 w 128"/>
                <a:gd name="T21" fmla="*/ 88 h 205"/>
                <a:gd name="T22" fmla="*/ 43 w 128"/>
                <a:gd name="T23" fmla="*/ 72 h 205"/>
                <a:gd name="T24" fmla="*/ 71 w 128"/>
                <a:gd name="T25" fmla="*/ 66 h 205"/>
                <a:gd name="T26" fmla="*/ 88 w 128"/>
                <a:gd name="T27" fmla="*/ 69 h 205"/>
                <a:gd name="T28" fmla="*/ 101 w 128"/>
                <a:gd name="T29" fmla="*/ 78 h 205"/>
                <a:gd name="T30" fmla="*/ 101 w 128"/>
                <a:gd name="T31" fmla="*/ 7 h 205"/>
                <a:gd name="T32" fmla="*/ 120 w 128"/>
                <a:gd name="T33" fmla="*/ 0 h 205"/>
                <a:gd name="T34" fmla="*/ 128 w 128"/>
                <a:gd name="T35" fmla="*/ 0 h 205"/>
                <a:gd name="T36" fmla="*/ 128 w 128"/>
                <a:gd name="T37" fmla="*/ 205 h 205"/>
                <a:gd name="T38" fmla="*/ 101 w 128"/>
                <a:gd name="T39" fmla="*/ 205 h 205"/>
                <a:gd name="T40" fmla="*/ 101 w 128"/>
                <a:gd name="T41" fmla="*/ 189 h 205"/>
                <a:gd name="T42" fmla="*/ 101 w 128"/>
                <a:gd name="T43" fmla="*/ 111 h 205"/>
                <a:gd name="T44" fmla="*/ 98 w 128"/>
                <a:gd name="T45" fmla="*/ 96 h 205"/>
                <a:gd name="T46" fmla="*/ 91 w 128"/>
                <a:gd name="T47" fmla="*/ 85 h 205"/>
                <a:gd name="T48" fmla="*/ 80 w 128"/>
                <a:gd name="T49" fmla="*/ 78 h 205"/>
                <a:gd name="T50" fmla="*/ 68 w 128"/>
                <a:gd name="T51" fmla="*/ 76 h 205"/>
                <a:gd name="T52" fmla="*/ 53 w 128"/>
                <a:gd name="T53" fmla="*/ 80 h 205"/>
                <a:gd name="T54" fmla="*/ 41 w 128"/>
                <a:gd name="T55" fmla="*/ 91 h 205"/>
                <a:gd name="T56" fmla="*/ 33 w 128"/>
                <a:gd name="T57" fmla="*/ 108 h 205"/>
                <a:gd name="T58" fmla="*/ 30 w 128"/>
                <a:gd name="T59" fmla="*/ 129 h 205"/>
                <a:gd name="T60" fmla="*/ 33 w 128"/>
                <a:gd name="T61" fmla="*/ 153 h 205"/>
                <a:gd name="T62" fmla="*/ 42 w 128"/>
                <a:gd name="T63" fmla="*/ 173 h 205"/>
                <a:gd name="T64" fmla="*/ 55 w 128"/>
                <a:gd name="T65" fmla="*/ 186 h 205"/>
                <a:gd name="T66" fmla="*/ 72 w 128"/>
                <a:gd name="T67" fmla="*/ 191 h 205"/>
                <a:gd name="T68" fmla="*/ 80 w 128"/>
                <a:gd name="T69" fmla="*/ 189 h 205"/>
                <a:gd name="T70" fmla="*/ 88 w 128"/>
                <a:gd name="T71" fmla="*/ 186 h 205"/>
                <a:gd name="T72" fmla="*/ 95 w 128"/>
                <a:gd name="T73" fmla="*/ 182 h 205"/>
                <a:gd name="T74" fmla="*/ 101 w 128"/>
                <a:gd name="T75" fmla="*/ 177 h 205"/>
                <a:gd name="T76" fmla="*/ 101 w 128"/>
                <a:gd name="T77" fmla="*/ 1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8" h="205">
                  <a:moveTo>
                    <a:pt x="101" y="189"/>
                  </a:moveTo>
                  <a:cubicBezTo>
                    <a:pt x="98" y="191"/>
                    <a:pt x="95" y="194"/>
                    <a:pt x="91" y="196"/>
                  </a:cubicBezTo>
                  <a:cubicBezTo>
                    <a:pt x="88" y="198"/>
                    <a:pt x="84" y="199"/>
                    <a:pt x="80" y="201"/>
                  </a:cubicBezTo>
                  <a:cubicBezTo>
                    <a:pt x="76" y="202"/>
                    <a:pt x="72" y="203"/>
                    <a:pt x="68" y="204"/>
                  </a:cubicBezTo>
                  <a:cubicBezTo>
                    <a:pt x="64" y="205"/>
                    <a:pt x="61" y="205"/>
                    <a:pt x="57" y="205"/>
                  </a:cubicBezTo>
                  <a:cubicBezTo>
                    <a:pt x="49" y="205"/>
                    <a:pt x="42" y="203"/>
                    <a:pt x="35" y="200"/>
                  </a:cubicBezTo>
                  <a:cubicBezTo>
                    <a:pt x="28" y="196"/>
                    <a:pt x="22" y="191"/>
                    <a:pt x="17" y="185"/>
                  </a:cubicBezTo>
                  <a:cubicBezTo>
                    <a:pt x="12" y="179"/>
                    <a:pt x="8" y="171"/>
                    <a:pt x="5" y="163"/>
                  </a:cubicBezTo>
                  <a:cubicBezTo>
                    <a:pt x="2" y="155"/>
                    <a:pt x="0" y="146"/>
                    <a:pt x="0" y="137"/>
                  </a:cubicBezTo>
                  <a:cubicBezTo>
                    <a:pt x="0" y="128"/>
                    <a:pt x="2" y="119"/>
                    <a:pt x="6" y="110"/>
                  </a:cubicBezTo>
                  <a:cubicBezTo>
                    <a:pt x="10" y="102"/>
                    <a:pt x="15" y="94"/>
                    <a:pt x="21" y="88"/>
                  </a:cubicBezTo>
                  <a:cubicBezTo>
                    <a:pt x="27" y="81"/>
                    <a:pt x="35" y="76"/>
                    <a:pt x="43" y="72"/>
                  </a:cubicBezTo>
                  <a:cubicBezTo>
                    <a:pt x="52" y="68"/>
                    <a:pt x="61" y="66"/>
                    <a:pt x="71" y="66"/>
                  </a:cubicBezTo>
                  <a:cubicBezTo>
                    <a:pt x="77" y="66"/>
                    <a:pt x="83" y="67"/>
                    <a:pt x="88" y="69"/>
                  </a:cubicBezTo>
                  <a:cubicBezTo>
                    <a:pt x="93" y="71"/>
                    <a:pt x="97" y="74"/>
                    <a:pt x="101" y="7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8" y="205"/>
                    <a:pt x="128" y="205"/>
                    <a:pt x="128" y="205"/>
                  </a:cubicBezTo>
                  <a:cubicBezTo>
                    <a:pt x="101" y="205"/>
                    <a:pt x="101" y="205"/>
                    <a:pt x="101" y="205"/>
                  </a:cubicBezTo>
                  <a:lnTo>
                    <a:pt x="101" y="189"/>
                  </a:lnTo>
                  <a:close/>
                  <a:moveTo>
                    <a:pt x="101" y="111"/>
                  </a:moveTo>
                  <a:cubicBezTo>
                    <a:pt x="101" y="106"/>
                    <a:pt x="100" y="101"/>
                    <a:pt x="98" y="96"/>
                  </a:cubicBezTo>
                  <a:cubicBezTo>
                    <a:pt x="96" y="92"/>
                    <a:pt x="94" y="88"/>
                    <a:pt x="91" y="85"/>
                  </a:cubicBezTo>
                  <a:cubicBezTo>
                    <a:pt x="87" y="82"/>
                    <a:pt x="84" y="80"/>
                    <a:pt x="80" y="78"/>
                  </a:cubicBezTo>
                  <a:cubicBezTo>
                    <a:pt x="76" y="76"/>
                    <a:pt x="72" y="76"/>
                    <a:pt x="68" y="76"/>
                  </a:cubicBezTo>
                  <a:cubicBezTo>
                    <a:pt x="63" y="76"/>
                    <a:pt x="58" y="77"/>
                    <a:pt x="53" y="80"/>
                  </a:cubicBezTo>
                  <a:cubicBezTo>
                    <a:pt x="48" y="82"/>
                    <a:pt x="44" y="86"/>
                    <a:pt x="41" y="91"/>
                  </a:cubicBezTo>
                  <a:cubicBezTo>
                    <a:pt x="37" y="95"/>
                    <a:pt x="35" y="101"/>
                    <a:pt x="33" y="108"/>
                  </a:cubicBezTo>
                  <a:cubicBezTo>
                    <a:pt x="31" y="114"/>
                    <a:pt x="30" y="122"/>
                    <a:pt x="30" y="129"/>
                  </a:cubicBezTo>
                  <a:cubicBezTo>
                    <a:pt x="30" y="138"/>
                    <a:pt x="31" y="146"/>
                    <a:pt x="33" y="153"/>
                  </a:cubicBezTo>
                  <a:cubicBezTo>
                    <a:pt x="35" y="161"/>
                    <a:pt x="38" y="167"/>
                    <a:pt x="42" y="173"/>
                  </a:cubicBezTo>
                  <a:cubicBezTo>
                    <a:pt x="46" y="178"/>
                    <a:pt x="50" y="183"/>
                    <a:pt x="55" y="186"/>
                  </a:cubicBezTo>
                  <a:cubicBezTo>
                    <a:pt x="61" y="189"/>
                    <a:pt x="66" y="191"/>
                    <a:pt x="72" y="191"/>
                  </a:cubicBezTo>
                  <a:cubicBezTo>
                    <a:pt x="75" y="191"/>
                    <a:pt x="77" y="190"/>
                    <a:pt x="80" y="189"/>
                  </a:cubicBezTo>
                  <a:cubicBezTo>
                    <a:pt x="83" y="189"/>
                    <a:pt x="86" y="188"/>
                    <a:pt x="88" y="186"/>
                  </a:cubicBezTo>
                  <a:cubicBezTo>
                    <a:pt x="91" y="185"/>
                    <a:pt x="93" y="184"/>
                    <a:pt x="95" y="182"/>
                  </a:cubicBezTo>
                  <a:cubicBezTo>
                    <a:pt x="98" y="180"/>
                    <a:pt x="99" y="179"/>
                    <a:pt x="101" y="177"/>
                  </a:cubicBezTo>
                  <a:lnTo>
                    <a:pt x="101" y="111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20"/>
            <p:cNvSpPr>
              <a:spLocks noEditPoints="1"/>
            </p:cNvSpPr>
            <p:nvPr/>
          </p:nvSpPr>
          <p:spPr bwMode="auto">
            <a:xfrm>
              <a:off x="4431" y="3006"/>
              <a:ext cx="304" cy="330"/>
            </a:xfrm>
            <a:custGeom>
              <a:avLst/>
              <a:gdLst>
                <a:gd name="T0" fmla="*/ 65 w 128"/>
                <a:gd name="T1" fmla="*/ 139 h 139"/>
                <a:gd name="T2" fmla="*/ 40 w 128"/>
                <a:gd name="T3" fmla="*/ 134 h 139"/>
                <a:gd name="T4" fmla="*/ 19 w 128"/>
                <a:gd name="T5" fmla="*/ 120 h 139"/>
                <a:gd name="T6" fmla="*/ 5 w 128"/>
                <a:gd name="T7" fmla="*/ 100 h 139"/>
                <a:gd name="T8" fmla="*/ 0 w 128"/>
                <a:gd name="T9" fmla="*/ 74 h 139"/>
                <a:gd name="T10" fmla="*/ 4 w 128"/>
                <a:gd name="T11" fmla="*/ 44 h 139"/>
                <a:gd name="T12" fmla="*/ 18 w 128"/>
                <a:gd name="T13" fmla="*/ 21 h 139"/>
                <a:gd name="T14" fmla="*/ 38 w 128"/>
                <a:gd name="T15" fmla="*/ 5 h 139"/>
                <a:gd name="T16" fmla="*/ 65 w 128"/>
                <a:gd name="T17" fmla="*/ 0 h 139"/>
                <a:gd name="T18" fmla="*/ 89 w 128"/>
                <a:gd name="T19" fmla="*/ 4 h 139"/>
                <a:gd name="T20" fmla="*/ 108 w 128"/>
                <a:gd name="T21" fmla="*/ 17 h 139"/>
                <a:gd name="T22" fmla="*/ 120 w 128"/>
                <a:gd name="T23" fmla="*/ 35 h 139"/>
                <a:gd name="T24" fmla="*/ 125 w 128"/>
                <a:gd name="T25" fmla="*/ 56 h 139"/>
                <a:gd name="T26" fmla="*/ 25 w 128"/>
                <a:gd name="T27" fmla="*/ 56 h 139"/>
                <a:gd name="T28" fmla="*/ 28 w 128"/>
                <a:gd name="T29" fmla="*/ 81 h 139"/>
                <a:gd name="T30" fmla="*/ 38 w 128"/>
                <a:gd name="T31" fmla="*/ 101 h 139"/>
                <a:gd name="T32" fmla="*/ 53 w 128"/>
                <a:gd name="T33" fmla="*/ 114 h 139"/>
                <a:gd name="T34" fmla="*/ 72 w 128"/>
                <a:gd name="T35" fmla="*/ 119 h 139"/>
                <a:gd name="T36" fmla="*/ 89 w 128"/>
                <a:gd name="T37" fmla="*/ 116 h 139"/>
                <a:gd name="T38" fmla="*/ 103 w 128"/>
                <a:gd name="T39" fmla="*/ 108 h 139"/>
                <a:gd name="T40" fmla="*/ 114 w 128"/>
                <a:gd name="T41" fmla="*/ 98 h 139"/>
                <a:gd name="T42" fmla="*/ 121 w 128"/>
                <a:gd name="T43" fmla="*/ 86 h 139"/>
                <a:gd name="T44" fmla="*/ 128 w 128"/>
                <a:gd name="T45" fmla="*/ 89 h 139"/>
                <a:gd name="T46" fmla="*/ 119 w 128"/>
                <a:gd name="T47" fmla="*/ 109 h 139"/>
                <a:gd name="T48" fmla="*/ 104 w 128"/>
                <a:gd name="T49" fmla="*/ 124 h 139"/>
                <a:gd name="T50" fmla="*/ 86 w 128"/>
                <a:gd name="T51" fmla="*/ 135 h 139"/>
                <a:gd name="T52" fmla="*/ 65 w 128"/>
                <a:gd name="T53" fmla="*/ 139 h 139"/>
                <a:gd name="T54" fmla="*/ 92 w 128"/>
                <a:gd name="T55" fmla="*/ 45 h 139"/>
                <a:gd name="T56" fmla="*/ 89 w 128"/>
                <a:gd name="T57" fmla="*/ 31 h 139"/>
                <a:gd name="T58" fmla="*/ 81 w 128"/>
                <a:gd name="T59" fmla="*/ 20 h 139"/>
                <a:gd name="T60" fmla="*/ 70 w 128"/>
                <a:gd name="T61" fmla="*/ 12 h 139"/>
                <a:gd name="T62" fmla="*/ 57 w 128"/>
                <a:gd name="T63" fmla="*/ 10 h 139"/>
                <a:gd name="T64" fmla="*/ 45 w 128"/>
                <a:gd name="T65" fmla="*/ 12 h 139"/>
                <a:gd name="T66" fmla="*/ 36 w 128"/>
                <a:gd name="T67" fmla="*/ 20 h 139"/>
                <a:gd name="T68" fmla="*/ 29 w 128"/>
                <a:gd name="T69" fmla="*/ 31 h 139"/>
                <a:gd name="T70" fmla="*/ 25 w 128"/>
                <a:gd name="T71" fmla="*/ 45 h 139"/>
                <a:gd name="T72" fmla="*/ 92 w 128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8" h="139">
                  <a:moveTo>
                    <a:pt x="65" y="139"/>
                  </a:moveTo>
                  <a:cubicBezTo>
                    <a:pt x="56" y="139"/>
                    <a:pt x="47" y="137"/>
                    <a:pt x="40" y="134"/>
                  </a:cubicBezTo>
                  <a:cubicBezTo>
                    <a:pt x="32" y="131"/>
                    <a:pt x="25" y="126"/>
                    <a:pt x="19" y="120"/>
                  </a:cubicBezTo>
                  <a:cubicBezTo>
                    <a:pt x="13" y="114"/>
                    <a:pt x="8" y="107"/>
                    <a:pt x="5" y="100"/>
                  </a:cubicBezTo>
                  <a:cubicBezTo>
                    <a:pt x="1" y="92"/>
                    <a:pt x="0" y="83"/>
                    <a:pt x="0" y="74"/>
                  </a:cubicBezTo>
                  <a:cubicBezTo>
                    <a:pt x="0" y="64"/>
                    <a:pt x="1" y="54"/>
                    <a:pt x="4" y="44"/>
                  </a:cubicBezTo>
                  <a:cubicBezTo>
                    <a:pt x="7" y="35"/>
                    <a:pt x="12" y="27"/>
                    <a:pt x="18" y="21"/>
                  </a:cubicBezTo>
                  <a:cubicBezTo>
                    <a:pt x="23" y="14"/>
                    <a:pt x="30" y="9"/>
                    <a:pt x="38" y="5"/>
                  </a:cubicBezTo>
                  <a:cubicBezTo>
                    <a:pt x="46" y="1"/>
                    <a:pt x="55" y="0"/>
                    <a:pt x="65" y="0"/>
                  </a:cubicBezTo>
                  <a:cubicBezTo>
                    <a:pt x="74" y="0"/>
                    <a:pt x="82" y="1"/>
                    <a:pt x="89" y="4"/>
                  </a:cubicBezTo>
                  <a:cubicBezTo>
                    <a:pt x="97" y="7"/>
                    <a:pt x="103" y="11"/>
                    <a:pt x="108" y="17"/>
                  </a:cubicBezTo>
                  <a:cubicBezTo>
                    <a:pt x="113" y="22"/>
                    <a:pt x="117" y="28"/>
                    <a:pt x="120" y="35"/>
                  </a:cubicBezTo>
                  <a:cubicBezTo>
                    <a:pt x="123" y="41"/>
                    <a:pt x="125" y="49"/>
                    <a:pt x="1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65"/>
                    <a:pt x="26" y="73"/>
                    <a:pt x="28" y="81"/>
                  </a:cubicBezTo>
                  <a:cubicBezTo>
                    <a:pt x="31" y="89"/>
                    <a:pt x="34" y="95"/>
                    <a:pt x="38" y="101"/>
                  </a:cubicBezTo>
                  <a:cubicBezTo>
                    <a:pt x="42" y="106"/>
                    <a:pt x="47" y="111"/>
                    <a:pt x="53" y="114"/>
                  </a:cubicBezTo>
                  <a:cubicBezTo>
                    <a:pt x="59" y="117"/>
                    <a:pt x="65" y="119"/>
                    <a:pt x="72" y="119"/>
                  </a:cubicBezTo>
                  <a:cubicBezTo>
                    <a:pt x="78" y="119"/>
                    <a:pt x="83" y="118"/>
                    <a:pt x="89" y="116"/>
                  </a:cubicBezTo>
                  <a:cubicBezTo>
                    <a:pt x="94" y="114"/>
                    <a:pt x="99" y="112"/>
                    <a:pt x="103" y="108"/>
                  </a:cubicBezTo>
                  <a:cubicBezTo>
                    <a:pt x="108" y="105"/>
                    <a:pt x="111" y="102"/>
                    <a:pt x="114" y="98"/>
                  </a:cubicBezTo>
                  <a:cubicBezTo>
                    <a:pt x="117" y="94"/>
                    <a:pt x="120" y="90"/>
                    <a:pt x="121" y="86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6" y="96"/>
                    <a:pt x="123" y="103"/>
                    <a:pt x="119" y="109"/>
                  </a:cubicBezTo>
                  <a:cubicBezTo>
                    <a:pt x="115" y="115"/>
                    <a:pt x="110" y="120"/>
                    <a:pt x="104" y="124"/>
                  </a:cubicBezTo>
                  <a:cubicBezTo>
                    <a:pt x="98" y="129"/>
                    <a:pt x="92" y="132"/>
                    <a:pt x="86" y="135"/>
                  </a:cubicBezTo>
                  <a:cubicBezTo>
                    <a:pt x="79" y="138"/>
                    <a:pt x="72" y="139"/>
                    <a:pt x="65" y="139"/>
                  </a:cubicBezTo>
                  <a:moveTo>
                    <a:pt x="92" y="45"/>
                  </a:moveTo>
                  <a:cubicBezTo>
                    <a:pt x="92" y="40"/>
                    <a:pt x="91" y="36"/>
                    <a:pt x="89" y="31"/>
                  </a:cubicBezTo>
                  <a:cubicBezTo>
                    <a:pt x="87" y="27"/>
                    <a:pt x="85" y="23"/>
                    <a:pt x="81" y="20"/>
                  </a:cubicBezTo>
                  <a:cubicBezTo>
                    <a:pt x="78" y="17"/>
                    <a:pt x="75" y="14"/>
                    <a:pt x="70" y="12"/>
                  </a:cubicBezTo>
                  <a:cubicBezTo>
                    <a:pt x="66" y="10"/>
                    <a:pt x="62" y="10"/>
                    <a:pt x="57" y="10"/>
                  </a:cubicBezTo>
                  <a:cubicBezTo>
                    <a:pt x="53" y="10"/>
                    <a:pt x="49" y="10"/>
                    <a:pt x="45" y="12"/>
                  </a:cubicBezTo>
                  <a:cubicBezTo>
                    <a:pt x="42" y="14"/>
                    <a:pt x="39" y="17"/>
                    <a:pt x="36" y="20"/>
                  </a:cubicBezTo>
                  <a:cubicBezTo>
                    <a:pt x="33" y="23"/>
                    <a:pt x="31" y="27"/>
                    <a:pt x="29" y="31"/>
                  </a:cubicBezTo>
                  <a:cubicBezTo>
                    <a:pt x="27" y="36"/>
                    <a:pt x="26" y="40"/>
                    <a:pt x="25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21"/>
            <p:cNvSpPr>
              <a:spLocks noEditPoints="1"/>
            </p:cNvSpPr>
            <p:nvPr/>
          </p:nvSpPr>
          <p:spPr bwMode="auto">
            <a:xfrm>
              <a:off x="4780" y="2849"/>
              <a:ext cx="301" cy="487"/>
            </a:xfrm>
            <a:custGeom>
              <a:avLst/>
              <a:gdLst>
                <a:gd name="T0" fmla="*/ 101 w 127"/>
                <a:gd name="T1" fmla="*/ 189 h 205"/>
                <a:gd name="T2" fmla="*/ 91 w 127"/>
                <a:gd name="T3" fmla="*/ 196 h 205"/>
                <a:gd name="T4" fmla="*/ 80 w 127"/>
                <a:gd name="T5" fmla="*/ 201 h 205"/>
                <a:gd name="T6" fmla="*/ 68 w 127"/>
                <a:gd name="T7" fmla="*/ 204 h 205"/>
                <a:gd name="T8" fmla="*/ 57 w 127"/>
                <a:gd name="T9" fmla="*/ 205 h 205"/>
                <a:gd name="T10" fmla="*/ 34 w 127"/>
                <a:gd name="T11" fmla="*/ 200 h 205"/>
                <a:gd name="T12" fmla="*/ 16 w 127"/>
                <a:gd name="T13" fmla="*/ 185 h 205"/>
                <a:gd name="T14" fmla="*/ 4 w 127"/>
                <a:gd name="T15" fmla="*/ 163 h 205"/>
                <a:gd name="T16" fmla="*/ 0 w 127"/>
                <a:gd name="T17" fmla="*/ 137 h 205"/>
                <a:gd name="T18" fmla="*/ 6 w 127"/>
                <a:gd name="T19" fmla="*/ 110 h 205"/>
                <a:gd name="T20" fmla="*/ 21 w 127"/>
                <a:gd name="T21" fmla="*/ 88 h 205"/>
                <a:gd name="T22" fmla="*/ 43 w 127"/>
                <a:gd name="T23" fmla="*/ 72 h 205"/>
                <a:gd name="T24" fmla="*/ 70 w 127"/>
                <a:gd name="T25" fmla="*/ 66 h 205"/>
                <a:gd name="T26" fmla="*/ 87 w 127"/>
                <a:gd name="T27" fmla="*/ 69 h 205"/>
                <a:gd name="T28" fmla="*/ 101 w 127"/>
                <a:gd name="T29" fmla="*/ 78 h 205"/>
                <a:gd name="T30" fmla="*/ 101 w 127"/>
                <a:gd name="T31" fmla="*/ 7 h 205"/>
                <a:gd name="T32" fmla="*/ 119 w 127"/>
                <a:gd name="T33" fmla="*/ 0 h 205"/>
                <a:gd name="T34" fmla="*/ 127 w 127"/>
                <a:gd name="T35" fmla="*/ 0 h 205"/>
                <a:gd name="T36" fmla="*/ 127 w 127"/>
                <a:gd name="T37" fmla="*/ 205 h 205"/>
                <a:gd name="T38" fmla="*/ 101 w 127"/>
                <a:gd name="T39" fmla="*/ 205 h 205"/>
                <a:gd name="T40" fmla="*/ 101 w 127"/>
                <a:gd name="T41" fmla="*/ 189 h 205"/>
                <a:gd name="T42" fmla="*/ 101 w 127"/>
                <a:gd name="T43" fmla="*/ 111 h 205"/>
                <a:gd name="T44" fmla="*/ 98 w 127"/>
                <a:gd name="T45" fmla="*/ 96 h 205"/>
                <a:gd name="T46" fmla="*/ 90 w 127"/>
                <a:gd name="T47" fmla="*/ 85 h 205"/>
                <a:gd name="T48" fmla="*/ 79 w 127"/>
                <a:gd name="T49" fmla="*/ 78 h 205"/>
                <a:gd name="T50" fmla="*/ 67 w 127"/>
                <a:gd name="T51" fmla="*/ 76 h 205"/>
                <a:gd name="T52" fmla="*/ 53 w 127"/>
                <a:gd name="T53" fmla="*/ 80 h 205"/>
                <a:gd name="T54" fmla="*/ 40 w 127"/>
                <a:gd name="T55" fmla="*/ 91 h 205"/>
                <a:gd name="T56" fmla="*/ 32 w 127"/>
                <a:gd name="T57" fmla="*/ 108 h 205"/>
                <a:gd name="T58" fmla="*/ 29 w 127"/>
                <a:gd name="T59" fmla="*/ 129 h 205"/>
                <a:gd name="T60" fmla="*/ 33 w 127"/>
                <a:gd name="T61" fmla="*/ 153 h 205"/>
                <a:gd name="T62" fmla="*/ 42 w 127"/>
                <a:gd name="T63" fmla="*/ 173 h 205"/>
                <a:gd name="T64" fmla="*/ 55 w 127"/>
                <a:gd name="T65" fmla="*/ 186 h 205"/>
                <a:gd name="T66" fmla="*/ 71 w 127"/>
                <a:gd name="T67" fmla="*/ 191 h 205"/>
                <a:gd name="T68" fmla="*/ 80 w 127"/>
                <a:gd name="T69" fmla="*/ 189 h 205"/>
                <a:gd name="T70" fmla="*/ 88 w 127"/>
                <a:gd name="T71" fmla="*/ 186 h 205"/>
                <a:gd name="T72" fmla="*/ 95 w 127"/>
                <a:gd name="T73" fmla="*/ 182 h 205"/>
                <a:gd name="T74" fmla="*/ 101 w 127"/>
                <a:gd name="T75" fmla="*/ 177 h 205"/>
                <a:gd name="T76" fmla="*/ 101 w 127"/>
                <a:gd name="T77" fmla="*/ 1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7" h="205">
                  <a:moveTo>
                    <a:pt x="101" y="189"/>
                  </a:moveTo>
                  <a:cubicBezTo>
                    <a:pt x="98" y="191"/>
                    <a:pt x="94" y="194"/>
                    <a:pt x="91" y="196"/>
                  </a:cubicBezTo>
                  <a:cubicBezTo>
                    <a:pt x="87" y="198"/>
                    <a:pt x="83" y="199"/>
                    <a:pt x="80" y="201"/>
                  </a:cubicBezTo>
                  <a:cubicBezTo>
                    <a:pt x="76" y="202"/>
                    <a:pt x="72" y="203"/>
                    <a:pt x="68" y="204"/>
                  </a:cubicBezTo>
                  <a:cubicBezTo>
                    <a:pt x="64" y="205"/>
                    <a:pt x="60" y="205"/>
                    <a:pt x="57" y="205"/>
                  </a:cubicBezTo>
                  <a:cubicBezTo>
                    <a:pt x="49" y="205"/>
                    <a:pt x="41" y="203"/>
                    <a:pt x="34" y="200"/>
                  </a:cubicBezTo>
                  <a:cubicBezTo>
                    <a:pt x="28" y="196"/>
                    <a:pt x="22" y="191"/>
                    <a:pt x="16" y="185"/>
                  </a:cubicBezTo>
                  <a:cubicBezTo>
                    <a:pt x="11" y="179"/>
                    <a:pt x="7" y="171"/>
                    <a:pt x="4" y="163"/>
                  </a:cubicBezTo>
                  <a:cubicBezTo>
                    <a:pt x="1" y="155"/>
                    <a:pt x="0" y="146"/>
                    <a:pt x="0" y="137"/>
                  </a:cubicBezTo>
                  <a:cubicBezTo>
                    <a:pt x="0" y="128"/>
                    <a:pt x="2" y="119"/>
                    <a:pt x="6" y="110"/>
                  </a:cubicBezTo>
                  <a:cubicBezTo>
                    <a:pt x="9" y="102"/>
                    <a:pt x="14" y="94"/>
                    <a:pt x="21" y="88"/>
                  </a:cubicBezTo>
                  <a:cubicBezTo>
                    <a:pt x="27" y="81"/>
                    <a:pt x="34" y="76"/>
                    <a:pt x="43" y="72"/>
                  </a:cubicBezTo>
                  <a:cubicBezTo>
                    <a:pt x="51" y="68"/>
                    <a:pt x="60" y="66"/>
                    <a:pt x="70" y="66"/>
                  </a:cubicBezTo>
                  <a:cubicBezTo>
                    <a:pt x="77" y="66"/>
                    <a:pt x="82" y="67"/>
                    <a:pt x="87" y="69"/>
                  </a:cubicBezTo>
                  <a:cubicBezTo>
                    <a:pt x="92" y="71"/>
                    <a:pt x="97" y="74"/>
                    <a:pt x="101" y="7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7" y="205"/>
                    <a:pt x="127" y="205"/>
                    <a:pt x="127" y="205"/>
                  </a:cubicBezTo>
                  <a:cubicBezTo>
                    <a:pt x="101" y="205"/>
                    <a:pt x="101" y="205"/>
                    <a:pt x="101" y="205"/>
                  </a:cubicBezTo>
                  <a:lnTo>
                    <a:pt x="101" y="189"/>
                  </a:lnTo>
                  <a:close/>
                  <a:moveTo>
                    <a:pt x="101" y="111"/>
                  </a:moveTo>
                  <a:cubicBezTo>
                    <a:pt x="101" y="106"/>
                    <a:pt x="100" y="101"/>
                    <a:pt x="98" y="96"/>
                  </a:cubicBezTo>
                  <a:cubicBezTo>
                    <a:pt x="96" y="92"/>
                    <a:pt x="93" y="88"/>
                    <a:pt x="90" y="85"/>
                  </a:cubicBezTo>
                  <a:cubicBezTo>
                    <a:pt x="87" y="82"/>
                    <a:pt x="83" y="80"/>
                    <a:pt x="79" y="78"/>
                  </a:cubicBezTo>
                  <a:cubicBezTo>
                    <a:pt x="76" y="76"/>
                    <a:pt x="71" y="76"/>
                    <a:pt x="67" y="76"/>
                  </a:cubicBezTo>
                  <a:cubicBezTo>
                    <a:pt x="62" y="76"/>
                    <a:pt x="57" y="77"/>
                    <a:pt x="53" y="80"/>
                  </a:cubicBezTo>
                  <a:cubicBezTo>
                    <a:pt x="48" y="82"/>
                    <a:pt x="44" y="86"/>
                    <a:pt x="40" y="91"/>
                  </a:cubicBezTo>
                  <a:cubicBezTo>
                    <a:pt x="37" y="95"/>
                    <a:pt x="34" y="101"/>
                    <a:pt x="32" y="108"/>
                  </a:cubicBezTo>
                  <a:cubicBezTo>
                    <a:pt x="30" y="114"/>
                    <a:pt x="29" y="122"/>
                    <a:pt x="29" y="129"/>
                  </a:cubicBezTo>
                  <a:cubicBezTo>
                    <a:pt x="29" y="138"/>
                    <a:pt x="30" y="146"/>
                    <a:pt x="33" y="153"/>
                  </a:cubicBezTo>
                  <a:cubicBezTo>
                    <a:pt x="35" y="161"/>
                    <a:pt x="38" y="167"/>
                    <a:pt x="42" y="173"/>
                  </a:cubicBezTo>
                  <a:cubicBezTo>
                    <a:pt x="45" y="178"/>
                    <a:pt x="50" y="183"/>
                    <a:pt x="55" y="186"/>
                  </a:cubicBezTo>
                  <a:cubicBezTo>
                    <a:pt x="60" y="189"/>
                    <a:pt x="66" y="191"/>
                    <a:pt x="71" y="191"/>
                  </a:cubicBezTo>
                  <a:cubicBezTo>
                    <a:pt x="74" y="191"/>
                    <a:pt x="77" y="190"/>
                    <a:pt x="80" y="189"/>
                  </a:cubicBezTo>
                  <a:cubicBezTo>
                    <a:pt x="83" y="189"/>
                    <a:pt x="85" y="188"/>
                    <a:pt x="88" y="186"/>
                  </a:cubicBezTo>
                  <a:cubicBezTo>
                    <a:pt x="90" y="185"/>
                    <a:pt x="93" y="184"/>
                    <a:pt x="95" y="182"/>
                  </a:cubicBezTo>
                  <a:cubicBezTo>
                    <a:pt x="97" y="180"/>
                    <a:pt x="99" y="179"/>
                    <a:pt x="101" y="177"/>
                  </a:cubicBezTo>
                  <a:lnTo>
                    <a:pt x="101" y="111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22"/>
            <p:cNvSpPr>
              <a:spLocks/>
            </p:cNvSpPr>
            <p:nvPr/>
          </p:nvSpPr>
          <p:spPr bwMode="auto">
            <a:xfrm>
              <a:off x="2515" y="3463"/>
              <a:ext cx="201" cy="432"/>
            </a:xfrm>
            <a:custGeom>
              <a:avLst/>
              <a:gdLst>
                <a:gd name="T0" fmla="*/ 85 w 85"/>
                <a:gd name="T1" fmla="*/ 163 h 182"/>
                <a:gd name="T2" fmla="*/ 71 w 85"/>
                <a:gd name="T3" fmla="*/ 177 h 182"/>
                <a:gd name="T4" fmla="*/ 50 w 85"/>
                <a:gd name="T5" fmla="*/ 182 h 182"/>
                <a:gd name="T6" fmla="*/ 38 w 85"/>
                <a:gd name="T7" fmla="*/ 180 h 182"/>
                <a:gd name="T8" fmla="*/ 30 w 85"/>
                <a:gd name="T9" fmla="*/ 174 h 182"/>
                <a:gd name="T10" fmla="*/ 25 w 85"/>
                <a:gd name="T11" fmla="*/ 164 h 182"/>
                <a:gd name="T12" fmla="*/ 23 w 85"/>
                <a:gd name="T13" fmla="*/ 151 h 182"/>
                <a:gd name="T14" fmla="*/ 23 w 85"/>
                <a:gd name="T15" fmla="*/ 57 h 182"/>
                <a:gd name="T16" fmla="*/ 0 w 85"/>
                <a:gd name="T17" fmla="*/ 57 h 182"/>
                <a:gd name="T18" fmla="*/ 0 w 85"/>
                <a:gd name="T19" fmla="*/ 51 h 182"/>
                <a:gd name="T20" fmla="*/ 19 w 85"/>
                <a:gd name="T21" fmla="*/ 46 h 182"/>
                <a:gd name="T22" fmla="*/ 30 w 85"/>
                <a:gd name="T23" fmla="*/ 36 h 182"/>
                <a:gd name="T24" fmla="*/ 38 w 85"/>
                <a:gd name="T25" fmla="*/ 19 h 182"/>
                <a:gd name="T26" fmla="*/ 42 w 85"/>
                <a:gd name="T27" fmla="*/ 0 h 182"/>
                <a:gd name="T28" fmla="*/ 50 w 85"/>
                <a:gd name="T29" fmla="*/ 0 h 182"/>
                <a:gd name="T30" fmla="*/ 50 w 85"/>
                <a:gd name="T31" fmla="*/ 46 h 182"/>
                <a:gd name="T32" fmla="*/ 80 w 85"/>
                <a:gd name="T33" fmla="*/ 46 h 182"/>
                <a:gd name="T34" fmla="*/ 80 w 85"/>
                <a:gd name="T35" fmla="*/ 57 h 182"/>
                <a:gd name="T36" fmla="*/ 50 w 85"/>
                <a:gd name="T37" fmla="*/ 57 h 182"/>
                <a:gd name="T38" fmla="*/ 50 w 85"/>
                <a:gd name="T39" fmla="*/ 151 h 182"/>
                <a:gd name="T40" fmla="*/ 54 w 85"/>
                <a:gd name="T41" fmla="*/ 161 h 182"/>
                <a:gd name="T42" fmla="*/ 64 w 85"/>
                <a:gd name="T43" fmla="*/ 166 h 182"/>
                <a:gd name="T44" fmla="*/ 73 w 85"/>
                <a:gd name="T45" fmla="*/ 163 h 182"/>
                <a:gd name="T46" fmla="*/ 79 w 85"/>
                <a:gd name="T47" fmla="*/ 158 h 182"/>
                <a:gd name="T48" fmla="*/ 85 w 85"/>
                <a:gd name="T49" fmla="*/ 16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5" h="182">
                  <a:moveTo>
                    <a:pt x="85" y="163"/>
                  </a:moveTo>
                  <a:cubicBezTo>
                    <a:pt x="82" y="169"/>
                    <a:pt x="77" y="174"/>
                    <a:pt x="71" y="177"/>
                  </a:cubicBezTo>
                  <a:cubicBezTo>
                    <a:pt x="65" y="181"/>
                    <a:pt x="58" y="182"/>
                    <a:pt x="50" y="182"/>
                  </a:cubicBezTo>
                  <a:cubicBezTo>
                    <a:pt x="45" y="182"/>
                    <a:pt x="41" y="182"/>
                    <a:pt x="38" y="180"/>
                  </a:cubicBezTo>
                  <a:cubicBezTo>
                    <a:pt x="35" y="179"/>
                    <a:pt x="32" y="177"/>
                    <a:pt x="30" y="174"/>
                  </a:cubicBezTo>
                  <a:cubicBezTo>
                    <a:pt x="28" y="171"/>
                    <a:pt x="26" y="168"/>
                    <a:pt x="25" y="164"/>
                  </a:cubicBezTo>
                  <a:cubicBezTo>
                    <a:pt x="24" y="160"/>
                    <a:pt x="23" y="156"/>
                    <a:pt x="23" y="151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8" y="51"/>
                    <a:pt x="14" y="49"/>
                    <a:pt x="19" y="46"/>
                  </a:cubicBezTo>
                  <a:cubicBezTo>
                    <a:pt x="23" y="44"/>
                    <a:pt x="27" y="40"/>
                    <a:pt x="30" y="36"/>
                  </a:cubicBezTo>
                  <a:cubicBezTo>
                    <a:pt x="34" y="31"/>
                    <a:pt x="36" y="25"/>
                    <a:pt x="38" y="19"/>
                  </a:cubicBezTo>
                  <a:cubicBezTo>
                    <a:pt x="39" y="13"/>
                    <a:pt x="41" y="7"/>
                    <a:pt x="4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50" y="155"/>
                    <a:pt x="51" y="159"/>
                    <a:pt x="54" y="161"/>
                  </a:cubicBezTo>
                  <a:cubicBezTo>
                    <a:pt x="57" y="164"/>
                    <a:pt x="60" y="166"/>
                    <a:pt x="64" y="166"/>
                  </a:cubicBezTo>
                  <a:cubicBezTo>
                    <a:pt x="67" y="166"/>
                    <a:pt x="70" y="165"/>
                    <a:pt x="73" y="163"/>
                  </a:cubicBezTo>
                  <a:cubicBezTo>
                    <a:pt x="75" y="162"/>
                    <a:pt x="77" y="160"/>
                    <a:pt x="79" y="158"/>
                  </a:cubicBezTo>
                  <a:lnTo>
                    <a:pt x="85" y="163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7" name="Freeform 23"/>
            <p:cNvSpPr>
              <a:spLocks noEditPoints="1"/>
            </p:cNvSpPr>
            <p:nvPr/>
          </p:nvSpPr>
          <p:spPr bwMode="auto">
            <a:xfrm>
              <a:off x="2742" y="3565"/>
              <a:ext cx="334" cy="330"/>
            </a:xfrm>
            <a:custGeom>
              <a:avLst/>
              <a:gdLst>
                <a:gd name="T0" fmla="*/ 71 w 141"/>
                <a:gd name="T1" fmla="*/ 139 h 139"/>
                <a:gd name="T2" fmla="*/ 42 w 141"/>
                <a:gd name="T3" fmla="*/ 134 h 139"/>
                <a:gd name="T4" fmla="*/ 20 w 141"/>
                <a:gd name="T5" fmla="*/ 119 h 139"/>
                <a:gd name="T6" fmla="*/ 5 w 141"/>
                <a:gd name="T7" fmla="*/ 98 h 139"/>
                <a:gd name="T8" fmla="*/ 0 w 141"/>
                <a:gd name="T9" fmla="*/ 71 h 139"/>
                <a:gd name="T10" fmla="*/ 5 w 141"/>
                <a:gd name="T11" fmla="*/ 44 h 139"/>
                <a:gd name="T12" fmla="*/ 20 w 141"/>
                <a:gd name="T13" fmla="*/ 21 h 139"/>
                <a:gd name="T14" fmla="*/ 42 w 141"/>
                <a:gd name="T15" fmla="*/ 6 h 139"/>
                <a:gd name="T16" fmla="*/ 71 w 141"/>
                <a:gd name="T17" fmla="*/ 0 h 139"/>
                <a:gd name="T18" fmla="*/ 99 w 141"/>
                <a:gd name="T19" fmla="*/ 5 h 139"/>
                <a:gd name="T20" fmla="*/ 121 w 141"/>
                <a:gd name="T21" fmla="*/ 19 h 139"/>
                <a:gd name="T22" fmla="*/ 136 w 141"/>
                <a:gd name="T23" fmla="*/ 40 h 139"/>
                <a:gd name="T24" fmla="*/ 141 w 141"/>
                <a:gd name="T25" fmla="*/ 66 h 139"/>
                <a:gd name="T26" fmla="*/ 136 w 141"/>
                <a:gd name="T27" fmla="*/ 94 h 139"/>
                <a:gd name="T28" fmla="*/ 121 w 141"/>
                <a:gd name="T29" fmla="*/ 118 h 139"/>
                <a:gd name="T30" fmla="*/ 99 w 141"/>
                <a:gd name="T31" fmla="*/ 134 h 139"/>
                <a:gd name="T32" fmla="*/ 71 w 141"/>
                <a:gd name="T33" fmla="*/ 139 h 139"/>
                <a:gd name="T34" fmla="*/ 76 w 141"/>
                <a:gd name="T35" fmla="*/ 129 h 139"/>
                <a:gd name="T36" fmla="*/ 90 w 141"/>
                <a:gd name="T37" fmla="*/ 125 h 139"/>
                <a:gd name="T38" fmla="*/ 101 w 141"/>
                <a:gd name="T39" fmla="*/ 115 h 139"/>
                <a:gd name="T40" fmla="*/ 109 w 141"/>
                <a:gd name="T41" fmla="*/ 99 h 139"/>
                <a:gd name="T42" fmla="*/ 111 w 141"/>
                <a:gd name="T43" fmla="*/ 80 h 139"/>
                <a:gd name="T44" fmla="*/ 109 w 141"/>
                <a:gd name="T45" fmla="*/ 52 h 139"/>
                <a:gd name="T46" fmla="*/ 101 w 141"/>
                <a:gd name="T47" fmla="*/ 30 h 139"/>
                <a:gd name="T48" fmla="*/ 86 w 141"/>
                <a:gd name="T49" fmla="*/ 15 h 139"/>
                <a:gd name="T50" fmla="*/ 64 w 141"/>
                <a:gd name="T51" fmla="*/ 10 h 139"/>
                <a:gd name="T52" fmla="*/ 51 w 141"/>
                <a:gd name="T53" fmla="*/ 14 h 139"/>
                <a:gd name="T54" fmla="*/ 40 w 141"/>
                <a:gd name="T55" fmla="*/ 24 h 139"/>
                <a:gd name="T56" fmla="*/ 33 w 141"/>
                <a:gd name="T57" fmla="*/ 40 h 139"/>
                <a:gd name="T58" fmla="*/ 30 w 141"/>
                <a:gd name="T59" fmla="*/ 59 h 139"/>
                <a:gd name="T60" fmla="*/ 33 w 141"/>
                <a:gd name="T61" fmla="*/ 87 h 139"/>
                <a:gd name="T62" fmla="*/ 42 w 141"/>
                <a:gd name="T63" fmla="*/ 109 h 139"/>
                <a:gd name="T64" fmla="*/ 56 w 141"/>
                <a:gd name="T65" fmla="*/ 124 h 139"/>
                <a:gd name="T66" fmla="*/ 76 w 141"/>
                <a:gd name="T67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1" h="139">
                  <a:moveTo>
                    <a:pt x="71" y="139"/>
                  </a:moveTo>
                  <a:cubicBezTo>
                    <a:pt x="60" y="139"/>
                    <a:pt x="51" y="138"/>
                    <a:pt x="42" y="134"/>
                  </a:cubicBezTo>
                  <a:cubicBezTo>
                    <a:pt x="34" y="131"/>
                    <a:pt x="26" y="126"/>
                    <a:pt x="20" y="119"/>
                  </a:cubicBezTo>
                  <a:cubicBezTo>
                    <a:pt x="14" y="113"/>
                    <a:pt x="9" y="106"/>
                    <a:pt x="5" y="98"/>
                  </a:cubicBezTo>
                  <a:cubicBezTo>
                    <a:pt x="2" y="90"/>
                    <a:pt x="0" y="81"/>
                    <a:pt x="0" y="71"/>
                  </a:cubicBezTo>
                  <a:cubicBezTo>
                    <a:pt x="0" y="61"/>
                    <a:pt x="2" y="52"/>
                    <a:pt x="5" y="44"/>
                  </a:cubicBezTo>
                  <a:cubicBezTo>
                    <a:pt x="9" y="35"/>
                    <a:pt x="14" y="27"/>
                    <a:pt x="20" y="21"/>
                  </a:cubicBezTo>
                  <a:cubicBezTo>
                    <a:pt x="26" y="15"/>
                    <a:pt x="34" y="9"/>
                    <a:pt x="42" y="6"/>
                  </a:cubicBezTo>
                  <a:cubicBezTo>
                    <a:pt x="51" y="2"/>
                    <a:pt x="60" y="0"/>
                    <a:pt x="71" y="0"/>
                  </a:cubicBezTo>
                  <a:cubicBezTo>
                    <a:pt x="81" y="0"/>
                    <a:pt x="90" y="2"/>
                    <a:pt x="99" y="5"/>
                  </a:cubicBezTo>
                  <a:cubicBezTo>
                    <a:pt x="108" y="9"/>
                    <a:pt x="115" y="13"/>
                    <a:pt x="121" y="19"/>
                  </a:cubicBezTo>
                  <a:cubicBezTo>
                    <a:pt x="128" y="25"/>
                    <a:pt x="133" y="32"/>
                    <a:pt x="136" y="40"/>
                  </a:cubicBezTo>
                  <a:cubicBezTo>
                    <a:pt x="140" y="48"/>
                    <a:pt x="141" y="57"/>
                    <a:pt x="141" y="66"/>
                  </a:cubicBezTo>
                  <a:cubicBezTo>
                    <a:pt x="141" y="76"/>
                    <a:pt x="140" y="85"/>
                    <a:pt x="136" y="94"/>
                  </a:cubicBezTo>
                  <a:cubicBezTo>
                    <a:pt x="133" y="103"/>
                    <a:pt x="128" y="111"/>
                    <a:pt x="121" y="118"/>
                  </a:cubicBezTo>
                  <a:cubicBezTo>
                    <a:pt x="115" y="124"/>
                    <a:pt x="108" y="130"/>
                    <a:pt x="99" y="134"/>
                  </a:cubicBezTo>
                  <a:cubicBezTo>
                    <a:pt x="90" y="137"/>
                    <a:pt x="81" y="139"/>
                    <a:pt x="71" y="139"/>
                  </a:cubicBezTo>
                  <a:moveTo>
                    <a:pt x="76" y="129"/>
                  </a:moveTo>
                  <a:cubicBezTo>
                    <a:pt x="81" y="129"/>
                    <a:pt x="86" y="128"/>
                    <a:pt x="90" y="125"/>
                  </a:cubicBezTo>
                  <a:cubicBezTo>
                    <a:pt x="94" y="123"/>
                    <a:pt x="98" y="119"/>
                    <a:pt x="101" y="115"/>
                  </a:cubicBezTo>
                  <a:cubicBezTo>
                    <a:pt x="105" y="110"/>
                    <a:pt x="107" y="105"/>
                    <a:pt x="109" y="99"/>
                  </a:cubicBezTo>
                  <a:cubicBezTo>
                    <a:pt x="111" y="93"/>
                    <a:pt x="111" y="86"/>
                    <a:pt x="111" y="80"/>
                  </a:cubicBezTo>
                  <a:cubicBezTo>
                    <a:pt x="111" y="70"/>
                    <a:pt x="111" y="61"/>
                    <a:pt x="109" y="52"/>
                  </a:cubicBezTo>
                  <a:cubicBezTo>
                    <a:pt x="107" y="44"/>
                    <a:pt x="105" y="37"/>
                    <a:pt x="101" y="30"/>
                  </a:cubicBezTo>
                  <a:cubicBezTo>
                    <a:pt x="97" y="24"/>
                    <a:pt x="92" y="19"/>
                    <a:pt x="86" y="15"/>
                  </a:cubicBezTo>
                  <a:cubicBezTo>
                    <a:pt x="80" y="12"/>
                    <a:pt x="73" y="10"/>
                    <a:pt x="64" y="10"/>
                  </a:cubicBezTo>
                  <a:cubicBezTo>
                    <a:pt x="60" y="10"/>
                    <a:pt x="55" y="11"/>
                    <a:pt x="51" y="14"/>
                  </a:cubicBezTo>
                  <a:cubicBezTo>
                    <a:pt x="47" y="16"/>
                    <a:pt x="43" y="20"/>
                    <a:pt x="40" y="24"/>
                  </a:cubicBezTo>
                  <a:cubicBezTo>
                    <a:pt x="37" y="29"/>
                    <a:pt x="34" y="34"/>
                    <a:pt x="33" y="40"/>
                  </a:cubicBezTo>
                  <a:cubicBezTo>
                    <a:pt x="31" y="46"/>
                    <a:pt x="30" y="52"/>
                    <a:pt x="30" y="59"/>
                  </a:cubicBezTo>
                  <a:cubicBezTo>
                    <a:pt x="30" y="69"/>
                    <a:pt x="31" y="78"/>
                    <a:pt x="33" y="87"/>
                  </a:cubicBezTo>
                  <a:cubicBezTo>
                    <a:pt x="35" y="95"/>
                    <a:pt x="38" y="103"/>
                    <a:pt x="42" y="109"/>
                  </a:cubicBezTo>
                  <a:cubicBezTo>
                    <a:pt x="46" y="115"/>
                    <a:pt x="51" y="120"/>
                    <a:pt x="56" y="124"/>
                  </a:cubicBezTo>
                  <a:cubicBezTo>
                    <a:pt x="62" y="128"/>
                    <a:pt x="68" y="129"/>
                    <a:pt x="76" y="129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8" name="Freeform 24"/>
            <p:cNvSpPr>
              <a:spLocks noEditPoints="1"/>
            </p:cNvSpPr>
            <p:nvPr/>
          </p:nvSpPr>
          <p:spPr bwMode="auto">
            <a:xfrm>
              <a:off x="3123" y="3565"/>
              <a:ext cx="337" cy="330"/>
            </a:xfrm>
            <a:custGeom>
              <a:avLst/>
              <a:gdLst>
                <a:gd name="T0" fmla="*/ 71 w 142"/>
                <a:gd name="T1" fmla="*/ 139 h 139"/>
                <a:gd name="T2" fmla="*/ 43 w 142"/>
                <a:gd name="T3" fmla="*/ 134 h 139"/>
                <a:gd name="T4" fmla="*/ 20 w 142"/>
                <a:gd name="T5" fmla="*/ 119 h 139"/>
                <a:gd name="T6" fmla="*/ 6 w 142"/>
                <a:gd name="T7" fmla="*/ 98 h 139"/>
                <a:gd name="T8" fmla="*/ 0 w 142"/>
                <a:gd name="T9" fmla="*/ 71 h 139"/>
                <a:gd name="T10" fmla="*/ 6 w 142"/>
                <a:gd name="T11" fmla="*/ 44 h 139"/>
                <a:gd name="T12" fmla="*/ 20 w 142"/>
                <a:gd name="T13" fmla="*/ 21 h 139"/>
                <a:gd name="T14" fmla="*/ 43 w 142"/>
                <a:gd name="T15" fmla="*/ 6 h 139"/>
                <a:gd name="T16" fmla="*/ 71 w 142"/>
                <a:gd name="T17" fmla="*/ 0 h 139"/>
                <a:gd name="T18" fmla="*/ 99 w 142"/>
                <a:gd name="T19" fmla="*/ 5 h 139"/>
                <a:gd name="T20" fmla="*/ 122 w 142"/>
                <a:gd name="T21" fmla="*/ 19 h 139"/>
                <a:gd name="T22" fmla="*/ 136 w 142"/>
                <a:gd name="T23" fmla="*/ 40 h 139"/>
                <a:gd name="T24" fmla="*/ 142 w 142"/>
                <a:gd name="T25" fmla="*/ 66 h 139"/>
                <a:gd name="T26" fmla="*/ 136 w 142"/>
                <a:gd name="T27" fmla="*/ 94 h 139"/>
                <a:gd name="T28" fmla="*/ 122 w 142"/>
                <a:gd name="T29" fmla="*/ 118 h 139"/>
                <a:gd name="T30" fmla="*/ 99 w 142"/>
                <a:gd name="T31" fmla="*/ 134 h 139"/>
                <a:gd name="T32" fmla="*/ 71 w 142"/>
                <a:gd name="T33" fmla="*/ 139 h 139"/>
                <a:gd name="T34" fmla="*/ 76 w 142"/>
                <a:gd name="T35" fmla="*/ 129 h 139"/>
                <a:gd name="T36" fmla="*/ 90 w 142"/>
                <a:gd name="T37" fmla="*/ 125 h 139"/>
                <a:gd name="T38" fmla="*/ 102 w 142"/>
                <a:gd name="T39" fmla="*/ 115 h 139"/>
                <a:gd name="T40" fmla="*/ 109 w 142"/>
                <a:gd name="T41" fmla="*/ 99 h 139"/>
                <a:gd name="T42" fmla="*/ 112 w 142"/>
                <a:gd name="T43" fmla="*/ 80 h 139"/>
                <a:gd name="T44" fmla="*/ 109 w 142"/>
                <a:gd name="T45" fmla="*/ 52 h 139"/>
                <a:gd name="T46" fmla="*/ 101 w 142"/>
                <a:gd name="T47" fmla="*/ 30 h 139"/>
                <a:gd name="T48" fmla="*/ 87 w 142"/>
                <a:gd name="T49" fmla="*/ 15 h 139"/>
                <a:gd name="T50" fmla="*/ 65 w 142"/>
                <a:gd name="T51" fmla="*/ 10 h 139"/>
                <a:gd name="T52" fmla="*/ 52 w 142"/>
                <a:gd name="T53" fmla="*/ 14 h 139"/>
                <a:gd name="T54" fmla="*/ 41 w 142"/>
                <a:gd name="T55" fmla="*/ 24 h 139"/>
                <a:gd name="T56" fmla="*/ 33 w 142"/>
                <a:gd name="T57" fmla="*/ 40 h 139"/>
                <a:gd name="T58" fmla="*/ 30 w 142"/>
                <a:gd name="T59" fmla="*/ 59 h 139"/>
                <a:gd name="T60" fmla="*/ 33 w 142"/>
                <a:gd name="T61" fmla="*/ 87 h 139"/>
                <a:gd name="T62" fmla="*/ 42 w 142"/>
                <a:gd name="T63" fmla="*/ 109 h 139"/>
                <a:gd name="T64" fmla="*/ 57 w 142"/>
                <a:gd name="T65" fmla="*/ 124 h 139"/>
                <a:gd name="T66" fmla="*/ 76 w 142"/>
                <a:gd name="T67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2" h="139">
                  <a:moveTo>
                    <a:pt x="71" y="139"/>
                  </a:moveTo>
                  <a:cubicBezTo>
                    <a:pt x="61" y="139"/>
                    <a:pt x="51" y="138"/>
                    <a:pt x="43" y="134"/>
                  </a:cubicBezTo>
                  <a:cubicBezTo>
                    <a:pt x="34" y="131"/>
                    <a:pt x="27" y="126"/>
                    <a:pt x="20" y="119"/>
                  </a:cubicBezTo>
                  <a:cubicBezTo>
                    <a:pt x="14" y="113"/>
                    <a:pt x="9" y="106"/>
                    <a:pt x="6" y="98"/>
                  </a:cubicBezTo>
                  <a:cubicBezTo>
                    <a:pt x="2" y="90"/>
                    <a:pt x="0" y="81"/>
                    <a:pt x="0" y="71"/>
                  </a:cubicBezTo>
                  <a:cubicBezTo>
                    <a:pt x="0" y="61"/>
                    <a:pt x="2" y="52"/>
                    <a:pt x="6" y="44"/>
                  </a:cubicBezTo>
                  <a:cubicBezTo>
                    <a:pt x="9" y="35"/>
                    <a:pt x="14" y="27"/>
                    <a:pt x="20" y="21"/>
                  </a:cubicBezTo>
                  <a:cubicBezTo>
                    <a:pt x="27" y="15"/>
                    <a:pt x="34" y="9"/>
                    <a:pt x="43" y="6"/>
                  </a:cubicBezTo>
                  <a:cubicBezTo>
                    <a:pt x="51" y="2"/>
                    <a:pt x="61" y="0"/>
                    <a:pt x="71" y="0"/>
                  </a:cubicBezTo>
                  <a:cubicBezTo>
                    <a:pt x="81" y="0"/>
                    <a:pt x="91" y="2"/>
                    <a:pt x="99" y="5"/>
                  </a:cubicBezTo>
                  <a:cubicBezTo>
                    <a:pt x="108" y="9"/>
                    <a:pt x="115" y="13"/>
                    <a:pt x="122" y="19"/>
                  </a:cubicBezTo>
                  <a:cubicBezTo>
                    <a:pt x="128" y="25"/>
                    <a:pt x="133" y="32"/>
                    <a:pt x="136" y="40"/>
                  </a:cubicBezTo>
                  <a:cubicBezTo>
                    <a:pt x="140" y="48"/>
                    <a:pt x="142" y="57"/>
                    <a:pt x="142" y="66"/>
                  </a:cubicBezTo>
                  <a:cubicBezTo>
                    <a:pt x="142" y="76"/>
                    <a:pt x="140" y="85"/>
                    <a:pt x="136" y="94"/>
                  </a:cubicBezTo>
                  <a:cubicBezTo>
                    <a:pt x="133" y="103"/>
                    <a:pt x="128" y="111"/>
                    <a:pt x="122" y="118"/>
                  </a:cubicBezTo>
                  <a:cubicBezTo>
                    <a:pt x="115" y="124"/>
                    <a:pt x="108" y="130"/>
                    <a:pt x="99" y="134"/>
                  </a:cubicBezTo>
                  <a:cubicBezTo>
                    <a:pt x="91" y="137"/>
                    <a:pt x="81" y="139"/>
                    <a:pt x="71" y="139"/>
                  </a:cubicBezTo>
                  <a:moveTo>
                    <a:pt x="76" y="129"/>
                  </a:moveTo>
                  <a:cubicBezTo>
                    <a:pt x="81" y="129"/>
                    <a:pt x="86" y="128"/>
                    <a:pt x="90" y="125"/>
                  </a:cubicBezTo>
                  <a:cubicBezTo>
                    <a:pt x="95" y="123"/>
                    <a:pt x="98" y="119"/>
                    <a:pt x="102" y="115"/>
                  </a:cubicBezTo>
                  <a:cubicBezTo>
                    <a:pt x="105" y="110"/>
                    <a:pt x="107" y="105"/>
                    <a:pt x="109" y="99"/>
                  </a:cubicBezTo>
                  <a:cubicBezTo>
                    <a:pt x="111" y="93"/>
                    <a:pt x="112" y="86"/>
                    <a:pt x="112" y="80"/>
                  </a:cubicBezTo>
                  <a:cubicBezTo>
                    <a:pt x="112" y="70"/>
                    <a:pt x="111" y="61"/>
                    <a:pt x="109" y="52"/>
                  </a:cubicBezTo>
                  <a:cubicBezTo>
                    <a:pt x="108" y="44"/>
                    <a:pt x="105" y="37"/>
                    <a:pt x="101" y="30"/>
                  </a:cubicBezTo>
                  <a:cubicBezTo>
                    <a:pt x="97" y="24"/>
                    <a:pt x="93" y="19"/>
                    <a:pt x="87" y="15"/>
                  </a:cubicBezTo>
                  <a:cubicBezTo>
                    <a:pt x="81" y="12"/>
                    <a:pt x="73" y="10"/>
                    <a:pt x="65" y="10"/>
                  </a:cubicBezTo>
                  <a:cubicBezTo>
                    <a:pt x="60" y="10"/>
                    <a:pt x="56" y="11"/>
                    <a:pt x="52" y="14"/>
                  </a:cubicBezTo>
                  <a:cubicBezTo>
                    <a:pt x="47" y="16"/>
                    <a:pt x="44" y="20"/>
                    <a:pt x="41" y="24"/>
                  </a:cubicBezTo>
                  <a:cubicBezTo>
                    <a:pt x="37" y="29"/>
                    <a:pt x="35" y="34"/>
                    <a:pt x="33" y="40"/>
                  </a:cubicBezTo>
                  <a:cubicBezTo>
                    <a:pt x="31" y="46"/>
                    <a:pt x="30" y="52"/>
                    <a:pt x="30" y="59"/>
                  </a:cubicBezTo>
                  <a:cubicBezTo>
                    <a:pt x="30" y="69"/>
                    <a:pt x="31" y="78"/>
                    <a:pt x="33" y="87"/>
                  </a:cubicBezTo>
                  <a:cubicBezTo>
                    <a:pt x="35" y="95"/>
                    <a:pt x="38" y="103"/>
                    <a:pt x="42" y="109"/>
                  </a:cubicBezTo>
                  <a:cubicBezTo>
                    <a:pt x="46" y="115"/>
                    <a:pt x="51" y="120"/>
                    <a:pt x="57" y="124"/>
                  </a:cubicBezTo>
                  <a:cubicBezTo>
                    <a:pt x="62" y="128"/>
                    <a:pt x="69" y="129"/>
                    <a:pt x="76" y="129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9" name="Freeform 25"/>
            <p:cNvSpPr>
              <a:spLocks/>
            </p:cNvSpPr>
            <p:nvPr/>
          </p:nvSpPr>
          <p:spPr bwMode="auto">
            <a:xfrm>
              <a:off x="3522" y="3408"/>
              <a:ext cx="64" cy="483"/>
            </a:xfrm>
            <a:custGeom>
              <a:avLst/>
              <a:gdLst>
                <a:gd name="T0" fmla="*/ 64 w 64"/>
                <a:gd name="T1" fmla="*/ 483 h 483"/>
                <a:gd name="T2" fmla="*/ 0 w 64"/>
                <a:gd name="T3" fmla="*/ 483 h 483"/>
                <a:gd name="T4" fmla="*/ 0 w 64"/>
                <a:gd name="T5" fmla="*/ 19 h 483"/>
                <a:gd name="T6" fmla="*/ 45 w 64"/>
                <a:gd name="T7" fmla="*/ 0 h 483"/>
                <a:gd name="T8" fmla="*/ 64 w 64"/>
                <a:gd name="T9" fmla="*/ 0 h 483"/>
                <a:gd name="T10" fmla="*/ 64 w 64"/>
                <a:gd name="T11" fmla="*/ 483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483">
                  <a:moveTo>
                    <a:pt x="64" y="483"/>
                  </a:moveTo>
                  <a:lnTo>
                    <a:pt x="0" y="483"/>
                  </a:lnTo>
                  <a:lnTo>
                    <a:pt x="0" y="19"/>
                  </a:lnTo>
                  <a:lnTo>
                    <a:pt x="45" y="0"/>
                  </a:lnTo>
                  <a:lnTo>
                    <a:pt x="64" y="0"/>
                  </a:lnTo>
                  <a:lnTo>
                    <a:pt x="64" y="483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0" name="Freeform 26"/>
            <p:cNvSpPr>
              <a:spLocks/>
            </p:cNvSpPr>
            <p:nvPr/>
          </p:nvSpPr>
          <p:spPr bwMode="auto">
            <a:xfrm>
              <a:off x="3647" y="3565"/>
              <a:ext cx="237" cy="330"/>
            </a:xfrm>
            <a:custGeom>
              <a:avLst/>
              <a:gdLst>
                <a:gd name="T0" fmla="*/ 49 w 100"/>
                <a:gd name="T1" fmla="*/ 130 h 139"/>
                <a:gd name="T2" fmla="*/ 59 w 100"/>
                <a:gd name="T3" fmla="*/ 129 h 139"/>
                <a:gd name="T4" fmla="*/ 67 w 100"/>
                <a:gd name="T5" fmla="*/ 124 h 139"/>
                <a:gd name="T6" fmla="*/ 72 w 100"/>
                <a:gd name="T7" fmla="*/ 118 h 139"/>
                <a:gd name="T8" fmla="*/ 74 w 100"/>
                <a:gd name="T9" fmla="*/ 110 h 139"/>
                <a:gd name="T10" fmla="*/ 71 w 100"/>
                <a:gd name="T11" fmla="*/ 100 h 139"/>
                <a:gd name="T12" fmla="*/ 63 w 100"/>
                <a:gd name="T13" fmla="*/ 92 h 139"/>
                <a:gd name="T14" fmla="*/ 51 w 100"/>
                <a:gd name="T15" fmla="*/ 85 h 139"/>
                <a:gd name="T16" fmla="*/ 38 w 100"/>
                <a:gd name="T17" fmla="*/ 79 h 139"/>
                <a:gd name="T18" fmla="*/ 25 w 100"/>
                <a:gd name="T19" fmla="*/ 72 h 139"/>
                <a:gd name="T20" fmla="*/ 14 w 100"/>
                <a:gd name="T21" fmla="*/ 63 h 139"/>
                <a:gd name="T22" fmla="*/ 5 w 100"/>
                <a:gd name="T23" fmla="*/ 52 h 139"/>
                <a:gd name="T24" fmla="*/ 2 w 100"/>
                <a:gd name="T25" fmla="*/ 37 h 139"/>
                <a:gd name="T26" fmla="*/ 6 w 100"/>
                <a:gd name="T27" fmla="*/ 22 h 139"/>
                <a:gd name="T28" fmla="*/ 15 w 100"/>
                <a:gd name="T29" fmla="*/ 11 h 139"/>
                <a:gd name="T30" fmla="*/ 30 w 100"/>
                <a:gd name="T31" fmla="*/ 3 h 139"/>
                <a:gd name="T32" fmla="*/ 48 w 100"/>
                <a:gd name="T33" fmla="*/ 0 h 139"/>
                <a:gd name="T34" fmla="*/ 61 w 100"/>
                <a:gd name="T35" fmla="*/ 1 h 139"/>
                <a:gd name="T36" fmla="*/ 72 w 100"/>
                <a:gd name="T37" fmla="*/ 5 h 139"/>
                <a:gd name="T38" fmla="*/ 83 w 100"/>
                <a:gd name="T39" fmla="*/ 12 h 139"/>
                <a:gd name="T40" fmla="*/ 95 w 100"/>
                <a:gd name="T41" fmla="*/ 25 h 139"/>
                <a:gd name="T42" fmla="*/ 85 w 100"/>
                <a:gd name="T43" fmla="*/ 34 h 139"/>
                <a:gd name="T44" fmla="*/ 68 w 100"/>
                <a:gd name="T45" fmla="*/ 15 h 139"/>
                <a:gd name="T46" fmla="*/ 48 w 100"/>
                <a:gd name="T47" fmla="*/ 9 h 139"/>
                <a:gd name="T48" fmla="*/ 37 w 100"/>
                <a:gd name="T49" fmla="*/ 10 h 139"/>
                <a:gd name="T50" fmla="*/ 29 w 100"/>
                <a:gd name="T51" fmla="*/ 14 h 139"/>
                <a:gd name="T52" fmla="*/ 24 w 100"/>
                <a:gd name="T53" fmla="*/ 20 h 139"/>
                <a:gd name="T54" fmla="*/ 22 w 100"/>
                <a:gd name="T55" fmla="*/ 27 h 139"/>
                <a:gd name="T56" fmla="*/ 26 w 100"/>
                <a:gd name="T57" fmla="*/ 37 h 139"/>
                <a:gd name="T58" fmla="*/ 34 w 100"/>
                <a:gd name="T59" fmla="*/ 45 h 139"/>
                <a:gd name="T60" fmla="*/ 47 w 100"/>
                <a:gd name="T61" fmla="*/ 52 h 139"/>
                <a:gd name="T62" fmla="*/ 61 w 100"/>
                <a:gd name="T63" fmla="*/ 58 h 139"/>
                <a:gd name="T64" fmla="*/ 75 w 100"/>
                <a:gd name="T65" fmla="*/ 65 h 139"/>
                <a:gd name="T66" fmla="*/ 88 w 100"/>
                <a:gd name="T67" fmla="*/ 73 h 139"/>
                <a:gd name="T68" fmla="*/ 97 w 100"/>
                <a:gd name="T69" fmla="*/ 84 h 139"/>
                <a:gd name="T70" fmla="*/ 100 w 100"/>
                <a:gd name="T71" fmla="*/ 99 h 139"/>
                <a:gd name="T72" fmla="*/ 97 w 100"/>
                <a:gd name="T73" fmla="*/ 115 h 139"/>
                <a:gd name="T74" fmla="*/ 87 w 100"/>
                <a:gd name="T75" fmla="*/ 128 h 139"/>
                <a:gd name="T76" fmla="*/ 71 w 100"/>
                <a:gd name="T77" fmla="*/ 136 h 139"/>
                <a:gd name="T78" fmla="*/ 49 w 100"/>
                <a:gd name="T79" fmla="*/ 139 h 139"/>
                <a:gd name="T80" fmla="*/ 37 w 100"/>
                <a:gd name="T81" fmla="*/ 138 h 139"/>
                <a:gd name="T82" fmla="*/ 25 w 100"/>
                <a:gd name="T83" fmla="*/ 135 h 139"/>
                <a:gd name="T84" fmla="*/ 12 w 100"/>
                <a:gd name="T85" fmla="*/ 127 h 139"/>
                <a:gd name="T86" fmla="*/ 0 w 100"/>
                <a:gd name="T87" fmla="*/ 115 h 139"/>
                <a:gd name="T88" fmla="*/ 10 w 100"/>
                <a:gd name="T89" fmla="*/ 105 h 139"/>
                <a:gd name="T90" fmla="*/ 20 w 100"/>
                <a:gd name="T91" fmla="*/ 116 h 139"/>
                <a:gd name="T92" fmla="*/ 29 w 100"/>
                <a:gd name="T93" fmla="*/ 124 h 139"/>
                <a:gd name="T94" fmla="*/ 38 w 100"/>
                <a:gd name="T95" fmla="*/ 129 h 139"/>
                <a:gd name="T96" fmla="*/ 49 w 100"/>
                <a:gd name="T97" fmla="*/ 13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0" h="139">
                  <a:moveTo>
                    <a:pt x="49" y="130"/>
                  </a:moveTo>
                  <a:cubicBezTo>
                    <a:pt x="53" y="130"/>
                    <a:pt x="56" y="130"/>
                    <a:pt x="59" y="129"/>
                  </a:cubicBezTo>
                  <a:cubicBezTo>
                    <a:pt x="62" y="127"/>
                    <a:pt x="65" y="126"/>
                    <a:pt x="67" y="124"/>
                  </a:cubicBezTo>
                  <a:cubicBezTo>
                    <a:pt x="69" y="122"/>
                    <a:pt x="71" y="120"/>
                    <a:pt x="72" y="118"/>
                  </a:cubicBezTo>
                  <a:cubicBezTo>
                    <a:pt x="73" y="115"/>
                    <a:pt x="74" y="113"/>
                    <a:pt x="74" y="110"/>
                  </a:cubicBezTo>
                  <a:cubicBezTo>
                    <a:pt x="74" y="106"/>
                    <a:pt x="73" y="103"/>
                    <a:pt x="71" y="100"/>
                  </a:cubicBezTo>
                  <a:cubicBezTo>
                    <a:pt x="69" y="97"/>
                    <a:pt x="66" y="94"/>
                    <a:pt x="63" y="92"/>
                  </a:cubicBezTo>
                  <a:cubicBezTo>
                    <a:pt x="59" y="89"/>
                    <a:pt x="56" y="87"/>
                    <a:pt x="51" y="85"/>
                  </a:cubicBezTo>
                  <a:cubicBezTo>
                    <a:pt x="47" y="83"/>
                    <a:pt x="43" y="81"/>
                    <a:pt x="38" y="79"/>
                  </a:cubicBezTo>
                  <a:cubicBezTo>
                    <a:pt x="34" y="77"/>
                    <a:pt x="29" y="74"/>
                    <a:pt x="25" y="72"/>
                  </a:cubicBezTo>
                  <a:cubicBezTo>
                    <a:pt x="21" y="70"/>
                    <a:pt x="17" y="67"/>
                    <a:pt x="14" y="63"/>
                  </a:cubicBezTo>
                  <a:cubicBezTo>
                    <a:pt x="10" y="60"/>
                    <a:pt x="8" y="57"/>
                    <a:pt x="5" y="52"/>
                  </a:cubicBezTo>
                  <a:cubicBezTo>
                    <a:pt x="3" y="48"/>
                    <a:pt x="2" y="43"/>
                    <a:pt x="2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5" y="11"/>
                  </a:cubicBezTo>
                  <a:cubicBezTo>
                    <a:pt x="19" y="7"/>
                    <a:pt x="24" y="5"/>
                    <a:pt x="30" y="3"/>
                  </a:cubicBezTo>
                  <a:cubicBezTo>
                    <a:pt x="35" y="1"/>
                    <a:pt x="41" y="0"/>
                    <a:pt x="48" y="0"/>
                  </a:cubicBezTo>
                  <a:cubicBezTo>
                    <a:pt x="52" y="0"/>
                    <a:pt x="57" y="0"/>
                    <a:pt x="61" y="1"/>
                  </a:cubicBezTo>
                  <a:cubicBezTo>
                    <a:pt x="64" y="2"/>
                    <a:pt x="68" y="3"/>
                    <a:pt x="72" y="5"/>
                  </a:cubicBezTo>
                  <a:cubicBezTo>
                    <a:pt x="76" y="6"/>
                    <a:pt x="79" y="9"/>
                    <a:pt x="83" y="12"/>
                  </a:cubicBezTo>
                  <a:cubicBezTo>
                    <a:pt x="87" y="15"/>
                    <a:pt x="90" y="20"/>
                    <a:pt x="95" y="25"/>
                  </a:cubicBezTo>
                  <a:cubicBezTo>
                    <a:pt x="85" y="34"/>
                    <a:pt x="85" y="34"/>
                    <a:pt x="85" y="34"/>
                  </a:cubicBezTo>
                  <a:cubicBezTo>
                    <a:pt x="80" y="25"/>
                    <a:pt x="74" y="19"/>
                    <a:pt x="68" y="15"/>
                  </a:cubicBezTo>
                  <a:cubicBezTo>
                    <a:pt x="61" y="11"/>
                    <a:pt x="55" y="9"/>
                    <a:pt x="48" y="9"/>
                  </a:cubicBezTo>
                  <a:cubicBezTo>
                    <a:pt x="44" y="9"/>
                    <a:pt x="40" y="9"/>
                    <a:pt x="37" y="10"/>
                  </a:cubicBezTo>
                  <a:cubicBezTo>
                    <a:pt x="34" y="11"/>
                    <a:pt x="31" y="13"/>
                    <a:pt x="29" y="14"/>
                  </a:cubicBezTo>
                  <a:cubicBezTo>
                    <a:pt x="27" y="16"/>
                    <a:pt x="25" y="18"/>
                    <a:pt x="24" y="20"/>
                  </a:cubicBezTo>
                  <a:cubicBezTo>
                    <a:pt x="23" y="22"/>
                    <a:pt x="22" y="24"/>
                    <a:pt x="22" y="27"/>
                  </a:cubicBezTo>
                  <a:cubicBezTo>
                    <a:pt x="22" y="31"/>
                    <a:pt x="23" y="34"/>
                    <a:pt x="26" y="37"/>
                  </a:cubicBezTo>
                  <a:cubicBezTo>
                    <a:pt x="28" y="40"/>
                    <a:pt x="31" y="43"/>
                    <a:pt x="34" y="45"/>
                  </a:cubicBezTo>
                  <a:cubicBezTo>
                    <a:pt x="38" y="48"/>
                    <a:pt x="42" y="50"/>
                    <a:pt x="47" y="52"/>
                  </a:cubicBezTo>
                  <a:cubicBezTo>
                    <a:pt x="51" y="54"/>
                    <a:pt x="56" y="56"/>
                    <a:pt x="61" y="58"/>
                  </a:cubicBezTo>
                  <a:cubicBezTo>
                    <a:pt x="66" y="60"/>
                    <a:pt x="71" y="62"/>
                    <a:pt x="75" y="65"/>
                  </a:cubicBezTo>
                  <a:cubicBezTo>
                    <a:pt x="80" y="67"/>
                    <a:pt x="84" y="70"/>
                    <a:pt x="88" y="73"/>
                  </a:cubicBezTo>
                  <a:cubicBezTo>
                    <a:pt x="91" y="77"/>
                    <a:pt x="94" y="80"/>
                    <a:pt x="97" y="84"/>
                  </a:cubicBezTo>
                  <a:cubicBezTo>
                    <a:pt x="99" y="89"/>
                    <a:pt x="100" y="93"/>
                    <a:pt x="100" y="99"/>
                  </a:cubicBezTo>
                  <a:cubicBezTo>
                    <a:pt x="100" y="105"/>
                    <a:pt x="99" y="110"/>
                    <a:pt x="97" y="115"/>
                  </a:cubicBezTo>
                  <a:cubicBezTo>
                    <a:pt x="95" y="120"/>
                    <a:pt x="92" y="124"/>
                    <a:pt x="87" y="128"/>
                  </a:cubicBezTo>
                  <a:cubicBezTo>
                    <a:pt x="83" y="131"/>
                    <a:pt x="78" y="134"/>
                    <a:pt x="71" y="136"/>
                  </a:cubicBezTo>
                  <a:cubicBezTo>
                    <a:pt x="65" y="138"/>
                    <a:pt x="58" y="139"/>
                    <a:pt x="49" y="139"/>
                  </a:cubicBezTo>
                  <a:cubicBezTo>
                    <a:pt x="45" y="139"/>
                    <a:pt x="41" y="139"/>
                    <a:pt x="37" y="138"/>
                  </a:cubicBezTo>
                  <a:cubicBezTo>
                    <a:pt x="33" y="138"/>
                    <a:pt x="29" y="137"/>
                    <a:pt x="25" y="135"/>
                  </a:cubicBezTo>
                  <a:cubicBezTo>
                    <a:pt x="20" y="133"/>
                    <a:pt x="16" y="131"/>
                    <a:pt x="12" y="127"/>
                  </a:cubicBezTo>
                  <a:cubicBezTo>
                    <a:pt x="8" y="124"/>
                    <a:pt x="4" y="120"/>
                    <a:pt x="0" y="115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14" y="109"/>
                    <a:pt x="17" y="113"/>
                    <a:pt x="20" y="116"/>
                  </a:cubicBezTo>
                  <a:cubicBezTo>
                    <a:pt x="23" y="120"/>
                    <a:pt x="26" y="122"/>
                    <a:pt x="29" y="124"/>
                  </a:cubicBezTo>
                  <a:cubicBezTo>
                    <a:pt x="32" y="126"/>
                    <a:pt x="35" y="128"/>
                    <a:pt x="38" y="129"/>
                  </a:cubicBezTo>
                  <a:cubicBezTo>
                    <a:pt x="42" y="130"/>
                    <a:pt x="45" y="130"/>
                    <a:pt x="49" y="130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grpSp>
        <p:nvGrpSpPr>
          <p:cNvPr id="21" name="Group 4"/>
          <p:cNvGrpSpPr>
            <a:grpSpLocks noChangeAspect="1"/>
          </p:cNvGrpSpPr>
          <p:nvPr userDrawn="1"/>
        </p:nvGrpSpPr>
        <p:grpSpPr bwMode="auto">
          <a:xfrm>
            <a:off x="3826987" y="359266"/>
            <a:ext cx="660852" cy="673216"/>
            <a:chOff x="-1350" y="3305"/>
            <a:chExt cx="1176" cy="1198"/>
          </a:xfrm>
        </p:grpSpPr>
        <p:sp>
          <p:nvSpPr>
            <p:cNvPr id="22" name="Freeform 5"/>
            <p:cNvSpPr>
              <a:spLocks noEditPoints="1"/>
            </p:cNvSpPr>
            <p:nvPr/>
          </p:nvSpPr>
          <p:spPr bwMode="auto">
            <a:xfrm>
              <a:off x="-1246" y="3517"/>
              <a:ext cx="967" cy="986"/>
            </a:xfrm>
            <a:custGeom>
              <a:avLst/>
              <a:gdLst>
                <a:gd name="T0" fmla="*/ 967 w 967"/>
                <a:gd name="T1" fmla="*/ 986 h 986"/>
                <a:gd name="T2" fmla="*/ 0 w 967"/>
                <a:gd name="T3" fmla="*/ 986 h 986"/>
                <a:gd name="T4" fmla="*/ 0 w 967"/>
                <a:gd name="T5" fmla="*/ 0 h 986"/>
                <a:gd name="T6" fmla="*/ 967 w 967"/>
                <a:gd name="T7" fmla="*/ 0 h 986"/>
                <a:gd name="T8" fmla="*/ 967 w 967"/>
                <a:gd name="T9" fmla="*/ 986 h 986"/>
                <a:gd name="T10" fmla="*/ 12 w 967"/>
                <a:gd name="T11" fmla="*/ 974 h 986"/>
                <a:gd name="T12" fmla="*/ 953 w 967"/>
                <a:gd name="T13" fmla="*/ 974 h 986"/>
                <a:gd name="T14" fmla="*/ 953 w 967"/>
                <a:gd name="T15" fmla="*/ 14 h 986"/>
                <a:gd name="T16" fmla="*/ 12 w 967"/>
                <a:gd name="T17" fmla="*/ 14 h 986"/>
                <a:gd name="T18" fmla="*/ 12 w 967"/>
                <a:gd name="T19" fmla="*/ 974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7" h="986">
                  <a:moveTo>
                    <a:pt x="967" y="986"/>
                  </a:moveTo>
                  <a:lnTo>
                    <a:pt x="0" y="986"/>
                  </a:lnTo>
                  <a:lnTo>
                    <a:pt x="0" y="0"/>
                  </a:lnTo>
                  <a:lnTo>
                    <a:pt x="967" y="0"/>
                  </a:lnTo>
                  <a:lnTo>
                    <a:pt x="967" y="986"/>
                  </a:lnTo>
                  <a:close/>
                  <a:moveTo>
                    <a:pt x="12" y="974"/>
                  </a:moveTo>
                  <a:lnTo>
                    <a:pt x="953" y="974"/>
                  </a:lnTo>
                  <a:lnTo>
                    <a:pt x="953" y="14"/>
                  </a:lnTo>
                  <a:lnTo>
                    <a:pt x="12" y="14"/>
                  </a:lnTo>
                  <a:lnTo>
                    <a:pt x="12" y="974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3" name="Freeform 6"/>
            <p:cNvSpPr>
              <a:spLocks noEditPoints="1"/>
            </p:cNvSpPr>
            <p:nvPr/>
          </p:nvSpPr>
          <p:spPr bwMode="auto">
            <a:xfrm>
              <a:off x="-1350" y="3305"/>
              <a:ext cx="1176" cy="1179"/>
            </a:xfrm>
            <a:custGeom>
              <a:avLst/>
              <a:gdLst>
                <a:gd name="T0" fmla="*/ 248 w 495"/>
                <a:gd name="T1" fmla="*/ 496 h 496"/>
                <a:gd name="T2" fmla="*/ 0 w 495"/>
                <a:gd name="T3" fmla="*/ 248 h 496"/>
                <a:gd name="T4" fmla="*/ 248 w 495"/>
                <a:gd name="T5" fmla="*/ 0 h 496"/>
                <a:gd name="T6" fmla="*/ 495 w 495"/>
                <a:gd name="T7" fmla="*/ 248 h 496"/>
                <a:gd name="T8" fmla="*/ 248 w 495"/>
                <a:gd name="T9" fmla="*/ 496 h 496"/>
                <a:gd name="T10" fmla="*/ 248 w 495"/>
                <a:gd name="T11" fmla="*/ 6 h 496"/>
                <a:gd name="T12" fmla="*/ 5 w 495"/>
                <a:gd name="T13" fmla="*/ 248 h 496"/>
                <a:gd name="T14" fmla="*/ 248 w 495"/>
                <a:gd name="T15" fmla="*/ 490 h 496"/>
                <a:gd name="T16" fmla="*/ 490 w 495"/>
                <a:gd name="T17" fmla="*/ 248 h 496"/>
                <a:gd name="T18" fmla="*/ 248 w 495"/>
                <a:gd name="T19" fmla="*/ 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5" h="496">
                  <a:moveTo>
                    <a:pt x="248" y="496"/>
                  </a:moveTo>
                  <a:cubicBezTo>
                    <a:pt x="111" y="496"/>
                    <a:pt x="0" y="385"/>
                    <a:pt x="0" y="248"/>
                  </a:cubicBezTo>
                  <a:cubicBezTo>
                    <a:pt x="0" y="111"/>
                    <a:pt x="111" y="0"/>
                    <a:pt x="248" y="0"/>
                  </a:cubicBezTo>
                  <a:cubicBezTo>
                    <a:pt x="384" y="0"/>
                    <a:pt x="495" y="111"/>
                    <a:pt x="495" y="248"/>
                  </a:cubicBezTo>
                  <a:cubicBezTo>
                    <a:pt x="495" y="385"/>
                    <a:pt x="384" y="496"/>
                    <a:pt x="248" y="496"/>
                  </a:cubicBezTo>
                  <a:moveTo>
                    <a:pt x="248" y="6"/>
                  </a:moveTo>
                  <a:cubicBezTo>
                    <a:pt x="114" y="6"/>
                    <a:pt x="5" y="114"/>
                    <a:pt x="5" y="248"/>
                  </a:cubicBezTo>
                  <a:cubicBezTo>
                    <a:pt x="5" y="382"/>
                    <a:pt x="114" y="490"/>
                    <a:pt x="248" y="490"/>
                  </a:cubicBezTo>
                  <a:cubicBezTo>
                    <a:pt x="381" y="490"/>
                    <a:pt x="490" y="382"/>
                    <a:pt x="490" y="248"/>
                  </a:cubicBezTo>
                  <a:cubicBezTo>
                    <a:pt x="490" y="114"/>
                    <a:pt x="381" y="6"/>
                    <a:pt x="248" y="6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auto">
            <a:xfrm>
              <a:off x="-1241" y="3688"/>
              <a:ext cx="955" cy="14"/>
            </a:xfrm>
            <a:prstGeom prst="rect">
              <a:avLst/>
            </a:pr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5" name="Rectangle 8"/>
            <p:cNvSpPr>
              <a:spLocks noChangeArrowheads="1"/>
            </p:cNvSpPr>
            <p:nvPr/>
          </p:nvSpPr>
          <p:spPr bwMode="auto">
            <a:xfrm>
              <a:off x="-768" y="3312"/>
              <a:ext cx="12" cy="668"/>
            </a:xfrm>
            <a:prstGeom prst="rect">
              <a:avLst/>
            </a:pr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6" name="Freeform 9"/>
            <p:cNvSpPr>
              <a:spLocks/>
            </p:cNvSpPr>
            <p:nvPr/>
          </p:nvSpPr>
          <p:spPr bwMode="auto">
            <a:xfrm>
              <a:off x="-1034" y="3966"/>
              <a:ext cx="546" cy="449"/>
            </a:xfrm>
            <a:custGeom>
              <a:avLst/>
              <a:gdLst>
                <a:gd name="T0" fmla="*/ 534 w 546"/>
                <a:gd name="T1" fmla="*/ 449 h 449"/>
                <a:gd name="T2" fmla="*/ 270 w 546"/>
                <a:gd name="T3" fmla="*/ 26 h 449"/>
                <a:gd name="T4" fmla="*/ 9 w 546"/>
                <a:gd name="T5" fmla="*/ 449 h 449"/>
                <a:gd name="T6" fmla="*/ 0 w 546"/>
                <a:gd name="T7" fmla="*/ 442 h 449"/>
                <a:gd name="T8" fmla="*/ 270 w 546"/>
                <a:gd name="T9" fmla="*/ 0 h 449"/>
                <a:gd name="T10" fmla="*/ 546 w 546"/>
                <a:gd name="T11" fmla="*/ 442 h 449"/>
                <a:gd name="T12" fmla="*/ 534 w 546"/>
                <a:gd name="T13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6" h="449">
                  <a:moveTo>
                    <a:pt x="534" y="449"/>
                  </a:moveTo>
                  <a:lnTo>
                    <a:pt x="270" y="26"/>
                  </a:lnTo>
                  <a:lnTo>
                    <a:pt x="9" y="449"/>
                  </a:lnTo>
                  <a:lnTo>
                    <a:pt x="0" y="442"/>
                  </a:lnTo>
                  <a:lnTo>
                    <a:pt x="270" y="0"/>
                  </a:lnTo>
                  <a:lnTo>
                    <a:pt x="546" y="442"/>
                  </a:lnTo>
                  <a:lnTo>
                    <a:pt x="534" y="449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7" name="Freeform 10"/>
            <p:cNvSpPr>
              <a:spLocks/>
            </p:cNvSpPr>
            <p:nvPr/>
          </p:nvSpPr>
          <p:spPr bwMode="auto">
            <a:xfrm>
              <a:off x="-1244" y="3517"/>
              <a:ext cx="960" cy="254"/>
            </a:xfrm>
            <a:custGeom>
              <a:avLst/>
              <a:gdLst>
                <a:gd name="T0" fmla="*/ 483 w 960"/>
                <a:gd name="T1" fmla="*/ 254 h 254"/>
                <a:gd name="T2" fmla="*/ 0 w 960"/>
                <a:gd name="T3" fmla="*/ 11 h 254"/>
                <a:gd name="T4" fmla="*/ 8 w 960"/>
                <a:gd name="T5" fmla="*/ 0 h 254"/>
                <a:gd name="T6" fmla="*/ 483 w 960"/>
                <a:gd name="T7" fmla="*/ 237 h 254"/>
                <a:gd name="T8" fmla="*/ 956 w 960"/>
                <a:gd name="T9" fmla="*/ 0 h 254"/>
                <a:gd name="T10" fmla="*/ 960 w 960"/>
                <a:gd name="T11" fmla="*/ 11 h 254"/>
                <a:gd name="T12" fmla="*/ 483 w 960"/>
                <a:gd name="T13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0" h="254">
                  <a:moveTo>
                    <a:pt x="483" y="254"/>
                  </a:moveTo>
                  <a:lnTo>
                    <a:pt x="0" y="11"/>
                  </a:lnTo>
                  <a:lnTo>
                    <a:pt x="8" y="0"/>
                  </a:lnTo>
                  <a:lnTo>
                    <a:pt x="483" y="237"/>
                  </a:lnTo>
                  <a:lnTo>
                    <a:pt x="956" y="0"/>
                  </a:lnTo>
                  <a:lnTo>
                    <a:pt x="960" y="11"/>
                  </a:lnTo>
                  <a:lnTo>
                    <a:pt x="483" y="254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425933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750"/>
                            </p:stCondLst>
                            <p:childTnLst>
                              <p:par>
                                <p:cTn id="24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25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10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250"/>
                            </p:stCondLst>
                            <p:childTnLst>
                              <p:par>
                                <p:cTn id="3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0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3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10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ytuł, zdjęcie, opis i lista punktowa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raz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0800000">
            <a:off x="10033000" y="-1"/>
            <a:ext cx="2135970" cy="191823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ABCCA57F-370C-495A-BDF6-D2A28DD89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A86BE1B3-629B-437E-96B1-28A6C4661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547B6776-35B6-4004-9F46-1E4311751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3F17E7D1-38F2-41DB-8464-81CB417EF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8" name="Symbol zastępczy zawartości 7"/>
          <p:cNvSpPr>
            <a:spLocks noGrp="1"/>
          </p:cNvSpPr>
          <p:nvPr>
            <p:ph sz="quarter" idx="13"/>
          </p:nvPr>
        </p:nvSpPr>
        <p:spPr>
          <a:xfrm>
            <a:off x="6376988" y="1277938"/>
            <a:ext cx="5551487" cy="48180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 baseline="0"/>
            </a:lvl1pPr>
          </a:lstStyle>
          <a:p>
            <a:pPr lvl="0"/>
            <a:endParaRPr lang="pl-PL"/>
          </a:p>
          <a:p>
            <a:pPr lvl="0"/>
            <a:endParaRPr lang="pl-PL"/>
          </a:p>
          <a:p>
            <a:pPr lvl="0"/>
            <a:endParaRPr lang="pl-PL"/>
          </a:p>
          <a:p>
            <a:pPr lvl="0"/>
            <a:endParaRPr lang="pl-PL"/>
          </a:p>
          <a:p>
            <a:pPr lvl="0"/>
            <a:endParaRPr lang="pl-PL"/>
          </a:p>
          <a:p>
            <a:pPr lvl="0"/>
            <a:r>
              <a:rPr lang="pl-PL"/>
              <a:t>Proszę kliknąć ikonę aby dodać obiekt</a:t>
            </a:r>
          </a:p>
        </p:txBody>
      </p:sp>
      <p:cxnSp>
        <p:nvCxnSpPr>
          <p:cNvPr id="10" name="Łącznik prosty 9"/>
          <p:cNvCxnSpPr/>
          <p:nvPr userDrawn="1"/>
        </p:nvCxnSpPr>
        <p:spPr>
          <a:xfrm>
            <a:off x="0" y="2203939"/>
            <a:ext cx="5627077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ymbol zastępczy tekstu 11"/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1660769"/>
            <a:ext cx="5364163" cy="491881"/>
          </a:xfrm>
        </p:spPr>
        <p:txBody>
          <a:bodyPr anchor="b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pl-PL"/>
              <a:t>Tytuł</a:t>
            </a:r>
          </a:p>
        </p:txBody>
      </p:sp>
      <p:sp>
        <p:nvSpPr>
          <p:cNvPr id="14" name="Symbol zastępczy tekstu 13"/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2449514"/>
            <a:ext cx="5364163" cy="1713280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8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15" name="Symbol zastępczy tekstu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3525" y="4431692"/>
            <a:ext cx="5364163" cy="1664308"/>
          </a:xfrm>
        </p:spPr>
        <p:txBody>
          <a:bodyPr>
            <a:normAutofit/>
          </a:bodyPr>
          <a:lstStyle>
            <a:lvl1pPr marL="285750" indent="-285750">
              <a:lnSpc>
                <a:spcPct val="8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8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</p:spTree>
    <p:extLst>
      <p:ext uri="{BB962C8B-B14F-4D97-AF65-F5344CB8AC3E}">
        <p14:creationId xmlns:p14="http://schemas.microsoft.com/office/powerpoint/2010/main" val="118167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Moni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rostokąt 5"/>
          <p:cNvSpPr/>
          <p:nvPr userDrawn="1"/>
        </p:nvSpPr>
        <p:spPr>
          <a:xfrm>
            <a:off x="2578100" y="88900"/>
            <a:ext cx="419100" cy="104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83627" y="0"/>
            <a:ext cx="4508373" cy="6864411"/>
          </a:xfrm>
          <a:prstGeom prst="rect">
            <a:avLst/>
          </a:prstGeom>
        </p:spPr>
      </p:pic>
      <p:pic>
        <p:nvPicPr>
          <p:cNvPr id="8" name="Obraz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574" y="393699"/>
            <a:ext cx="5102555" cy="4678997"/>
          </a:xfrm>
          <a:prstGeom prst="rect">
            <a:avLst/>
          </a:prstGeom>
        </p:spPr>
      </p:pic>
      <p:sp>
        <p:nvSpPr>
          <p:cNvPr id="9" name="Prostokąt 8"/>
          <p:cNvSpPr/>
          <p:nvPr userDrawn="1"/>
        </p:nvSpPr>
        <p:spPr>
          <a:xfrm>
            <a:off x="1040833" y="418980"/>
            <a:ext cx="5929979" cy="4464050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1916" y="2555203"/>
            <a:ext cx="5842957" cy="3871933"/>
          </a:xfrm>
          <a:prstGeom prst="rect">
            <a:avLst/>
          </a:prstGeom>
          <a:noFill/>
          <a:effectLst>
            <a:outerShdw blurRad="152400" dir="2700000" algn="tl" rotWithShape="0">
              <a:prstClr val="black">
                <a:alpha val="33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Obraz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416" y="272748"/>
            <a:ext cx="2158684" cy="664986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6817129" y="2844800"/>
            <a:ext cx="4576271" cy="40370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5" name="Prostokąt 14"/>
          <p:cNvSpPr/>
          <p:nvPr/>
        </p:nvSpPr>
        <p:spPr>
          <a:xfrm>
            <a:off x="6871486" y="4423144"/>
            <a:ext cx="6759206" cy="4854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000"/>
          </a:p>
        </p:txBody>
      </p:sp>
      <p:sp>
        <p:nvSpPr>
          <p:cNvPr id="18" name="Prostokąt 17"/>
          <p:cNvSpPr/>
          <p:nvPr/>
        </p:nvSpPr>
        <p:spPr>
          <a:xfrm>
            <a:off x="6871486" y="5051918"/>
            <a:ext cx="6759206" cy="4854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000"/>
          </a:p>
        </p:txBody>
      </p:sp>
      <p:sp>
        <p:nvSpPr>
          <p:cNvPr id="21" name="Prostokąt 20"/>
          <p:cNvSpPr/>
          <p:nvPr/>
        </p:nvSpPr>
        <p:spPr>
          <a:xfrm>
            <a:off x="6871486" y="5680691"/>
            <a:ext cx="6759206" cy="4854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2000"/>
          </a:p>
        </p:txBody>
      </p:sp>
      <p:sp>
        <p:nvSpPr>
          <p:cNvPr id="2" name="Symbol zastępczy daty 1">
            <a:extLst>
              <a:ext uri="{FF2B5EF4-FFF2-40B4-BE49-F238E27FC236}">
                <a16:creationId xmlns:a16="http://schemas.microsoft.com/office/drawing/2014/main" id="{778FE110-2DC3-4DAC-A92B-3FF565A41DBE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id="{E080F63E-3BF1-4A77-9A46-7A04F586BB8D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F8A990D4-180F-4F51-806C-CF6FA03EFF37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23" name="Symbol zastępczy tekstu 2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6888443" y="3883782"/>
            <a:ext cx="4308071" cy="397032"/>
          </a:xfrm>
        </p:spPr>
        <p:txBody>
          <a:bodyPr wrap="square" anchor="b">
            <a:spAutoFit/>
          </a:bodyPr>
          <a:lstStyle>
            <a:lvl1pPr marL="0" indent="0">
              <a:buNone/>
              <a:defRPr lang="pl-PL" sz="2200" baseline="0" smtClean="0">
                <a:solidFill>
                  <a:schemeClr val="accent2"/>
                </a:solidFill>
              </a:defRPr>
            </a:lvl1pPr>
            <a:lvl2pPr>
              <a:defRPr lang="pl-PL" sz="1800" dirty="0" smtClean="0"/>
            </a:lvl2pPr>
            <a:lvl3pPr>
              <a:defRPr lang="pl-PL" sz="1800" dirty="0" smtClean="0"/>
            </a:lvl3pPr>
            <a:lvl4pPr>
              <a:defRPr lang="pl-PL" dirty="0" smtClean="0"/>
            </a:lvl4pPr>
            <a:lvl5pPr>
              <a:defRPr lang="pl-PL" dirty="0"/>
            </a:lvl5pPr>
          </a:lstStyle>
          <a:p>
            <a:pPr marL="0" lvl="0"/>
            <a:r>
              <a:rPr lang="pl-PL"/>
              <a:t>Miejsce na opis </a:t>
            </a:r>
          </a:p>
        </p:txBody>
      </p:sp>
      <p:sp>
        <p:nvSpPr>
          <p:cNvPr id="34" name="Symbol zastępczy tekstu 33"/>
          <p:cNvSpPr>
            <a:spLocks noGrp="1"/>
          </p:cNvSpPr>
          <p:nvPr>
            <p:ph type="body" sz="quarter" idx="14" hasCustomPrompt="1"/>
          </p:nvPr>
        </p:nvSpPr>
        <p:spPr>
          <a:xfrm>
            <a:off x="6961371" y="4494475"/>
            <a:ext cx="4392429" cy="313932"/>
          </a:xfrm>
        </p:spPr>
        <p:txBody>
          <a:bodyPr wrap="square">
            <a:spAutoFit/>
          </a:bodyPr>
          <a:lstStyle>
            <a:lvl1pPr marL="0" indent="0">
              <a:buNone/>
              <a:defRPr lang="pl-PL" sz="1600" b="1" smtClean="0">
                <a:solidFill>
                  <a:schemeClr val="bg1"/>
                </a:solidFill>
                <a:latin typeface="+mj-lt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HASŁO</a:t>
            </a:r>
          </a:p>
        </p:txBody>
      </p:sp>
      <p:sp>
        <p:nvSpPr>
          <p:cNvPr id="35" name="Symbol zastępczy tekstu 33"/>
          <p:cNvSpPr>
            <a:spLocks noGrp="1"/>
          </p:cNvSpPr>
          <p:nvPr>
            <p:ph type="body" sz="quarter" idx="15" hasCustomPrompt="1"/>
          </p:nvPr>
        </p:nvSpPr>
        <p:spPr>
          <a:xfrm>
            <a:off x="6961371" y="5137691"/>
            <a:ext cx="4392429" cy="313932"/>
          </a:xfrm>
        </p:spPr>
        <p:txBody>
          <a:bodyPr wrap="square">
            <a:spAutoFit/>
          </a:bodyPr>
          <a:lstStyle>
            <a:lvl1pPr marL="0" indent="0">
              <a:buNone/>
              <a:defRPr lang="pl-PL" sz="1600" b="1" smtClean="0">
                <a:solidFill>
                  <a:schemeClr val="bg1"/>
                </a:solidFill>
                <a:latin typeface="+mj-lt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HASŁO</a:t>
            </a:r>
          </a:p>
        </p:txBody>
      </p:sp>
      <p:sp>
        <p:nvSpPr>
          <p:cNvPr id="36" name="Symbol zastępczy tekstu 33"/>
          <p:cNvSpPr>
            <a:spLocks noGrp="1"/>
          </p:cNvSpPr>
          <p:nvPr>
            <p:ph type="body" sz="quarter" idx="16" hasCustomPrompt="1"/>
          </p:nvPr>
        </p:nvSpPr>
        <p:spPr>
          <a:xfrm>
            <a:off x="6961371" y="5769725"/>
            <a:ext cx="4392429" cy="313932"/>
          </a:xfrm>
        </p:spPr>
        <p:txBody>
          <a:bodyPr wrap="square">
            <a:spAutoFit/>
          </a:bodyPr>
          <a:lstStyle>
            <a:lvl1pPr marL="0" indent="0">
              <a:buNone/>
              <a:defRPr lang="pl-PL" sz="1600" b="1" smtClean="0">
                <a:solidFill>
                  <a:schemeClr val="bg1"/>
                </a:solidFill>
                <a:latin typeface="+mj-lt"/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HASŁO</a:t>
            </a:r>
          </a:p>
        </p:txBody>
      </p:sp>
    </p:spTree>
    <p:extLst>
      <p:ext uri="{BB962C8B-B14F-4D97-AF65-F5344CB8AC3E}">
        <p14:creationId xmlns:p14="http://schemas.microsoft.com/office/powerpoint/2010/main" val="2591329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1" presetID="2" presetClass="entr" presetSubtype="4" fill="hold" nodeType="afterEffect" p14:presetBounceEnd="5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333">
                                          <p:cBhvr additive="base">
                                            <p:cTn id="13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333">
                                          <p:cBhvr additive="base">
                                            <p:cTn id="14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5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16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8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20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22" dur="75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24" presetID="2" presetClass="entr" presetSubtype="2" fill="hold" grpId="0" nodeType="afterEffect" p14:presetBounceEnd="5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333">
                                          <p:cBhvr additive="base">
                                            <p:cTn id="26" dur="7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333">
                                          <p:cBhvr additive="base">
                                            <p:cTn id="27" dur="7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8" presetID="2" presetClass="entr" presetSubtype="2" fill="hold" grpId="0" nodeType="withEffect" p14:presetBounceEnd="5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333">
                                          <p:cBhvr additive="base">
                                            <p:cTn id="30" dur="7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333">
                                          <p:cBhvr additive="base">
                                            <p:cTn id="31" dur="7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2" presetID="2" presetClass="entr" presetSubtype="2" fill="hold" grpId="0" nodeType="withEffect" p14:presetBounceEnd="5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3333">
                                          <p:cBhvr additive="base">
                                            <p:cTn id="34" dur="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3333">
                                          <p:cBhvr additive="base">
                                            <p:cTn id="35" dur="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6" fill="hold">
                                <p:stCondLst>
                                  <p:cond delay="3250"/>
                                </p:stCondLst>
                                <p:childTnLst>
                                  <p:par>
                                    <p:cTn id="37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 animBg="1"/>
          <p:bldP spid="15" grpId="0" animBg="1"/>
          <p:bldP spid="18" grpId="0" animBg="1"/>
          <p:bldP spid="21" grpId="0" animBg="1"/>
          <p:bldP spid="23" grpId="0">
            <p:tmplLst>
              <p:tmpl>
                <p:tnLst>
                  <p:par>
                    <p:cTn presetID="22" presetClass="entr" presetSubtype="1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wipe(up)">
                          <p:cBhvr>
                            <p:cTn dur="750"/>
                            <p:tgtEl>
                              <p:spTgt spid="23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4" grpId="0" build="p">
            <p:tmplLst>
              <p:tmpl lvl="1">
                <p:tnLst>
                  <p:par>
                    <p:cTn presetID="10" presetClass="entr" presetSubtype="0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4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5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5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6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6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53" presetClass="entr" presetSubtype="16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7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8" dur="500" fill="hold"/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9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0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1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75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5" fill="hold">
                                <p:stCondLst>
                                  <p:cond delay="1250"/>
                                </p:stCondLst>
                                <p:childTnLst>
                                  <p:par>
                                    <p:cTn id="16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18" dur="500"/>
                                            <p:tgtEl>
                                              <p:spTgt spid="1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9" fill="hold">
                                <p:stCondLst>
                                  <p:cond delay="1750"/>
                                </p:stCondLst>
                                <p:childTnLst>
                                  <p:par>
                                    <p:cTn id="20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22" dur="75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24" presetID="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6" dur="7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7" dur="75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8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0" dur="7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1" dur="750" fill="hold"/>
                                            <p:tgtEl>
                                              <p:spTgt spid="21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32" presetID="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4" dur="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5" dur="75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6" fill="hold">
                                <p:stCondLst>
                                  <p:cond delay="3250"/>
                                </p:stCondLst>
                                <p:childTnLst>
                                  <p:par>
                                    <p:cTn id="37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9" dur="500"/>
                                            <p:tgtEl>
                                              <p:spTgt spid="34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0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3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5" dur="500"/>
                                            <p:tgtEl>
                                              <p:spTgt spid="36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2" grpId="0" animBg="1"/>
          <p:bldP spid="15" grpId="0" animBg="1"/>
          <p:bldP spid="18" grpId="0" animBg="1"/>
          <p:bldP spid="21" grpId="0" animBg="1"/>
          <p:bldP spid="23" grpId="0">
            <p:tmplLst>
              <p:tmpl>
                <p:tnLst>
                  <p:par>
                    <p:cTn presetID="22" presetClass="entr" presetSubtype="1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23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wipe(up)">
                          <p:cBhvr>
                            <p:cTn dur="750"/>
                            <p:tgtEl>
                              <p:spTgt spid="23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4" grpId="0" build="p">
            <p:tmplLst>
              <p:tmpl lvl="1">
                <p:tnLst>
                  <p:par>
                    <p:cTn presetID="10" presetClass="entr" presetSubtype="0" fill="hold" nodeType="after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4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4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5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5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5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  <p:bldP spid="36" grpId="0" build="p">
            <p:tmplLst>
              <p:tmpl lvl="1">
                <p:tnLst>
                  <p:par>
                    <p:cTn presetID="10" presetClass="entr" presetSubtype="0" fill="hold" nodeType="withEffect">
                      <p:stCondLst>
                        <p:cond delay="0"/>
                      </p:stCondLst>
                      <p:childTnLst>
                        <p:set>
                          <p:cBhvr>
                            <p:cTn dur="1" fill="hold">
                              <p:stCondLst>
                                <p:cond delay="0"/>
                              </p:stCondLst>
                            </p:cTn>
                            <p:tgtEl>
                              <p:spTgt spid="36"/>
                            </p:tgtEl>
                            <p:attrNameLst>
                              <p:attrName>style.visibility</p:attrName>
                            </p:attrNameLst>
                          </p:cBhvr>
                          <p:to>
                            <p:strVal val="visible"/>
                          </p:to>
                        </p:set>
                        <p:animEffect transition="in" filter="fade">
                          <p:cBhvr>
                            <p:cTn dur="500"/>
                            <p:tgtEl>
                              <p:spTgt spid="36"/>
                            </p:tgtEl>
                          </p:cBhvr>
                        </p:animEffect>
                      </p:childTnLst>
                    </p:cTn>
                  </p:par>
                </p:tnLst>
              </p:tmpl>
            </p:tmplLst>
          </p:bldP>
        </p:bldLst>
      </p:timing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_Produkty z krótkim o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rostokąt 5"/>
          <p:cNvSpPr/>
          <p:nvPr userDrawn="1"/>
        </p:nvSpPr>
        <p:spPr>
          <a:xfrm>
            <a:off x="2578100" y="88900"/>
            <a:ext cx="419100" cy="104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BA13A1C4-D765-4BA0-85D2-D8133276C9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1618267" y="51120"/>
            <a:ext cx="7478459" cy="6857680"/>
          </a:xfrm>
          <a:prstGeom prst="rect">
            <a:avLst/>
          </a:prstGeom>
        </p:spPr>
      </p:pic>
      <p:sp>
        <p:nvSpPr>
          <p:cNvPr id="8" name="Prostokąt 7">
            <a:extLst>
              <a:ext uri="{FF2B5EF4-FFF2-40B4-BE49-F238E27FC236}">
                <a16:creationId xmlns:a16="http://schemas.microsoft.com/office/drawing/2014/main" id="{A92C60C0-6C42-4CDE-917E-DB863992CDAD}"/>
              </a:ext>
            </a:extLst>
          </p:cNvPr>
          <p:cNvSpPr/>
          <p:nvPr userDrawn="1"/>
        </p:nvSpPr>
        <p:spPr>
          <a:xfrm>
            <a:off x="0" y="0"/>
            <a:ext cx="8763000" cy="6858000"/>
          </a:xfrm>
          <a:prstGeom prst="rect">
            <a:avLst/>
          </a:prstGeom>
          <a:solidFill>
            <a:schemeClr val="bg1">
              <a:alpha val="7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F5E4C164-4F21-45E2-B0F8-9340137F6612}"/>
              </a:ext>
            </a:extLst>
          </p:cNvPr>
          <p:cNvSpPr>
            <a:spLocks/>
          </p:cNvSpPr>
          <p:nvPr userDrawn="1"/>
        </p:nvSpPr>
        <p:spPr bwMode="auto">
          <a:xfrm>
            <a:off x="2841265" y="380902"/>
            <a:ext cx="3080470" cy="6172396"/>
          </a:xfrm>
          <a:custGeom>
            <a:avLst/>
            <a:gdLst>
              <a:gd name="T0" fmla="*/ 0 w 1308"/>
              <a:gd name="T1" fmla="*/ 2628 h 2628"/>
              <a:gd name="T2" fmla="*/ 1308 w 1308"/>
              <a:gd name="T3" fmla="*/ 1314 h 2628"/>
              <a:gd name="T4" fmla="*/ 0 w 1308"/>
              <a:gd name="T5" fmla="*/ 0 h 26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08" h="2628">
                <a:moveTo>
                  <a:pt x="0" y="2628"/>
                </a:moveTo>
                <a:cubicBezTo>
                  <a:pt x="723" y="2625"/>
                  <a:pt x="1308" y="2038"/>
                  <a:pt x="1308" y="1314"/>
                </a:cubicBezTo>
                <a:cubicBezTo>
                  <a:pt x="1308" y="590"/>
                  <a:pt x="723" y="3"/>
                  <a:pt x="0" y="0"/>
                </a:cubicBezTo>
              </a:path>
            </a:pathLst>
          </a:custGeom>
          <a:noFill/>
          <a:ln w="9525" cap="flat">
            <a:solidFill>
              <a:srgbClr val="D40A6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l-PL"/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121D1B7D-7FF7-45E0-8346-4A56AA74F5B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grayscl/>
          </a:blip>
          <a:stretch>
            <a:fillRect/>
          </a:stretch>
        </p:blipFill>
        <p:spPr>
          <a:xfrm>
            <a:off x="5310684" y="784663"/>
            <a:ext cx="1641655" cy="906586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03DF9965-7F6D-4EBB-8C80-67BAD7FF760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grayscl/>
          </a:blip>
          <a:stretch>
            <a:fillRect/>
          </a:stretch>
        </p:blipFill>
        <p:spPr>
          <a:xfrm>
            <a:off x="6008649" y="2116146"/>
            <a:ext cx="1868950" cy="758574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0ABC2648-F6D9-4E00-8A39-4389F0C223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grayscl/>
          </a:blip>
          <a:srcRect l="22727" t="23104" r="21644" b="27451"/>
          <a:stretch/>
        </p:blipFill>
        <p:spPr>
          <a:xfrm>
            <a:off x="6008649" y="3883620"/>
            <a:ext cx="1474233" cy="655160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572F8D1B-DD10-49BD-BA15-3E253D5405C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grayscl/>
          </a:blip>
          <a:stretch>
            <a:fillRect/>
          </a:stretch>
        </p:blipFill>
        <p:spPr>
          <a:xfrm>
            <a:off x="5276378" y="5393576"/>
            <a:ext cx="2469679" cy="689855"/>
          </a:xfrm>
          <a:prstGeom prst="rect">
            <a:avLst/>
          </a:prstGeom>
        </p:spPr>
      </p:pic>
      <p:pic>
        <p:nvPicPr>
          <p:cNvPr id="14" name="Obraz 13">
            <a:extLst>
              <a:ext uri="{FF2B5EF4-FFF2-40B4-BE49-F238E27FC236}">
                <a16:creationId xmlns:a16="http://schemas.microsoft.com/office/drawing/2014/main" id="{7448E2FD-55A8-441A-AB09-09AA4B1E1E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10684" y="784663"/>
            <a:ext cx="1641655" cy="906586"/>
          </a:xfrm>
          <a:prstGeom prst="rect">
            <a:avLst/>
          </a:prstGeom>
        </p:spPr>
      </p:pic>
      <p:pic>
        <p:nvPicPr>
          <p:cNvPr id="15" name="Obraz 14">
            <a:extLst>
              <a:ext uri="{FF2B5EF4-FFF2-40B4-BE49-F238E27FC236}">
                <a16:creationId xmlns:a16="http://schemas.microsoft.com/office/drawing/2014/main" id="{DED5B742-4614-4C23-AD86-0C3EF823D8C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08649" y="2116146"/>
            <a:ext cx="1868950" cy="758574"/>
          </a:xfrm>
          <a:prstGeom prst="rect">
            <a:avLst/>
          </a:prstGeom>
        </p:spPr>
      </p:pic>
      <p:pic>
        <p:nvPicPr>
          <p:cNvPr id="16" name="Obraz 15">
            <a:extLst>
              <a:ext uri="{FF2B5EF4-FFF2-40B4-BE49-F238E27FC236}">
                <a16:creationId xmlns:a16="http://schemas.microsoft.com/office/drawing/2014/main" id="{416FA47A-D302-48DA-9721-F7B2B494AC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2727" t="23104" r="21644" b="27451"/>
          <a:stretch/>
        </p:blipFill>
        <p:spPr>
          <a:xfrm>
            <a:off x="6008649" y="3883620"/>
            <a:ext cx="1474233" cy="655160"/>
          </a:xfrm>
          <a:prstGeom prst="rect">
            <a:avLst/>
          </a:prstGeom>
        </p:spPr>
      </p:pic>
      <p:pic>
        <p:nvPicPr>
          <p:cNvPr id="17" name="Obraz 16">
            <a:extLst>
              <a:ext uri="{FF2B5EF4-FFF2-40B4-BE49-F238E27FC236}">
                <a16:creationId xmlns:a16="http://schemas.microsoft.com/office/drawing/2014/main" id="{2A6EB3CB-95F3-4A1E-A2D4-8CEBB683813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276378" y="5393576"/>
            <a:ext cx="2469679" cy="689855"/>
          </a:xfrm>
          <a:prstGeom prst="rect">
            <a:avLst/>
          </a:prstGeom>
        </p:spPr>
      </p:pic>
      <p:sp>
        <p:nvSpPr>
          <p:cNvPr id="18" name="Prostokąt 17">
            <a:extLst>
              <a:ext uri="{FF2B5EF4-FFF2-40B4-BE49-F238E27FC236}">
                <a16:creationId xmlns:a16="http://schemas.microsoft.com/office/drawing/2014/main" id="{EADFEE87-A06A-49ED-83B0-F3DB165159FB}"/>
              </a:ext>
            </a:extLst>
          </p:cNvPr>
          <p:cNvSpPr/>
          <p:nvPr userDrawn="1"/>
        </p:nvSpPr>
        <p:spPr>
          <a:xfrm>
            <a:off x="9059914" y="-12700"/>
            <a:ext cx="313208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grpSp>
        <p:nvGrpSpPr>
          <p:cNvPr id="20" name="Grupa 19">
            <a:extLst>
              <a:ext uri="{FF2B5EF4-FFF2-40B4-BE49-F238E27FC236}">
                <a16:creationId xmlns:a16="http://schemas.microsoft.com/office/drawing/2014/main" id="{79DEAE1A-CE5B-49CA-A39D-C41274C1A574}"/>
              </a:ext>
            </a:extLst>
          </p:cNvPr>
          <p:cNvGrpSpPr/>
          <p:nvPr userDrawn="1"/>
        </p:nvGrpSpPr>
        <p:grpSpPr>
          <a:xfrm>
            <a:off x="7760571" y="1404279"/>
            <a:ext cx="3898029" cy="0"/>
            <a:chOff x="7760571" y="1404279"/>
            <a:chExt cx="3898029" cy="0"/>
          </a:xfrm>
        </p:grpSpPr>
        <p:cxnSp>
          <p:nvCxnSpPr>
            <p:cNvPr id="21" name="Łącznik prosty 20">
              <a:extLst>
                <a:ext uri="{FF2B5EF4-FFF2-40B4-BE49-F238E27FC236}">
                  <a16:creationId xmlns:a16="http://schemas.microsoft.com/office/drawing/2014/main" id="{4314723B-7FD1-4A68-B831-7B8D9AF2879A}"/>
                </a:ext>
              </a:extLst>
            </p:cNvPr>
            <p:cNvCxnSpPr>
              <a:cxnSpLocks/>
            </p:cNvCxnSpPr>
            <p:nvPr/>
          </p:nvCxnSpPr>
          <p:spPr>
            <a:xfrm>
              <a:off x="9059914" y="1404279"/>
              <a:ext cx="259868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Łącznik prosty 21">
              <a:extLst>
                <a:ext uri="{FF2B5EF4-FFF2-40B4-BE49-F238E27FC236}">
                  <a16:creationId xmlns:a16="http://schemas.microsoft.com/office/drawing/2014/main" id="{142FDB15-5A1F-4F80-B10C-3A3616406082}"/>
                </a:ext>
              </a:extLst>
            </p:cNvPr>
            <p:cNvCxnSpPr>
              <a:cxnSpLocks/>
            </p:cNvCxnSpPr>
            <p:nvPr/>
          </p:nvCxnSpPr>
          <p:spPr>
            <a:xfrm>
              <a:off x="7760571" y="1404279"/>
              <a:ext cx="129934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upa 23">
            <a:extLst>
              <a:ext uri="{FF2B5EF4-FFF2-40B4-BE49-F238E27FC236}">
                <a16:creationId xmlns:a16="http://schemas.microsoft.com/office/drawing/2014/main" id="{84D63630-3ECE-4ADC-B6CC-3485A7481671}"/>
              </a:ext>
            </a:extLst>
          </p:cNvPr>
          <p:cNvGrpSpPr/>
          <p:nvPr userDrawn="1"/>
        </p:nvGrpSpPr>
        <p:grpSpPr>
          <a:xfrm>
            <a:off x="7760571" y="3016465"/>
            <a:ext cx="3898029" cy="0"/>
            <a:chOff x="7760571" y="3016465"/>
            <a:chExt cx="3898029" cy="0"/>
          </a:xfrm>
        </p:grpSpPr>
        <p:cxnSp>
          <p:nvCxnSpPr>
            <p:cNvPr id="25" name="Łącznik prosty 24">
              <a:extLst>
                <a:ext uri="{FF2B5EF4-FFF2-40B4-BE49-F238E27FC236}">
                  <a16:creationId xmlns:a16="http://schemas.microsoft.com/office/drawing/2014/main" id="{445A9F98-9199-4503-8553-C318F423B0E3}"/>
                </a:ext>
              </a:extLst>
            </p:cNvPr>
            <p:cNvCxnSpPr>
              <a:cxnSpLocks/>
            </p:cNvCxnSpPr>
            <p:nvPr/>
          </p:nvCxnSpPr>
          <p:spPr>
            <a:xfrm>
              <a:off x="9059914" y="3016465"/>
              <a:ext cx="259868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Łącznik prosty 25">
              <a:extLst>
                <a:ext uri="{FF2B5EF4-FFF2-40B4-BE49-F238E27FC236}">
                  <a16:creationId xmlns:a16="http://schemas.microsoft.com/office/drawing/2014/main" id="{F7484F2D-F5AF-4662-AA74-644F79891537}"/>
                </a:ext>
              </a:extLst>
            </p:cNvPr>
            <p:cNvCxnSpPr>
              <a:cxnSpLocks/>
            </p:cNvCxnSpPr>
            <p:nvPr/>
          </p:nvCxnSpPr>
          <p:spPr>
            <a:xfrm>
              <a:off x="7760571" y="3016465"/>
              <a:ext cx="129934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a 27">
            <a:extLst>
              <a:ext uri="{FF2B5EF4-FFF2-40B4-BE49-F238E27FC236}">
                <a16:creationId xmlns:a16="http://schemas.microsoft.com/office/drawing/2014/main" id="{BC6B8F85-8720-4BEC-99A7-5F0696413D97}"/>
              </a:ext>
            </a:extLst>
          </p:cNvPr>
          <p:cNvGrpSpPr/>
          <p:nvPr userDrawn="1"/>
        </p:nvGrpSpPr>
        <p:grpSpPr>
          <a:xfrm>
            <a:off x="7760571" y="4592183"/>
            <a:ext cx="3898029" cy="0"/>
            <a:chOff x="7760571" y="4592183"/>
            <a:chExt cx="3898029" cy="0"/>
          </a:xfrm>
        </p:grpSpPr>
        <p:cxnSp>
          <p:nvCxnSpPr>
            <p:cNvPr id="29" name="Łącznik prosty 28">
              <a:extLst>
                <a:ext uri="{FF2B5EF4-FFF2-40B4-BE49-F238E27FC236}">
                  <a16:creationId xmlns:a16="http://schemas.microsoft.com/office/drawing/2014/main" id="{E47D1406-C8F4-4240-B948-66B7EED8C17C}"/>
                </a:ext>
              </a:extLst>
            </p:cNvPr>
            <p:cNvCxnSpPr>
              <a:cxnSpLocks/>
            </p:cNvCxnSpPr>
            <p:nvPr/>
          </p:nvCxnSpPr>
          <p:spPr>
            <a:xfrm>
              <a:off x="9059914" y="4592183"/>
              <a:ext cx="259868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Łącznik prosty 29">
              <a:extLst>
                <a:ext uri="{FF2B5EF4-FFF2-40B4-BE49-F238E27FC236}">
                  <a16:creationId xmlns:a16="http://schemas.microsoft.com/office/drawing/2014/main" id="{A19D1FFC-2520-4A22-905F-E2C6D3CDFF4E}"/>
                </a:ext>
              </a:extLst>
            </p:cNvPr>
            <p:cNvCxnSpPr>
              <a:cxnSpLocks/>
            </p:cNvCxnSpPr>
            <p:nvPr/>
          </p:nvCxnSpPr>
          <p:spPr>
            <a:xfrm>
              <a:off x="7760571" y="4592183"/>
              <a:ext cx="129934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upa 31">
            <a:extLst>
              <a:ext uri="{FF2B5EF4-FFF2-40B4-BE49-F238E27FC236}">
                <a16:creationId xmlns:a16="http://schemas.microsoft.com/office/drawing/2014/main" id="{0E32FCDC-41D3-4757-B1A4-C2B24473F5D9}"/>
              </a:ext>
            </a:extLst>
          </p:cNvPr>
          <p:cNvGrpSpPr/>
          <p:nvPr userDrawn="1"/>
        </p:nvGrpSpPr>
        <p:grpSpPr>
          <a:xfrm>
            <a:off x="7760571" y="6135034"/>
            <a:ext cx="3898029" cy="0"/>
            <a:chOff x="7760571" y="6135034"/>
            <a:chExt cx="3898029" cy="0"/>
          </a:xfrm>
        </p:grpSpPr>
        <p:cxnSp>
          <p:nvCxnSpPr>
            <p:cNvPr id="33" name="Łącznik prosty 32">
              <a:extLst>
                <a:ext uri="{FF2B5EF4-FFF2-40B4-BE49-F238E27FC236}">
                  <a16:creationId xmlns:a16="http://schemas.microsoft.com/office/drawing/2014/main" id="{235D2FCF-FB84-4698-850E-FE7720AC60CF}"/>
                </a:ext>
              </a:extLst>
            </p:cNvPr>
            <p:cNvCxnSpPr>
              <a:cxnSpLocks/>
            </p:cNvCxnSpPr>
            <p:nvPr/>
          </p:nvCxnSpPr>
          <p:spPr>
            <a:xfrm>
              <a:off x="9059914" y="6135034"/>
              <a:ext cx="2598686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Łącznik prosty 33">
              <a:extLst>
                <a:ext uri="{FF2B5EF4-FFF2-40B4-BE49-F238E27FC236}">
                  <a16:creationId xmlns:a16="http://schemas.microsoft.com/office/drawing/2014/main" id="{F5565E58-BC05-4DD1-ACD8-4FC2913A838C}"/>
                </a:ext>
              </a:extLst>
            </p:cNvPr>
            <p:cNvCxnSpPr>
              <a:cxnSpLocks/>
            </p:cNvCxnSpPr>
            <p:nvPr/>
          </p:nvCxnSpPr>
          <p:spPr>
            <a:xfrm>
              <a:off x="7760571" y="6135034"/>
              <a:ext cx="129934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oup 4"/>
          <p:cNvGrpSpPr>
            <a:grpSpLocks noChangeAspect="1"/>
          </p:cNvGrpSpPr>
          <p:nvPr userDrawn="1"/>
        </p:nvGrpSpPr>
        <p:grpSpPr bwMode="auto">
          <a:xfrm>
            <a:off x="1367548" y="2857314"/>
            <a:ext cx="3672319" cy="1130671"/>
            <a:chOff x="-1344" y="-1158"/>
            <a:chExt cx="3891" cy="1198"/>
          </a:xfrm>
        </p:grpSpPr>
        <p:sp>
          <p:nvSpPr>
            <p:cNvPr id="36" name="Freeform 5"/>
            <p:cNvSpPr>
              <a:spLocks noEditPoints="1"/>
            </p:cNvSpPr>
            <p:nvPr/>
          </p:nvSpPr>
          <p:spPr bwMode="auto">
            <a:xfrm>
              <a:off x="2" y="-925"/>
              <a:ext cx="306" cy="330"/>
            </a:xfrm>
            <a:custGeom>
              <a:avLst/>
              <a:gdLst>
                <a:gd name="T0" fmla="*/ 66 w 129"/>
                <a:gd name="T1" fmla="*/ 139 h 139"/>
                <a:gd name="T2" fmla="*/ 40 w 129"/>
                <a:gd name="T3" fmla="*/ 134 h 139"/>
                <a:gd name="T4" fmla="*/ 19 w 129"/>
                <a:gd name="T5" fmla="*/ 120 h 139"/>
                <a:gd name="T6" fmla="*/ 5 w 129"/>
                <a:gd name="T7" fmla="*/ 100 h 139"/>
                <a:gd name="T8" fmla="*/ 0 w 129"/>
                <a:gd name="T9" fmla="*/ 74 h 139"/>
                <a:gd name="T10" fmla="*/ 5 w 129"/>
                <a:gd name="T11" fmla="*/ 44 h 139"/>
                <a:gd name="T12" fmla="*/ 18 w 129"/>
                <a:gd name="T13" fmla="*/ 21 h 139"/>
                <a:gd name="T14" fmla="*/ 39 w 129"/>
                <a:gd name="T15" fmla="*/ 5 h 139"/>
                <a:gd name="T16" fmla="*/ 66 w 129"/>
                <a:gd name="T17" fmla="*/ 0 h 139"/>
                <a:gd name="T18" fmla="*/ 90 w 129"/>
                <a:gd name="T19" fmla="*/ 4 h 139"/>
                <a:gd name="T20" fmla="*/ 109 w 129"/>
                <a:gd name="T21" fmla="*/ 17 h 139"/>
                <a:gd name="T22" fmla="*/ 121 w 129"/>
                <a:gd name="T23" fmla="*/ 35 h 139"/>
                <a:gd name="T24" fmla="*/ 125 w 129"/>
                <a:gd name="T25" fmla="*/ 56 h 139"/>
                <a:gd name="T26" fmla="*/ 26 w 129"/>
                <a:gd name="T27" fmla="*/ 56 h 139"/>
                <a:gd name="T28" fmla="*/ 29 w 129"/>
                <a:gd name="T29" fmla="*/ 81 h 139"/>
                <a:gd name="T30" fmla="*/ 39 w 129"/>
                <a:gd name="T31" fmla="*/ 101 h 139"/>
                <a:gd name="T32" fmla="*/ 54 w 129"/>
                <a:gd name="T33" fmla="*/ 114 h 139"/>
                <a:gd name="T34" fmla="*/ 73 w 129"/>
                <a:gd name="T35" fmla="*/ 119 h 139"/>
                <a:gd name="T36" fmla="*/ 89 w 129"/>
                <a:gd name="T37" fmla="*/ 116 h 139"/>
                <a:gd name="T38" fmla="*/ 104 w 129"/>
                <a:gd name="T39" fmla="*/ 108 h 139"/>
                <a:gd name="T40" fmla="*/ 115 w 129"/>
                <a:gd name="T41" fmla="*/ 98 h 139"/>
                <a:gd name="T42" fmla="*/ 121 w 129"/>
                <a:gd name="T43" fmla="*/ 86 h 139"/>
                <a:gd name="T44" fmla="*/ 129 w 129"/>
                <a:gd name="T45" fmla="*/ 89 h 139"/>
                <a:gd name="T46" fmla="*/ 120 w 129"/>
                <a:gd name="T47" fmla="*/ 109 h 139"/>
                <a:gd name="T48" fmla="*/ 105 w 129"/>
                <a:gd name="T49" fmla="*/ 124 h 139"/>
                <a:gd name="T50" fmla="*/ 86 w 129"/>
                <a:gd name="T51" fmla="*/ 135 h 139"/>
                <a:gd name="T52" fmla="*/ 66 w 129"/>
                <a:gd name="T53" fmla="*/ 139 h 139"/>
                <a:gd name="T54" fmla="*/ 92 w 129"/>
                <a:gd name="T55" fmla="*/ 45 h 139"/>
                <a:gd name="T56" fmla="*/ 89 w 129"/>
                <a:gd name="T57" fmla="*/ 31 h 139"/>
                <a:gd name="T58" fmla="*/ 82 w 129"/>
                <a:gd name="T59" fmla="*/ 20 h 139"/>
                <a:gd name="T60" fmla="*/ 71 w 129"/>
                <a:gd name="T61" fmla="*/ 12 h 139"/>
                <a:gd name="T62" fmla="*/ 58 w 129"/>
                <a:gd name="T63" fmla="*/ 10 h 139"/>
                <a:gd name="T64" fmla="*/ 46 w 129"/>
                <a:gd name="T65" fmla="*/ 12 h 139"/>
                <a:gd name="T66" fmla="*/ 36 w 129"/>
                <a:gd name="T67" fmla="*/ 20 h 139"/>
                <a:gd name="T68" fmla="*/ 29 w 129"/>
                <a:gd name="T69" fmla="*/ 31 h 139"/>
                <a:gd name="T70" fmla="*/ 26 w 129"/>
                <a:gd name="T71" fmla="*/ 45 h 139"/>
                <a:gd name="T72" fmla="*/ 92 w 129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139">
                  <a:moveTo>
                    <a:pt x="66" y="139"/>
                  </a:moveTo>
                  <a:cubicBezTo>
                    <a:pt x="57" y="139"/>
                    <a:pt x="48" y="137"/>
                    <a:pt x="40" y="134"/>
                  </a:cubicBezTo>
                  <a:cubicBezTo>
                    <a:pt x="32" y="131"/>
                    <a:pt x="25" y="126"/>
                    <a:pt x="19" y="120"/>
                  </a:cubicBezTo>
                  <a:cubicBezTo>
                    <a:pt x="13" y="114"/>
                    <a:pt x="9" y="107"/>
                    <a:pt x="5" y="100"/>
                  </a:cubicBezTo>
                  <a:cubicBezTo>
                    <a:pt x="2" y="92"/>
                    <a:pt x="0" y="83"/>
                    <a:pt x="0" y="74"/>
                  </a:cubicBezTo>
                  <a:cubicBezTo>
                    <a:pt x="0" y="64"/>
                    <a:pt x="2" y="54"/>
                    <a:pt x="5" y="44"/>
                  </a:cubicBezTo>
                  <a:cubicBezTo>
                    <a:pt x="8" y="35"/>
                    <a:pt x="12" y="27"/>
                    <a:pt x="18" y="21"/>
                  </a:cubicBezTo>
                  <a:cubicBezTo>
                    <a:pt x="24" y="14"/>
                    <a:pt x="31" y="9"/>
                    <a:pt x="39" y="5"/>
                  </a:cubicBezTo>
                  <a:cubicBezTo>
                    <a:pt x="47" y="1"/>
                    <a:pt x="56" y="0"/>
                    <a:pt x="66" y="0"/>
                  </a:cubicBezTo>
                  <a:cubicBezTo>
                    <a:pt x="75" y="0"/>
                    <a:pt x="83" y="1"/>
                    <a:pt x="90" y="4"/>
                  </a:cubicBezTo>
                  <a:cubicBezTo>
                    <a:pt x="97" y="7"/>
                    <a:pt x="104" y="11"/>
                    <a:pt x="109" y="17"/>
                  </a:cubicBezTo>
                  <a:cubicBezTo>
                    <a:pt x="114" y="22"/>
                    <a:pt x="118" y="28"/>
                    <a:pt x="121" y="35"/>
                  </a:cubicBezTo>
                  <a:cubicBezTo>
                    <a:pt x="124" y="41"/>
                    <a:pt x="125" y="49"/>
                    <a:pt x="125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65"/>
                    <a:pt x="27" y="73"/>
                    <a:pt x="29" y="81"/>
                  </a:cubicBezTo>
                  <a:cubicBezTo>
                    <a:pt x="31" y="89"/>
                    <a:pt x="35" y="95"/>
                    <a:pt x="39" y="101"/>
                  </a:cubicBezTo>
                  <a:cubicBezTo>
                    <a:pt x="43" y="106"/>
                    <a:pt x="48" y="111"/>
                    <a:pt x="54" y="114"/>
                  </a:cubicBezTo>
                  <a:cubicBezTo>
                    <a:pt x="59" y="117"/>
                    <a:pt x="66" y="119"/>
                    <a:pt x="73" y="119"/>
                  </a:cubicBezTo>
                  <a:cubicBezTo>
                    <a:pt x="79" y="119"/>
                    <a:pt x="84" y="118"/>
                    <a:pt x="89" y="116"/>
                  </a:cubicBezTo>
                  <a:cubicBezTo>
                    <a:pt x="95" y="114"/>
                    <a:pt x="100" y="112"/>
                    <a:pt x="104" y="108"/>
                  </a:cubicBezTo>
                  <a:cubicBezTo>
                    <a:pt x="108" y="105"/>
                    <a:pt x="112" y="102"/>
                    <a:pt x="115" y="98"/>
                  </a:cubicBezTo>
                  <a:cubicBezTo>
                    <a:pt x="118" y="94"/>
                    <a:pt x="120" y="90"/>
                    <a:pt x="121" y="86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7" y="96"/>
                    <a:pt x="124" y="103"/>
                    <a:pt x="120" y="109"/>
                  </a:cubicBezTo>
                  <a:cubicBezTo>
                    <a:pt x="115" y="115"/>
                    <a:pt x="110" y="120"/>
                    <a:pt x="105" y="124"/>
                  </a:cubicBezTo>
                  <a:cubicBezTo>
                    <a:pt x="99" y="129"/>
                    <a:pt x="93" y="132"/>
                    <a:pt x="86" y="135"/>
                  </a:cubicBezTo>
                  <a:cubicBezTo>
                    <a:pt x="79" y="138"/>
                    <a:pt x="73" y="139"/>
                    <a:pt x="66" y="139"/>
                  </a:cubicBezTo>
                  <a:moveTo>
                    <a:pt x="92" y="45"/>
                  </a:moveTo>
                  <a:cubicBezTo>
                    <a:pt x="92" y="40"/>
                    <a:pt x="91" y="36"/>
                    <a:pt x="89" y="31"/>
                  </a:cubicBezTo>
                  <a:cubicBezTo>
                    <a:pt x="88" y="27"/>
                    <a:pt x="85" y="23"/>
                    <a:pt x="82" y="20"/>
                  </a:cubicBezTo>
                  <a:cubicBezTo>
                    <a:pt x="79" y="17"/>
                    <a:pt x="75" y="14"/>
                    <a:pt x="71" y="12"/>
                  </a:cubicBezTo>
                  <a:cubicBezTo>
                    <a:pt x="67" y="10"/>
                    <a:pt x="62" y="10"/>
                    <a:pt x="58" y="10"/>
                  </a:cubicBezTo>
                  <a:cubicBezTo>
                    <a:pt x="54" y="10"/>
                    <a:pt x="50" y="10"/>
                    <a:pt x="46" y="12"/>
                  </a:cubicBezTo>
                  <a:cubicBezTo>
                    <a:pt x="42" y="14"/>
                    <a:pt x="39" y="17"/>
                    <a:pt x="36" y="20"/>
                  </a:cubicBezTo>
                  <a:cubicBezTo>
                    <a:pt x="33" y="23"/>
                    <a:pt x="31" y="27"/>
                    <a:pt x="29" y="31"/>
                  </a:cubicBezTo>
                  <a:cubicBezTo>
                    <a:pt x="27" y="36"/>
                    <a:pt x="26" y="40"/>
                    <a:pt x="26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7" name="Freeform 6"/>
            <p:cNvSpPr>
              <a:spLocks/>
            </p:cNvSpPr>
            <p:nvPr/>
          </p:nvSpPr>
          <p:spPr bwMode="auto">
            <a:xfrm>
              <a:off x="317" y="-918"/>
              <a:ext cx="324" cy="316"/>
            </a:xfrm>
            <a:custGeom>
              <a:avLst/>
              <a:gdLst>
                <a:gd name="T0" fmla="*/ 33 w 324"/>
                <a:gd name="T1" fmla="*/ 316 h 316"/>
                <a:gd name="T2" fmla="*/ 0 w 324"/>
                <a:gd name="T3" fmla="*/ 316 h 316"/>
                <a:gd name="T4" fmla="*/ 133 w 324"/>
                <a:gd name="T5" fmla="*/ 155 h 316"/>
                <a:gd name="T6" fmla="*/ 19 w 324"/>
                <a:gd name="T7" fmla="*/ 0 h 316"/>
                <a:gd name="T8" fmla="*/ 95 w 324"/>
                <a:gd name="T9" fmla="*/ 0 h 316"/>
                <a:gd name="T10" fmla="*/ 170 w 324"/>
                <a:gd name="T11" fmla="*/ 105 h 316"/>
                <a:gd name="T12" fmla="*/ 258 w 324"/>
                <a:gd name="T13" fmla="*/ 0 h 316"/>
                <a:gd name="T14" fmla="*/ 294 w 324"/>
                <a:gd name="T15" fmla="*/ 0 h 316"/>
                <a:gd name="T16" fmla="*/ 187 w 324"/>
                <a:gd name="T17" fmla="*/ 128 h 316"/>
                <a:gd name="T18" fmla="*/ 324 w 324"/>
                <a:gd name="T19" fmla="*/ 316 h 316"/>
                <a:gd name="T20" fmla="*/ 249 w 324"/>
                <a:gd name="T21" fmla="*/ 316 h 316"/>
                <a:gd name="T22" fmla="*/ 149 w 324"/>
                <a:gd name="T23" fmla="*/ 176 h 316"/>
                <a:gd name="T24" fmla="*/ 33 w 324"/>
                <a:gd name="T25" fmla="*/ 316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24" h="316">
                  <a:moveTo>
                    <a:pt x="33" y="316"/>
                  </a:moveTo>
                  <a:lnTo>
                    <a:pt x="0" y="316"/>
                  </a:lnTo>
                  <a:lnTo>
                    <a:pt x="133" y="155"/>
                  </a:lnTo>
                  <a:lnTo>
                    <a:pt x="19" y="0"/>
                  </a:lnTo>
                  <a:lnTo>
                    <a:pt x="95" y="0"/>
                  </a:lnTo>
                  <a:lnTo>
                    <a:pt x="170" y="105"/>
                  </a:lnTo>
                  <a:lnTo>
                    <a:pt x="258" y="0"/>
                  </a:lnTo>
                  <a:lnTo>
                    <a:pt x="294" y="0"/>
                  </a:lnTo>
                  <a:lnTo>
                    <a:pt x="187" y="128"/>
                  </a:lnTo>
                  <a:lnTo>
                    <a:pt x="324" y="316"/>
                  </a:lnTo>
                  <a:lnTo>
                    <a:pt x="249" y="316"/>
                  </a:lnTo>
                  <a:lnTo>
                    <a:pt x="149" y="176"/>
                  </a:lnTo>
                  <a:lnTo>
                    <a:pt x="33" y="316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8" name="Freeform 7"/>
            <p:cNvSpPr>
              <a:spLocks/>
            </p:cNvSpPr>
            <p:nvPr/>
          </p:nvSpPr>
          <p:spPr bwMode="auto">
            <a:xfrm>
              <a:off x="625" y="-1027"/>
              <a:ext cx="203" cy="432"/>
            </a:xfrm>
            <a:custGeom>
              <a:avLst/>
              <a:gdLst>
                <a:gd name="T0" fmla="*/ 86 w 86"/>
                <a:gd name="T1" fmla="*/ 162 h 182"/>
                <a:gd name="T2" fmla="*/ 71 w 86"/>
                <a:gd name="T3" fmla="*/ 177 h 182"/>
                <a:gd name="T4" fmla="*/ 50 w 86"/>
                <a:gd name="T5" fmla="*/ 182 h 182"/>
                <a:gd name="T6" fmla="*/ 38 w 86"/>
                <a:gd name="T7" fmla="*/ 180 h 182"/>
                <a:gd name="T8" fmla="*/ 30 w 86"/>
                <a:gd name="T9" fmla="*/ 173 h 182"/>
                <a:gd name="T10" fmla="*/ 25 w 86"/>
                <a:gd name="T11" fmla="*/ 164 h 182"/>
                <a:gd name="T12" fmla="*/ 23 w 86"/>
                <a:gd name="T13" fmla="*/ 151 h 182"/>
                <a:gd name="T14" fmla="*/ 23 w 86"/>
                <a:gd name="T15" fmla="*/ 57 h 182"/>
                <a:gd name="T16" fmla="*/ 0 w 86"/>
                <a:gd name="T17" fmla="*/ 57 h 182"/>
                <a:gd name="T18" fmla="*/ 0 w 86"/>
                <a:gd name="T19" fmla="*/ 50 h 182"/>
                <a:gd name="T20" fmla="*/ 19 w 86"/>
                <a:gd name="T21" fmla="*/ 46 h 182"/>
                <a:gd name="T22" fmla="*/ 31 w 86"/>
                <a:gd name="T23" fmla="*/ 35 h 182"/>
                <a:gd name="T24" fmla="*/ 38 w 86"/>
                <a:gd name="T25" fmla="*/ 19 h 182"/>
                <a:gd name="T26" fmla="*/ 42 w 86"/>
                <a:gd name="T27" fmla="*/ 0 h 182"/>
                <a:gd name="T28" fmla="*/ 50 w 86"/>
                <a:gd name="T29" fmla="*/ 0 h 182"/>
                <a:gd name="T30" fmla="*/ 50 w 86"/>
                <a:gd name="T31" fmla="*/ 45 h 182"/>
                <a:gd name="T32" fmla="*/ 80 w 86"/>
                <a:gd name="T33" fmla="*/ 45 h 182"/>
                <a:gd name="T34" fmla="*/ 80 w 86"/>
                <a:gd name="T35" fmla="*/ 57 h 182"/>
                <a:gd name="T36" fmla="*/ 50 w 86"/>
                <a:gd name="T37" fmla="*/ 57 h 182"/>
                <a:gd name="T38" fmla="*/ 50 w 86"/>
                <a:gd name="T39" fmla="*/ 151 h 182"/>
                <a:gd name="T40" fmla="*/ 54 w 86"/>
                <a:gd name="T41" fmla="*/ 161 h 182"/>
                <a:gd name="T42" fmla="*/ 64 w 86"/>
                <a:gd name="T43" fmla="*/ 165 h 182"/>
                <a:gd name="T44" fmla="*/ 73 w 86"/>
                <a:gd name="T45" fmla="*/ 163 h 182"/>
                <a:gd name="T46" fmla="*/ 79 w 86"/>
                <a:gd name="T47" fmla="*/ 158 h 182"/>
                <a:gd name="T48" fmla="*/ 86 w 86"/>
                <a:gd name="T49" fmla="*/ 16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6" h="182">
                  <a:moveTo>
                    <a:pt x="86" y="162"/>
                  </a:moveTo>
                  <a:cubicBezTo>
                    <a:pt x="82" y="168"/>
                    <a:pt x="77" y="173"/>
                    <a:pt x="71" y="177"/>
                  </a:cubicBezTo>
                  <a:cubicBezTo>
                    <a:pt x="65" y="180"/>
                    <a:pt x="58" y="182"/>
                    <a:pt x="50" y="182"/>
                  </a:cubicBezTo>
                  <a:cubicBezTo>
                    <a:pt x="45" y="182"/>
                    <a:pt x="41" y="181"/>
                    <a:pt x="38" y="180"/>
                  </a:cubicBezTo>
                  <a:cubicBezTo>
                    <a:pt x="35" y="178"/>
                    <a:pt x="32" y="176"/>
                    <a:pt x="30" y="173"/>
                  </a:cubicBezTo>
                  <a:cubicBezTo>
                    <a:pt x="28" y="171"/>
                    <a:pt x="26" y="167"/>
                    <a:pt x="25" y="164"/>
                  </a:cubicBezTo>
                  <a:cubicBezTo>
                    <a:pt x="24" y="160"/>
                    <a:pt x="23" y="156"/>
                    <a:pt x="23" y="151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8" y="50"/>
                    <a:pt x="14" y="49"/>
                    <a:pt x="19" y="46"/>
                  </a:cubicBezTo>
                  <a:cubicBezTo>
                    <a:pt x="23" y="43"/>
                    <a:pt x="27" y="40"/>
                    <a:pt x="31" y="35"/>
                  </a:cubicBezTo>
                  <a:cubicBezTo>
                    <a:pt x="34" y="30"/>
                    <a:pt x="36" y="25"/>
                    <a:pt x="38" y="19"/>
                  </a:cubicBezTo>
                  <a:cubicBezTo>
                    <a:pt x="40" y="13"/>
                    <a:pt x="41" y="6"/>
                    <a:pt x="4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50" y="155"/>
                    <a:pt x="51" y="158"/>
                    <a:pt x="54" y="161"/>
                  </a:cubicBezTo>
                  <a:cubicBezTo>
                    <a:pt x="57" y="164"/>
                    <a:pt x="60" y="165"/>
                    <a:pt x="64" y="165"/>
                  </a:cubicBezTo>
                  <a:cubicBezTo>
                    <a:pt x="67" y="165"/>
                    <a:pt x="70" y="164"/>
                    <a:pt x="73" y="163"/>
                  </a:cubicBezTo>
                  <a:cubicBezTo>
                    <a:pt x="75" y="162"/>
                    <a:pt x="77" y="160"/>
                    <a:pt x="79" y="158"/>
                  </a:cubicBezTo>
                  <a:lnTo>
                    <a:pt x="86" y="162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9" name="Freeform 8"/>
            <p:cNvSpPr>
              <a:spLocks noEditPoints="1"/>
            </p:cNvSpPr>
            <p:nvPr/>
          </p:nvSpPr>
          <p:spPr bwMode="auto">
            <a:xfrm>
              <a:off x="850" y="-925"/>
              <a:ext cx="305" cy="330"/>
            </a:xfrm>
            <a:custGeom>
              <a:avLst/>
              <a:gdLst>
                <a:gd name="T0" fmla="*/ 66 w 129"/>
                <a:gd name="T1" fmla="*/ 139 h 139"/>
                <a:gd name="T2" fmla="*/ 40 w 129"/>
                <a:gd name="T3" fmla="*/ 134 h 139"/>
                <a:gd name="T4" fmla="*/ 20 w 129"/>
                <a:gd name="T5" fmla="*/ 120 h 139"/>
                <a:gd name="T6" fmla="*/ 6 w 129"/>
                <a:gd name="T7" fmla="*/ 100 h 139"/>
                <a:gd name="T8" fmla="*/ 0 w 129"/>
                <a:gd name="T9" fmla="*/ 74 h 139"/>
                <a:gd name="T10" fmla="*/ 5 w 129"/>
                <a:gd name="T11" fmla="*/ 44 h 139"/>
                <a:gd name="T12" fmla="*/ 18 w 129"/>
                <a:gd name="T13" fmla="*/ 21 h 139"/>
                <a:gd name="T14" fmla="*/ 39 w 129"/>
                <a:gd name="T15" fmla="*/ 5 h 139"/>
                <a:gd name="T16" fmla="*/ 66 w 129"/>
                <a:gd name="T17" fmla="*/ 0 h 139"/>
                <a:gd name="T18" fmla="*/ 90 w 129"/>
                <a:gd name="T19" fmla="*/ 4 h 139"/>
                <a:gd name="T20" fmla="*/ 109 w 129"/>
                <a:gd name="T21" fmla="*/ 17 h 139"/>
                <a:gd name="T22" fmla="*/ 121 w 129"/>
                <a:gd name="T23" fmla="*/ 35 h 139"/>
                <a:gd name="T24" fmla="*/ 126 w 129"/>
                <a:gd name="T25" fmla="*/ 56 h 139"/>
                <a:gd name="T26" fmla="*/ 26 w 129"/>
                <a:gd name="T27" fmla="*/ 56 h 139"/>
                <a:gd name="T28" fmla="*/ 29 w 129"/>
                <a:gd name="T29" fmla="*/ 81 h 139"/>
                <a:gd name="T30" fmla="*/ 39 w 129"/>
                <a:gd name="T31" fmla="*/ 101 h 139"/>
                <a:gd name="T32" fmla="*/ 54 w 129"/>
                <a:gd name="T33" fmla="*/ 114 h 139"/>
                <a:gd name="T34" fmla="*/ 73 w 129"/>
                <a:gd name="T35" fmla="*/ 119 h 139"/>
                <a:gd name="T36" fmla="*/ 90 w 129"/>
                <a:gd name="T37" fmla="*/ 116 h 139"/>
                <a:gd name="T38" fmla="*/ 104 w 129"/>
                <a:gd name="T39" fmla="*/ 108 h 139"/>
                <a:gd name="T40" fmla="*/ 115 w 129"/>
                <a:gd name="T41" fmla="*/ 98 h 139"/>
                <a:gd name="T42" fmla="*/ 122 w 129"/>
                <a:gd name="T43" fmla="*/ 86 h 139"/>
                <a:gd name="T44" fmla="*/ 129 w 129"/>
                <a:gd name="T45" fmla="*/ 89 h 139"/>
                <a:gd name="T46" fmla="*/ 120 w 129"/>
                <a:gd name="T47" fmla="*/ 109 h 139"/>
                <a:gd name="T48" fmla="*/ 105 w 129"/>
                <a:gd name="T49" fmla="*/ 124 h 139"/>
                <a:gd name="T50" fmla="*/ 86 w 129"/>
                <a:gd name="T51" fmla="*/ 135 h 139"/>
                <a:gd name="T52" fmla="*/ 66 w 129"/>
                <a:gd name="T53" fmla="*/ 139 h 139"/>
                <a:gd name="T54" fmla="*/ 92 w 129"/>
                <a:gd name="T55" fmla="*/ 45 h 139"/>
                <a:gd name="T56" fmla="*/ 90 w 129"/>
                <a:gd name="T57" fmla="*/ 31 h 139"/>
                <a:gd name="T58" fmla="*/ 82 w 129"/>
                <a:gd name="T59" fmla="*/ 20 h 139"/>
                <a:gd name="T60" fmla="*/ 71 w 129"/>
                <a:gd name="T61" fmla="*/ 12 h 139"/>
                <a:gd name="T62" fmla="*/ 58 w 129"/>
                <a:gd name="T63" fmla="*/ 10 h 139"/>
                <a:gd name="T64" fmla="*/ 46 w 129"/>
                <a:gd name="T65" fmla="*/ 12 h 139"/>
                <a:gd name="T66" fmla="*/ 37 w 129"/>
                <a:gd name="T67" fmla="*/ 20 h 139"/>
                <a:gd name="T68" fmla="*/ 30 w 129"/>
                <a:gd name="T69" fmla="*/ 31 h 139"/>
                <a:gd name="T70" fmla="*/ 26 w 129"/>
                <a:gd name="T71" fmla="*/ 45 h 139"/>
                <a:gd name="T72" fmla="*/ 92 w 129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9" h="139">
                  <a:moveTo>
                    <a:pt x="66" y="139"/>
                  </a:moveTo>
                  <a:cubicBezTo>
                    <a:pt x="57" y="139"/>
                    <a:pt x="48" y="137"/>
                    <a:pt x="40" y="134"/>
                  </a:cubicBezTo>
                  <a:cubicBezTo>
                    <a:pt x="33" y="131"/>
                    <a:pt x="26" y="126"/>
                    <a:pt x="20" y="120"/>
                  </a:cubicBezTo>
                  <a:cubicBezTo>
                    <a:pt x="14" y="114"/>
                    <a:pt x="9" y="107"/>
                    <a:pt x="6" y="100"/>
                  </a:cubicBezTo>
                  <a:cubicBezTo>
                    <a:pt x="2" y="92"/>
                    <a:pt x="0" y="83"/>
                    <a:pt x="0" y="74"/>
                  </a:cubicBezTo>
                  <a:cubicBezTo>
                    <a:pt x="0" y="64"/>
                    <a:pt x="2" y="54"/>
                    <a:pt x="5" y="44"/>
                  </a:cubicBezTo>
                  <a:cubicBezTo>
                    <a:pt x="8" y="35"/>
                    <a:pt x="13" y="27"/>
                    <a:pt x="18" y="21"/>
                  </a:cubicBezTo>
                  <a:cubicBezTo>
                    <a:pt x="24" y="14"/>
                    <a:pt x="31" y="9"/>
                    <a:pt x="39" y="5"/>
                  </a:cubicBezTo>
                  <a:cubicBezTo>
                    <a:pt x="47" y="1"/>
                    <a:pt x="56" y="0"/>
                    <a:pt x="66" y="0"/>
                  </a:cubicBezTo>
                  <a:cubicBezTo>
                    <a:pt x="75" y="0"/>
                    <a:pt x="83" y="1"/>
                    <a:pt x="90" y="4"/>
                  </a:cubicBezTo>
                  <a:cubicBezTo>
                    <a:pt x="98" y="7"/>
                    <a:pt x="104" y="11"/>
                    <a:pt x="109" y="17"/>
                  </a:cubicBezTo>
                  <a:cubicBezTo>
                    <a:pt x="114" y="22"/>
                    <a:pt x="118" y="28"/>
                    <a:pt x="121" y="35"/>
                  </a:cubicBezTo>
                  <a:cubicBezTo>
                    <a:pt x="124" y="41"/>
                    <a:pt x="126" y="49"/>
                    <a:pt x="126" y="56"/>
                  </a:cubicBezTo>
                  <a:cubicBezTo>
                    <a:pt x="26" y="56"/>
                    <a:pt x="26" y="56"/>
                    <a:pt x="26" y="56"/>
                  </a:cubicBezTo>
                  <a:cubicBezTo>
                    <a:pt x="26" y="65"/>
                    <a:pt x="27" y="73"/>
                    <a:pt x="29" y="81"/>
                  </a:cubicBezTo>
                  <a:cubicBezTo>
                    <a:pt x="32" y="89"/>
                    <a:pt x="35" y="95"/>
                    <a:pt x="39" y="101"/>
                  </a:cubicBezTo>
                  <a:cubicBezTo>
                    <a:pt x="43" y="106"/>
                    <a:pt x="48" y="111"/>
                    <a:pt x="54" y="114"/>
                  </a:cubicBezTo>
                  <a:cubicBezTo>
                    <a:pt x="60" y="117"/>
                    <a:pt x="66" y="119"/>
                    <a:pt x="73" y="119"/>
                  </a:cubicBezTo>
                  <a:cubicBezTo>
                    <a:pt x="79" y="119"/>
                    <a:pt x="84" y="118"/>
                    <a:pt x="90" y="116"/>
                  </a:cubicBezTo>
                  <a:cubicBezTo>
                    <a:pt x="95" y="114"/>
                    <a:pt x="100" y="112"/>
                    <a:pt x="104" y="108"/>
                  </a:cubicBezTo>
                  <a:cubicBezTo>
                    <a:pt x="109" y="105"/>
                    <a:pt x="112" y="102"/>
                    <a:pt x="115" y="98"/>
                  </a:cubicBezTo>
                  <a:cubicBezTo>
                    <a:pt x="118" y="94"/>
                    <a:pt x="120" y="90"/>
                    <a:pt x="122" y="86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7" y="96"/>
                    <a:pt x="124" y="103"/>
                    <a:pt x="120" y="109"/>
                  </a:cubicBezTo>
                  <a:cubicBezTo>
                    <a:pt x="116" y="115"/>
                    <a:pt x="111" y="120"/>
                    <a:pt x="105" y="124"/>
                  </a:cubicBezTo>
                  <a:cubicBezTo>
                    <a:pt x="99" y="129"/>
                    <a:pt x="93" y="132"/>
                    <a:pt x="86" y="135"/>
                  </a:cubicBezTo>
                  <a:cubicBezTo>
                    <a:pt x="80" y="138"/>
                    <a:pt x="73" y="139"/>
                    <a:pt x="66" y="139"/>
                  </a:cubicBezTo>
                  <a:moveTo>
                    <a:pt x="92" y="45"/>
                  </a:moveTo>
                  <a:cubicBezTo>
                    <a:pt x="92" y="40"/>
                    <a:pt x="92" y="36"/>
                    <a:pt x="90" y="31"/>
                  </a:cubicBezTo>
                  <a:cubicBezTo>
                    <a:pt x="88" y="27"/>
                    <a:pt x="85" y="23"/>
                    <a:pt x="82" y="20"/>
                  </a:cubicBezTo>
                  <a:cubicBezTo>
                    <a:pt x="79" y="17"/>
                    <a:pt x="76" y="14"/>
                    <a:pt x="71" y="12"/>
                  </a:cubicBezTo>
                  <a:cubicBezTo>
                    <a:pt x="67" y="10"/>
                    <a:pt x="63" y="10"/>
                    <a:pt x="58" y="10"/>
                  </a:cubicBezTo>
                  <a:cubicBezTo>
                    <a:pt x="54" y="10"/>
                    <a:pt x="50" y="10"/>
                    <a:pt x="46" y="12"/>
                  </a:cubicBezTo>
                  <a:cubicBezTo>
                    <a:pt x="43" y="14"/>
                    <a:pt x="39" y="17"/>
                    <a:pt x="37" y="20"/>
                  </a:cubicBezTo>
                  <a:cubicBezTo>
                    <a:pt x="34" y="23"/>
                    <a:pt x="31" y="27"/>
                    <a:pt x="30" y="31"/>
                  </a:cubicBezTo>
                  <a:cubicBezTo>
                    <a:pt x="28" y="36"/>
                    <a:pt x="26" y="40"/>
                    <a:pt x="26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auto">
            <a:xfrm>
              <a:off x="1214" y="-925"/>
              <a:ext cx="265" cy="323"/>
            </a:xfrm>
            <a:custGeom>
              <a:avLst/>
              <a:gdLst>
                <a:gd name="T0" fmla="*/ 0 w 112"/>
                <a:gd name="T1" fmla="*/ 2 h 136"/>
                <a:gd name="T2" fmla="*/ 27 w 112"/>
                <a:gd name="T3" fmla="*/ 2 h 136"/>
                <a:gd name="T4" fmla="*/ 27 w 112"/>
                <a:gd name="T5" fmla="*/ 27 h 136"/>
                <a:gd name="T6" fmla="*/ 52 w 112"/>
                <a:gd name="T7" fmla="*/ 6 h 136"/>
                <a:gd name="T8" fmla="*/ 78 w 112"/>
                <a:gd name="T9" fmla="*/ 0 h 136"/>
                <a:gd name="T10" fmla="*/ 92 w 112"/>
                <a:gd name="T11" fmla="*/ 3 h 136"/>
                <a:gd name="T12" fmla="*/ 102 w 112"/>
                <a:gd name="T13" fmla="*/ 12 h 136"/>
                <a:gd name="T14" fmla="*/ 109 w 112"/>
                <a:gd name="T15" fmla="*/ 24 h 136"/>
                <a:gd name="T16" fmla="*/ 112 w 112"/>
                <a:gd name="T17" fmla="*/ 40 h 136"/>
                <a:gd name="T18" fmla="*/ 112 w 112"/>
                <a:gd name="T19" fmla="*/ 136 h 136"/>
                <a:gd name="T20" fmla="*/ 85 w 112"/>
                <a:gd name="T21" fmla="*/ 136 h 136"/>
                <a:gd name="T22" fmla="*/ 85 w 112"/>
                <a:gd name="T23" fmla="*/ 45 h 136"/>
                <a:gd name="T24" fmla="*/ 80 w 112"/>
                <a:gd name="T25" fmla="*/ 24 h 136"/>
                <a:gd name="T26" fmla="*/ 64 w 112"/>
                <a:gd name="T27" fmla="*/ 18 h 136"/>
                <a:gd name="T28" fmla="*/ 55 w 112"/>
                <a:gd name="T29" fmla="*/ 19 h 136"/>
                <a:gd name="T30" fmla="*/ 46 w 112"/>
                <a:gd name="T31" fmla="*/ 23 h 136"/>
                <a:gd name="T32" fmla="*/ 36 w 112"/>
                <a:gd name="T33" fmla="*/ 29 h 136"/>
                <a:gd name="T34" fmla="*/ 27 w 112"/>
                <a:gd name="T35" fmla="*/ 37 h 136"/>
                <a:gd name="T36" fmla="*/ 27 w 112"/>
                <a:gd name="T37" fmla="*/ 136 h 136"/>
                <a:gd name="T38" fmla="*/ 0 w 112"/>
                <a:gd name="T39" fmla="*/ 136 h 136"/>
                <a:gd name="T40" fmla="*/ 0 w 112"/>
                <a:gd name="T41" fmla="*/ 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" h="136">
                  <a:moveTo>
                    <a:pt x="0" y="2"/>
                  </a:moveTo>
                  <a:cubicBezTo>
                    <a:pt x="27" y="2"/>
                    <a:pt x="27" y="2"/>
                    <a:pt x="27" y="2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5" y="18"/>
                    <a:pt x="43" y="11"/>
                    <a:pt x="52" y="6"/>
                  </a:cubicBezTo>
                  <a:cubicBezTo>
                    <a:pt x="60" y="2"/>
                    <a:pt x="69" y="0"/>
                    <a:pt x="78" y="0"/>
                  </a:cubicBezTo>
                  <a:cubicBezTo>
                    <a:pt x="83" y="0"/>
                    <a:pt x="87" y="1"/>
                    <a:pt x="92" y="3"/>
                  </a:cubicBezTo>
                  <a:cubicBezTo>
                    <a:pt x="96" y="5"/>
                    <a:pt x="99" y="8"/>
                    <a:pt x="102" y="12"/>
                  </a:cubicBezTo>
                  <a:cubicBezTo>
                    <a:pt x="105" y="15"/>
                    <a:pt x="108" y="19"/>
                    <a:pt x="109" y="24"/>
                  </a:cubicBezTo>
                  <a:cubicBezTo>
                    <a:pt x="111" y="29"/>
                    <a:pt x="112" y="35"/>
                    <a:pt x="112" y="40"/>
                  </a:cubicBezTo>
                  <a:cubicBezTo>
                    <a:pt x="112" y="136"/>
                    <a:pt x="112" y="136"/>
                    <a:pt x="112" y="136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36"/>
                    <a:pt x="83" y="29"/>
                    <a:pt x="80" y="24"/>
                  </a:cubicBezTo>
                  <a:cubicBezTo>
                    <a:pt x="76" y="20"/>
                    <a:pt x="70" y="18"/>
                    <a:pt x="64" y="18"/>
                  </a:cubicBezTo>
                  <a:cubicBezTo>
                    <a:pt x="61" y="18"/>
                    <a:pt x="58" y="18"/>
                    <a:pt x="55" y="19"/>
                  </a:cubicBezTo>
                  <a:cubicBezTo>
                    <a:pt x="52" y="20"/>
                    <a:pt x="49" y="21"/>
                    <a:pt x="46" y="23"/>
                  </a:cubicBezTo>
                  <a:cubicBezTo>
                    <a:pt x="42" y="25"/>
                    <a:pt x="39" y="27"/>
                    <a:pt x="36" y="29"/>
                  </a:cubicBezTo>
                  <a:cubicBezTo>
                    <a:pt x="33" y="31"/>
                    <a:pt x="30" y="34"/>
                    <a:pt x="27" y="37"/>
                  </a:cubicBezTo>
                  <a:cubicBezTo>
                    <a:pt x="27" y="136"/>
                    <a:pt x="27" y="136"/>
                    <a:pt x="27" y="136"/>
                  </a:cubicBezTo>
                  <a:cubicBezTo>
                    <a:pt x="0" y="136"/>
                    <a:pt x="0" y="136"/>
                    <a:pt x="0" y="136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auto">
            <a:xfrm>
              <a:off x="1536" y="-1082"/>
              <a:ext cx="303" cy="487"/>
            </a:xfrm>
            <a:custGeom>
              <a:avLst/>
              <a:gdLst>
                <a:gd name="T0" fmla="*/ 101 w 128"/>
                <a:gd name="T1" fmla="*/ 189 h 205"/>
                <a:gd name="T2" fmla="*/ 91 w 128"/>
                <a:gd name="T3" fmla="*/ 196 h 205"/>
                <a:gd name="T4" fmla="*/ 80 w 128"/>
                <a:gd name="T5" fmla="*/ 201 h 205"/>
                <a:gd name="T6" fmla="*/ 68 w 128"/>
                <a:gd name="T7" fmla="*/ 204 h 205"/>
                <a:gd name="T8" fmla="*/ 57 w 128"/>
                <a:gd name="T9" fmla="*/ 205 h 205"/>
                <a:gd name="T10" fmla="*/ 35 w 128"/>
                <a:gd name="T11" fmla="*/ 200 h 205"/>
                <a:gd name="T12" fmla="*/ 17 w 128"/>
                <a:gd name="T13" fmla="*/ 185 h 205"/>
                <a:gd name="T14" fmla="*/ 5 w 128"/>
                <a:gd name="T15" fmla="*/ 163 h 205"/>
                <a:gd name="T16" fmla="*/ 0 w 128"/>
                <a:gd name="T17" fmla="*/ 137 h 205"/>
                <a:gd name="T18" fmla="*/ 6 w 128"/>
                <a:gd name="T19" fmla="*/ 110 h 205"/>
                <a:gd name="T20" fmla="*/ 21 w 128"/>
                <a:gd name="T21" fmla="*/ 88 h 205"/>
                <a:gd name="T22" fmla="*/ 43 w 128"/>
                <a:gd name="T23" fmla="*/ 72 h 205"/>
                <a:gd name="T24" fmla="*/ 71 w 128"/>
                <a:gd name="T25" fmla="*/ 66 h 205"/>
                <a:gd name="T26" fmla="*/ 88 w 128"/>
                <a:gd name="T27" fmla="*/ 69 h 205"/>
                <a:gd name="T28" fmla="*/ 101 w 128"/>
                <a:gd name="T29" fmla="*/ 78 h 205"/>
                <a:gd name="T30" fmla="*/ 101 w 128"/>
                <a:gd name="T31" fmla="*/ 7 h 205"/>
                <a:gd name="T32" fmla="*/ 120 w 128"/>
                <a:gd name="T33" fmla="*/ 0 h 205"/>
                <a:gd name="T34" fmla="*/ 128 w 128"/>
                <a:gd name="T35" fmla="*/ 0 h 205"/>
                <a:gd name="T36" fmla="*/ 128 w 128"/>
                <a:gd name="T37" fmla="*/ 205 h 205"/>
                <a:gd name="T38" fmla="*/ 101 w 128"/>
                <a:gd name="T39" fmla="*/ 205 h 205"/>
                <a:gd name="T40" fmla="*/ 101 w 128"/>
                <a:gd name="T41" fmla="*/ 189 h 205"/>
                <a:gd name="T42" fmla="*/ 101 w 128"/>
                <a:gd name="T43" fmla="*/ 111 h 205"/>
                <a:gd name="T44" fmla="*/ 98 w 128"/>
                <a:gd name="T45" fmla="*/ 96 h 205"/>
                <a:gd name="T46" fmla="*/ 91 w 128"/>
                <a:gd name="T47" fmla="*/ 85 h 205"/>
                <a:gd name="T48" fmla="*/ 80 w 128"/>
                <a:gd name="T49" fmla="*/ 78 h 205"/>
                <a:gd name="T50" fmla="*/ 68 w 128"/>
                <a:gd name="T51" fmla="*/ 76 h 205"/>
                <a:gd name="T52" fmla="*/ 53 w 128"/>
                <a:gd name="T53" fmla="*/ 80 h 205"/>
                <a:gd name="T54" fmla="*/ 41 w 128"/>
                <a:gd name="T55" fmla="*/ 91 h 205"/>
                <a:gd name="T56" fmla="*/ 33 w 128"/>
                <a:gd name="T57" fmla="*/ 108 h 205"/>
                <a:gd name="T58" fmla="*/ 30 w 128"/>
                <a:gd name="T59" fmla="*/ 129 h 205"/>
                <a:gd name="T60" fmla="*/ 33 w 128"/>
                <a:gd name="T61" fmla="*/ 153 h 205"/>
                <a:gd name="T62" fmla="*/ 42 w 128"/>
                <a:gd name="T63" fmla="*/ 173 h 205"/>
                <a:gd name="T64" fmla="*/ 55 w 128"/>
                <a:gd name="T65" fmla="*/ 186 h 205"/>
                <a:gd name="T66" fmla="*/ 72 w 128"/>
                <a:gd name="T67" fmla="*/ 191 h 205"/>
                <a:gd name="T68" fmla="*/ 80 w 128"/>
                <a:gd name="T69" fmla="*/ 189 h 205"/>
                <a:gd name="T70" fmla="*/ 88 w 128"/>
                <a:gd name="T71" fmla="*/ 186 h 205"/>
                <a:gd name="T72" fmla="*/ 95 w 128"/>
                <a:gd name="T73" fmla="*/ 182 h 205"/>
                <a:gd name="T74" fmla="*/ 101 w 128"/>
                <a:gd name="T75" fmla="*/ 177 h 205"/>
                <a:gd name="T76" fmla="*/ 101 w 128"/>
                <a:gd name="T77" fmla="*/ 1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8" h="205">
                  <a:moveTo>
                    <a:pt x="101" y="189"/>
                  </a:moveTo>
                  <a:cubicBezTo>
                    <a:pt x="98" y="191"/>
                    <a:pt x="95" y="194"/>
                    <a:pt x="91" y="196"/>
                  </a:cubicBezTo>
                  <a:cubicBezTo>
                    <a:pt x="88" y="198"/>
                    <a:pt x="84" y="199"/>
                    <a:pt x="80" y="201"/>
                  </a:cubicBezTo>
                  <a:cubicBezTo>
                    <a:pt x="76" y="202"/>
                    <a:pt x="72" y="203"/>
                    <a:pt x="68" y="204"/>
                  </a:cubicBezTo>
                  <a:cubicBezTo>
                    <a:pt x="64" y="205"/>
                    <a:pt x="61" y="205"/>
                    <a:pt x="57" y="205"/>
                  </a:cubicBezTo>
                  <a:cubicBezTo>
                    <a:pt x="49" y="205"/>
                    <a:pt x="42" y="203"/>
                    <a:pt x="35" y="200"/>
                  </a:cubicBezTo>
                  <a:cubicBezTo>
                    <a:pt x="28" y="196"/>
                    <a:pt x="22" y="191"/>
                    <a:pt x="17" y="185"/>
                  </a:cubicBezTo>
                  <a:cubicBezTo>
                    <a:pt x="12" y="179"/>
                    <a:pt x="8" y="171"/>
                    <a:pt x="5" y="163"/>
                  </a:cubicBezTo>
                  <a:cubicBezTo>
                    <a:pt x="2" y="155"/>
                    <a:pt x="0" y="146"/>
                    <a:pt x="0" y="137"/>
                  </a:cubicBezTo>
                  <a:cubicBezTo>
                    <a:pt x="0" y="128"/>
                    <a:pt x="2" y="119"/>
                    <a:pt x="6" y="110"/>
                  </a:cubicBezTo>
                  <a:cubicBezTo>
                    <a:pt x="10" y="102"/>
                    <a:pt x="15" y="94"/>
                    <a:pt x="21" y="88"/>
                  </a:cubicBezTo>
                  <a:cubicBezTo>
                    <a:pt x="27" y="81"/>
                    <a:pt x="35" y="76"/>
                    <a:pt x="43" y="72"/>
                  </a:cubicBezTo>
                  <a:cubicBezTo>
                    <a:pt x="52" y="68"/>
                    <a:pt x="61" y="66"/>
                    <a:pt x="71" y="66"/>
                  </a:cubicBezTo>
                  <a:cubicBezTo>
                    <a:pt x="77" y="66"/>
                    <a:pt x="83" y="67"/>
                    <a:pt x="88" y="69"/>
                  </a:cubicBezTo>
                  <a:cubicBezTo>
                    <a:pt x="93" y="71"/>
                    <a:pt x="97" y="74"/>
                    <a:pt x="101" y="7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8" y="205"/>
                    <a:pt x="128" y="205"/>
                    <a:pt x="128" y="205"/>
                  </a:cubicBezTo>
                  <a:cubicBezTo>
                    <a:pt x="101" y="205"/>
                    <a:pt x="101" y="205"/>
                    <a:pt x="101" y="205"/>
                  </a:cubicBezTo>
                  <a:lnTo>
                    <a:pt x="101" y="189"/>
                  </a:lnTo>
                  <a:close/>
                  <a:moveTo>
                    <a:pt x="101" y="111"/>
                  </a:moveTo>
                  <a:cubicBezTo>
                    <a:pt x="101" y="106"/>
                    <a:pt x="100" y="101"/>
                    <a:pt x="98" y="96"/>
                  </a:cubicBezTo>
                  <a:cubicBezTo>
                    <a:pt x="96" y="92"/>
                    <a:pt x="94" y="88"/>
                    <a:pt x="91" y="85"/>
                  </a:cubicBezTo>
                  <a:cubicBezTo>
                    <a:pt x="87" y="82"/>
                    <a:pt x="84" y="80"/>
                    <a:pt x="80" y="78"/>
                  </a:cubicBezTo>
                  <a:cubicBezTo>
                    <a:pt x="76" y="76"/>
                    <a:pt x="72" y="76"/>
                    <a:pt x="68" y="76"/>
                  </a:cubicBezTo>
                  <a:cubicBezTo>
                    <a:pt x="63" y="76"/>
                    <a:pt x="58" y="77"/>
                    <a:pt x="53" y="80"/>
                  </a:cubicBezTo>
                  <a:cubicBezTo>
                    <a:pt x="48" y="82"/>
                    <a:pt x="44" y="86"/>
                    <a:pt x="41" y="91"/>
                  </a:cubicBezTo>
                  <a:cubicBezTo>
                    <a:pt x="37" y="95"/>
                    <a:pt x="35" y="101"/>
                    <a:pt x="33" y="108"/>
                  </a:cubicBezTo>
                  <a:cubicBezTo>
                    <a:pt x="31" y="114"/>
                    <a:pt x="30" y="122"/>
                    <a:pt x="30" y="129"/>
                  </a:cubicBezTo>
                  <a:cubicBezTo>
                    <a:pt x="30" y="138"/>
                    <a:pt x="31" y="146"/>
                    <a:pt x="33" y="153"/>
                  </a:cubicBezTo>
                  <a:cubicBezTo>
                    <a:pt x="35" y="161"/>
                    <a:pt x="38" y="167"/>
                    <a:pt x="42" y="173"/>
                  </a:cubicBezTo>
                  <a:cubicBezTo>
                    <a:pt x="46" y="178"/>
                    <a:pt x="50" y="183"/>
                    <a:pt x="55" y="186"/>
                  </a:cubicBezTo>
                  <a:cubicBezTo>
                    <a:pt x="61" y="189"/>
                    <a:pt x="66" y="191"/>
                    <a:pt x="72" y="191"/>
                  </a:cubicBezTo>
                  <a:cubicBezTo>
                    <a:pt x="75" y="191"/>
                    <a:pt x="77" y="190"/>
                    <a:pt x="80" y="189"/>
                  </a:cubicBezTo>
                  <a:cubicBezTo>
                    <a:pt x="83" y="189"/>
                    <a:pt x="86" y="188"/>
                    <a:pt x="88" y="186"/>
                  </a:cubicBezTo>
                  <a:cubicBezTo>
                    <a:pt x="91" y="185"/>
                    <a:pt x="93" y="184"/>
                    <a:pt x="95" y="182"/>
                  </a:cubicBezTo>
                  <a:cubicBezTo>
                    <a:pt x="98" y="180"/>
                    <a:pt x="99" y="179"/>
                    <a:pt x="101" y="177"/>
                  </a:cubicBezTo>
                  <a:lnTo>
                    <a:pt x="101" y="111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2" name="Freeform 11"/>
            <p:cNvSpPr>
              <a:spLocks noEditPoints="1"/>
            </p:cNvSpPr>
            <p:nvPr/>
          </p:nvSpPr>
          <p:spPr bwMode="auto">
            <a:xfrm>
              <a:off x="1898" y="-925"/>
              <a:ext cx="303" cy="330"/>
            </a:xfrm>
            <a:custGeom>
              <a:avLst/>
              <a:gdLst>
                <a:gd name="T0" fmla="*/ 65 w 128"/>
                <a:gd name="T1" fmla="*/ 139 h 139"/>
                <a:gd name="T2" fmla="*/ 40 w 128"/>
                <a:gd name="T3" fmla="*/ 134 h 139"/>
                <a:gd name="T4" fmla="*/ 19 w 128"/>
                <a:gd name="T5" fmla="*/ 120 h 139"/>
                <a:gd name="T6" fmla="*/ 5 w 128"/>
                <a:gd name="T7" fmla="*/ 100 h 139"/>
                <a:gd name="T8" fmla="*/ 0 w 128"/>
                <a:gd name="T9" fmla="*/ 74 h 139"/>
                <a:gd name="T10" fmla="*/ 4 w 128"/>
                <a:gd name="T11" fmla="*/ 44 h 139"/>
                <a:gd name="T12" fmla="*/ 18 w 128"/>
                <a:gd name="T13" fmla="*/ 21 h 139"/>
                <a:gd name="T14" fmla="*/ 38 w 128"/>
                <a:gd name="T15" fmla="*/ 5 h 139"/>
                <a:gd name="T16" fmla="*/ 65 w 128"/>
                <a:gd name="T17" fmla="*/ 0 h 139"/>
                <a:gd name="T18" fmla="*/ 89 w 128"/>
                <a:gd name="T19" fmla="*/ 4 h 139"/>
                <a:gd name="T20" fmla="*/ 108 w 128"/>
                <a:gd name="T21" fmla="*/ 17 h 139"/>
                <a:gd name="T22" fmla="*/ 120 w 128"/>
                <a:gd name="T23" fmla="*/ 35 h 139"/>
                <a:gd name="T24" fmla="*/ 125 w 128"/>
                <a:gd name="T25" fmla="*/ 56 h 139"/>
                <a:gd name="T26" fmla="*/ 25 w 128"/>
                <a:gd name="T27" fmla="*/ 56 h 139"/>
                <a:gd name="T28" fmla="*/ 28 w 128"/>
                <a:gd name="T29" fmla="*/ 81 h 139"/>
                <a:gd name="T30" fmla="*/ 38 w 128"/>
                <a:gd name="T31" fmla="*/ 101 h 139"/>
                <a:gd name="T32" fmla="*/ 53 w 128"/>
                <a:gd name="T33" fmla="*/ 114 h 139"/>
                <a:gd name="T34" fmla="*/ 72 w 128"/>
                <a:gd name="T35" fmla="*/ 119 h 139"/>
                <a:gd name="T36" fmla="*/ 89 w 128"/>
                <a:gd name="T37" fmla="*/ 116 h 139"/>
                <a:gd name="T38" fmla="*/ 103 w 128"/>
                <a:gd name="T39" fmla="*/ 108 h 139"/>
                <a:gd name="T40" fmla="*/ 114 w 128"/>
                <a:gd name="T41" fmla="*/ 98 h 139"/>
                <a:gd name="T42" fmla="*/ 121 w 128"/>
                <a:gd name="T43" fmla="*/ 86 h 139"/>
                <a:gd name="T44" fmla="*/ 128 w 128"/>
                <a:gd name="T45" fmla="*/ 89 h 139"/>
                <a:gd name="T46" fmla="*/ 119 w 128"/>
                <a:gd name="T47" fmla="*/ 109 h 139"/>
                <a:gd name="T48" fmla="*/ 104 w 128"/>
                <a:gd name="T49" fmla="*/ 124 h 139"/>
                <a:gd name="T50" fmla="*/ 86 w 128"/>
                <a:gd name="T51" fmla="*/ 135 h 139"/>
                <a:gd name="T52" fmla="*/ 65 w 128"/>
                <a:gd name="T53" fmla="*/ 139 h 139"/>
                <a:gd name="T54" fmla="*/ 92 w 128"/>
                <a:gd name="T55" fmla="*/ 45 h 139"/>
                <a:gd name="T56" fmla="*/ 89 w 128"/>
                <a:gd name="T57" fmla="*/ 31 h 139"/>
                <a:gd name="T58" fmla="*/ 81 w 128"/>
                <a:gd name="T59" fmla="*/ 20 h 139"/>
                <a:gd name="T60" fmla="*/ 70 w 128"/>
                <a:gd name="T61" fmla="*/ 12 h 139"/>
                <a:gd name="T62" fmla="*/ 57 w 128"/>
                <a:gd name="T63" fmla="*/ 10 h 139"/>
                <a:gd name="T64" fmla="*/ 45 w 128"/>
                <a:gd name="T65" fmla="*/ 12 h 139"/>
                <a:gd name="T66" fmla="*/ 36 w 128"/>
                <a:gd name="T67" fmla="*/ 20 h 139"/>
                <a:gd name="T68" fmla="*/ 29 w 128"/>
                <a:gd name="T69" fmla="*/ 31 h 139"/>
                <a:gd name="T70" fmla="*/ 25 w 128"/>
                <a:gd name="T71" fmla="*/ 45 h 139"/>
                <a:gd name="T72" fmla="*/ 92 w 128"/>
                <a:gd name="T73" fmla="*/ 45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8" h="139">
                  <a:moveTo>
                    <a:pt x="65" y="139"/>
                  </a:moveTo>
                  <a:cubicBezTo>
                    <a:pt x="56" y="139"/>
                    <a:pt x="47" y="137"/>
                    <a:pt x="40" y="134"/>
                  </a:cubicBezTo>
                  <a:cubicBezTo>
                    <a:pt x="32" y="131"/>
                    <a:pt x="25" y="126"/>
                    <a:pt x="19" y="120"/>
                  </a:cubicBezTo>
                  <a:cubicBezTo>
                    <a:pt x="13" y="114"/>
                    <a:pt x="8" y="107"/>
                    <a:pt x="5" y="100"/>
                  </a:cubicBezTo>
                  <a:cubicBezTo>
                    <a:pt x="1" y="92"/>
                    <a:pt x="0" y="83"/>
                    <a:pt x="0" y="74"/>
                  </a:cubicBezTo>
                  <a:cubicBezTo>
                    <a:pt x="0" y="64"/>
                    <a:pt x="1" y="54"/>
                    <a:pt x="4" y="44"/>
                  </a:cubicBezTo>
                  <a:cubicBezTo>
                    <a:pt x="7" y="35"/>
                    <a:pt x="12" y="27"/>
                    <a:pt x="18" y="21"/>
                  </a:cubicBezTo>
                  <a:cubicBezTo>
                    <a:pt x="23" y="14"/>
                    <a:pt x="30" y="9"/>
                    <a:pt x="38" y="5"/>
                  </a:cubicBezTo>
                  <a:cubicBezTo>
                    <a:pt x="46" y="1"/>
                    <a:pt x="55" y="0"/>
                    <a:pt x="65" y="0"/>
                  </a:cubicBezTo>
                  <a:cubicBezTo>
                    <a:pt x="74" y="0"/>
                    <a:pt x="82" y="1"/>
                    <a:pt x="89" y="4"/>
                  </a:cubicBezTo>
                  <a:cubicBezTo>
                    <a:pt x="97" y="7"/>
                    <a:pt x="103" y="11"/>
                    <a:pt x="108" y="17"/>
                  </a:cubicBezTo>
                  <a:cubicBezTo>
                    <a:pt x="113" y="22"/>
                    <a:pt x="117" y="28"/>
                    <a:pt x="120" y="35"/>
                  </a:cubicBezTo>
                  <a:cubicBezTo>
                    <a:pt x="123" y="41"/>
                    <a:pt x="125" y="49"/>
                    <a:pt x="125" y="56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5" y="65"/>
                    <a:pt x="26" y="73"/>
                    <a:pt x="28" y="81"/>
                  </a:cubicBezTo>
                  <a:cubicBezTo>
                    <a:pt x="31" y="89"/>
                    <a:pt x="34" y="95"/>
                    <a:pt x="38" y="101"/>
                  </a:cubicBezTo>
                  <a:cubicBezTo>
                    <a:pt x="42" y="106"/>
                    <a:pt x="47" y="111"/>
                    <a:pt x="53" y="114"/>
                  </a:cubicBezTo>
                  <a:cubicBezTo>
                    <a:pt x="59" y="117"/>
                    <a:pt x="65" y="119"/>
                    <a:pt x="72" y="119"/>
                  </a:cubicBezTo>
                  <a:cubicBezTo>
                    <a:pt x="78" y="119"/>
                    <a:pt x="83" y="118"/>
                    <a:pt x="89" y="116"/>
                  </a:cubicBezTo>
                  <a:cubicBezTo>
                    <a:pt x="94" y="114"/>
                    <a:pt x="99" y="112"/>
                    <a:pt x="103" y="108"/>
                  </a:cubicBezTo>
                  <a:cubicBezTo>
                    <a:pt x="108" y="105"/>
                    <a:pt x="111" y="102"/>
                    <a:pt x="114" y="98"/>
                  </a:cubicBezTo>
                  <a:cubicBezTo>
                    <a:pt x="117" y="94"/>
                    <a:pt x="120" y="90"/>
                    <a:pt x="121" y="86"/>
                  </a:cubicBezTo>
                  <a:cubicBezTo>
                    <a:pt x="128" y="89"/>
                    <a:pt x="128" y="89"/>
                    <a:pt x="128" y="89"/>
                  </a:cubicBezTo>
                  <a:cubicBezTo>
                    <a:pt x="126" y="96"/>
                    <a:pt x="123" y="103"/>
                    <a:pt x="119" y="109"/>
                  </a:cubicBezTo>
                  <a:cubicBezTo>
                    <a:pt x="115" y="115"/>
                    <a:pt x="110" y="120"/>
                    <a:pt x="104" y="124"/>
                  </a:cubicBezTo>
                  <a:cubicBezTo>
                    <a:pt x="98" y="129"/>
                    <a:pt x="92" y="132"/>
                    <a:pt x="86" y="135"/>
                  </a:cubicBezTo>
                  <a:cubicBezTo>
                    <a:pt x="79" y="138"/>
                    <a:pt x="72" y="139"/>
                    <a:pt x="65" y="139"/>
                  </a:cubicBezTo>
                  <a:moveTo>
                    <a:pt x="92" y="45"/>
                  </a:moveTo>
                  <a:cubicBezTo>
                    <a:pt x="92" y="40"/>
                    <a:pt x="91" y="36"/>
                    <a:pt x="89" y="31"/>
                  </a:cubicBezTo>
                  <a:cubicBezTo>
                    <a:pt x="87" y="27"/>
                    <a:pt x="85" y="23"/>
                    <a:pt x="81" y="20"/>
                  </a:cubicBezTo>
                  <a:cubicBezTo>
                    <a:pt x="78" y="17"/>
                    <a:pt x="75" y="14"/>
                    <a:pt x="70" y="12"/>
                  </a:cubicBezTo>
                  <a:cubicBezTo>
                    <a:pt x="66" y="10"/>
                    <a:pt x="62" y="10"/>
                    <a:pt x="57" y="10"/>
                  </a:cubicBezTo>
                  <a:cubicBezTo>
                    <a:pt x="53" y="10"/>
                    <a:pt x="49" y="10"/>
                    <a:pt x="45" y="12"/>
                  </a:cubicBezTo>
                  <a:cubicBezTo>
                    <a:pt x="42" y="14"/>
                    <a:pt x="39" y="17"/>
                    <a:pt x="36" y="20"/>
                  </a:cubicBezTo>
                  <a:cubicBezTo>
                    <a:pt x="33" y="23"/>
                    <a:pt x="31" y="27"/>
                    <a:pt x="29" y="31"/>
                  </a:cubicBezTo>
                  <a:cubicBezTo>
                    <a:pt x="27" y="36"/>
                    <a:pt x="26" y="40"/>
                    <a:pt x="25" y="45"/>
                  </a:cubicBezTo>
                  <a:lnTo>
                    <a:pt x="92" y="45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3" name="Freeform 12"/>
            <p:cNvSpPr>
              <a:spLocks noEditPoints="1"/>
            </p:cNvSpPr>
            <p:nvPr/>
          </p:nvSpPr>
          <p:spPr bwMode="auto">
            <a:xfrm>
              <a:off x="2246" y="-1082"/>
              <a:ext cx="301" cy="487"/>
            </a:xfrm>
            <a:custGeom>
              <a:avLst/>
              <a:gdLst>
                <a:gd name="T0" fmla="*/ 101 w 127"/>
                <a:gd name="T1" fmla="*/ 189 h 205"/>
                <a:gd name="T2" fmla="*/ 91 w 127"/>
                <a:gd name="T3" fmla="*/ 196 h 205"/>
                <a:gd name="T4" fmla="*/ 80 w 127"/>
                <a:gd name="T5" fmla="*/ 201 h 205"/>
                <a:gd name="T6" fmla="*/ 68 w 127"/>
                <a:gd name="T7" fmla="*/ 204 h 205"/>
                <a:gd name="T8" fmla="*/ 57 w 127"/>
                <a:gd name="T9" fmla="*/ 205 h 205"/>
                <a:gd name="T10" fmla="*/ 34 w 127"/>
                <a:gd name="T11" fmla="*/ 200 h 205"/>
                <a:gd name="T12" fmla="*/ 16 w 127"/>
                <a:gd name="T13" fmla="*/ 185 h 205"/>
                <a:gd name="T14" fmla="*/ 4 w 127"/>
                <a:gd name="T15" fmla="*/ 163 h 205"/>
                <a:gd name="T16" fmla="*/ 0 w 127"/>
                <a:gd name="T17" fmla="*/ 137 h 205"/>
                <a:gd name="T18" fmla="*/ 6 w 127"/>
                <a:gd name="T19" fmla="*/ 110 h 205"/>
                <a:gd name="T20" fmla="*/ 21 w 127"/>
                <a:gd name="T21" fmla="*/ 88 h 205"/>
                <a:gd name="T22" fmla="*/ 43 w 127"/>
                <a:gd name="T23" fmla="*/ 72 h 205"/>
                <a:gd name="T24" fmla="*/ 70 w 127"/>
                <a:gd name="T25" fmla="*/ 66 h 205"/>
                <a:gd name="T26" fmla="*/ 87 w 127"/>
                <a:gd name="T27" fmla="*/ 69 h 205"/>
                <a:gd name="T28" fmla="*/ 101 w 127"/>
                <a:gd name="T29" fmla="*/ 78 h 205"/>
                <a:gd name="T30" fmla="*/ 101 w 127"/>
                <a:gd name="T31" fmla="*/ 7 h 205"/>
                <a:gd name="T32" fmla="*/ 119 w 127"/>
                <a:gd name="T33" fmla="*/ 0 h 205"/>
                <a:gd name="T34" fmla="*/ 127 w 127"/>
                <a:gd name="T35" fmla="*/ 0 h 205"/>
                <a:gd name="T36" fmla="*/ 127 w 127"/>
                <a:gd name="T37" fmla="*/ 205 h 205"/>
                <a:gd name="T38" fmla="*/ 101 w 127"/>
                <a:gd name="T39" fmla="*/ 205 h 205"/>
                <a:gd name="T40" fmla="*/ 101 w 127"/>
                <a:gd name="T41" fmla="*/ 189 h 205"/>
                <a:gd name="T42" fmla="*/ 101 w 127"/>
                <a:gd name="T43" fmla="*/ 111 h 205"/>
                <a:gd name="T44" fmla="*/ 98 w 127"/>
                <a:gd name="T45" fmla="*/ 96 h 205"/>
                <a:gd name="T46" fmla="*/ 90 w 127"/>
                <a:gd name="T47" fmla="*/ 85 h 205"/>
                <a:gd name="T48" fmla="*/ 79 w 127"/>
                <a:gd name="T49" fmla="*/ 78 h 205"/>
                <a:gd name="T50" fmla="*/ 67 w 127"/>
                <a:gd name="T51" fmla="*/ 76 h 205"/>
                <a:gd name="T52" fmla="*/ 53 w 127"/>
                <a:gd name="T53" fmla="*/ 80 h 205"/>
                <a:gd name="T54" fmla="*/ 40 w 127"/>
                <a:gd name="T55" fmla="*/ 91 h 205"/>
                <a:gd name="T56" fmla="*/ 32 w 127"/>
                <a:gd name="T57" fmla="*/ 108 h 205"/>
                <a:gd name="T58" fmla="*/ 29 w 127"/>
                <a:gd name="T59" fmla="*/ 129 h 205"/>
                <a:gd name="T60" fmla="*/ 33 w 127"/>
                <a:gd name="T61" fmla="*/ 153 h 205"/>
                <a:gd name="T62" fmla="*/ 42 w 127"/>
                <a:gd name="T63" fmla="*/ 173 h 205"/>
                <a:gd name="T64" fmla="*/ 55 w 127"/>
                <a:gd name="T65" fmla="*/ 186 h 205"/>
                <a:gd name="T66" fmla="*/ 71 w 127"/>
                <a:gd name="T67" fmla="*/ 191 h 205"/>
                <a:gd name="T68" fmla="*/ 80 w 127"/>
                <a:gd name="T69" fmla="*/ 189 h 205"/>
                <a:gd name="T70" fmla="*/ 88 w 127"/>
                <a:gd name="T71" fmla="*/ 186 h 205"/>
                <a:gd name="T72" fmla="*/ 95 w 127"/>
                <a:gd name="T73" fmla="*/ 182 h 205"/>
                <a:gd name="T74" fmla="*/ 101 w 127"/>
                <a:gd name="T75" fmla="*/ 177 h 205"/>
                <a:gd name="T76" fmla="*/ 101 w 127"/>
                <a:gd name="T77" fmla="*/ 11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7" h="205">
                  <a:moveTo>
                    <a:pt x="101" y="189"/>
                  </a:moveTo>
                  <a:cubicBezTo>
                    <a:pt x="98" y="191"/>
                    <a:pt x="94" y="194"/>
                    <a:pt x="91" y="196"/>
                  </a:cubicBezTo>
                  <a:cubicBezTo>
                    <a:pt x="87" y="198"/>
                    <a:pt x="83" y="199"/>
                    <a:pt x="80" y="201"/>
                  </a:cubicBezTo>
                  <a:cubicBezTo>
                    <a:pt x="76" y="202"/>
                    <a:pt x="72" y="203"/>
                    <a:pt x="68" y="204"/>
                  </a:cubicBezTo>
                  <a:cubicBezTo>
                    <a:pt x="64" y="205"/>
                    <a:pt x="60" y="205"/>
                    <a:pt x="57" y="205"/>
                  </a:cubicBezTo>
                  <a:cubicBezTo>
                    <a:pt x="49" y="205"/>
                    <a:pt x="41" y="203"/>
                    <a:pt x="34" y="200"/>
                  </a:cubicBezTo>
                  <a:cubicBezTo>
                    <a:pt x="28" y="196"/>
                    <a:pt x="22" y="191"/>
                    <a:pt x="16" y="185"/>
                  </a:cubicBezTo>
                  <a:cubicBezTo>
                    <a:pt x="11" y="179"/>
                    <a:pt x="7" y="171"/>
                    <a:pt x="4" y="163"/>
                  </a:cubicBezTo>
                  <a:cubicBezTo>
                    <a:pt x="1" y="155"/>
                    <a:pt x="0" y="146"/>
                    <a:pt x="0" y="137"/>
                  </a:cubicBezTo>
                  <a:cubicBezTo>
                    <a:pt x="0" y="128"/>
                    <a:pt x="2" y="119"/>
                    <a:pt x="6" y="110"/>
                  </a:cubicBezTo>
                  <a:cubicBezTo>
                    <a:pt x="9" y="102"/>
                    <a:pt x="14" y="94"/>
                    <a:pt x="21" y="88"/>
                  </a:cubicBezTo>
                  <a:cubicBezTo>
                    <a:pt x="27" y="81"/>
                    <a:pt x="34" y="76"/>
                    <a:pt x="43" y="72"/>
                  </a:cubicBezTo>
                  <a:cubicBezTo>
                    <a:pt x="51" y="68"/>
                    <a:pt x="60" y="66"/>
                    <a:pt x="70" y="66"/>
                  </a:cubicBezTo>
                  <a:cubicBezTo>
                    <a:pt x="77" y="66"/>
                    <a:pt x="82" y="67"/>
                    <a:pt x="87" y="69"/>
                  </a:cubicBezTo>
                  <a:cubicBezTo>
                    <a:pt x="92" y="71"/>
                    <a:pt x="97" y="74"/>
                    <a:pt x="101" y="78"/>
                  </a:cubicBezTo>
                  <a:cubicBezTo>
                    <a:pt x="101" y="7"/>
                    <a:pt x="101" y="7"/>
                    <a:pt x="101" y="7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27" y="205"/>
                    <a:pt x="127" y="205"/>
                    <a:pt x="127" y="205"/>
                  </a:cubicBezTo>
                  <a:cubicBezTo>
                    <a:pt x="101" y="205"/>
                    <a:pt x="101" y="205"/>
                    <a:pt x="101" y="205"/>
                  </a:cubicBezTo>
                  <a:lnTo>
                    <a:pt x="101" y="189"/>
                  </a:lnTo>
                  <a:close/>
                  <a:moveTo>
                    <a:pt x="101" y="111"/>
                  </a:moveTo>
                  <a:cubicBezTo>
                    <a:pt x="101" y="106"/>
                    <a:pt x="100" y="101"/>
                    <a:pt x="98" y="96"/>
                  </a:cubicBezTo>
                  <a:cubicBezTo>
                    <a:pt x="96" y="92"/>
                    <a:pt x="93" y="88"/>
                    <a:pt x="90" y="85"/>
                  </a:cubicBezTo>
                  <a:cubicBezTo>
                    <a:pt x="87" y="82"/>
                    <a:pt x="83" y="80"/>
                    <a:pt x="79" y="78"/>
                  </a:cubicBezTo>
                  <a:cubicBezTo>
                    <a:pt x="76" y="76"/>
                    <a:pt x="71" y="76"/>
                    <a:pt x="67" y="76"/>
                  </a:cubicBezTo>
                  <a:cubicBezTo>
                    <a:pt x="62" y="76"/>
                    <a:pt x="57" y="77"/>
                    <a:pt x="53" y="80"/>
                  </a:cubicBezTo>
                  <a:cubicBezTo>
                    <a:pt x="48" y="82"/>
                    <a:pt x="44" y="86"/>
                    <a:pt x="40" y="91"/>
                  </a:cubicBezTo>
                  <a:cubicBezTo>
                    <a:pt x="37" y="95"/>
                    <a:pt x="34" y="101"/>
                    <a:pt x="32" y="108"/>
                  </a:cubicBezTo>
                  <a:cubicBezTo>
                    <a:pt x="30" y="114"/>
                    <a:pt x="29" y="122"/>
                    <a:pt x="29" y="129"/>
                  </a:cubicBezTo>
                  <a:cubicBezTo>
                    <a:pt x="29" y="138"/>
                    <a:pt x="30" y="146"/>
                    <a:pt x="33" y="153"/>
                  </a:cubicBezTo>
                  <a:cubicBezTo>
                    <a:pt x="35" y="161"/>
                    <a:pt x="38" y="167"/>
                    <a:pt x="42" y="173"/>
                  </a:cubicBezTo>
                  <a:cubicBezTo>
                    <a:pt x="45" y="178"/>
                    <a:pt x="50" y="183"/>
                    <a:pt x="55" y="186"/>
                  </a:cubicBezTo>
                  <a:cubicBezTo>
                    <a:pt x="60" y="189"/>
                    <a:pt x="66" y="191"/>
                    <a:pt x="71" y="191"/>
                  </a:cubicBezTo>
                  <a:cubicBezTo>
                    <a:pt x="74" y="191"/>
                    <a:pt x="77" y="190"/>
                    <a:pt x="80" y="189"/>
                  </a:cubicBezTo>
                  <a:cubicBezTo>
                    <a:pt x="83" y="189"/>
                    <a:pt x="85" y="188"/>
                    <a:pt x="88" y="186"/>
                  </a:cubicBezTo>
                  <a:cubicBezTo>
                    <a:pt x="90" y="185"/>
                    <a:pt x="93" y="184"/>
                    <a:pt x="95" y="182"/>
                  </a:cubicBezTo>
                  <a:cubicBezTo>
                    <a:pt x="97" y="180"/>
                    <a:pt x="99" y="179"/>
                    <a:pt x="101" y="177"/>
                  </a:cubicBezTo>
                  <a:lnTo>
                    <a:pt x="101" y="111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auto">
            <a:xfrm>
              <a:off x="-17" y="-469"/>
              <a:ext cx="202" cy="433"/>
            </a:xfrm>
            <a:custGeom>
              <a:avLst/>
              <a:gdLst>
                <a:gd name="T0" fmla="*/ 85 w 85"/>
                <a:gd name="T1" fmla="*/ 163 h 182"/>
                <a:gd name="T2" fmla="*/ 71 w 85"/>
                <a:gd name="T3" fmla="*/ 177 h 182"/>
                <a:gd name="T4" fmla="*/ 50 w 85"/>
                <a:gd name="T5" fmla="*/ 182 h 182"/>
                <a:gd name="T6" fmla="*/ 38 w 85"/>
                <a:gd name="T7" fmla="*/ 180 h 182"/>
                <a:gd name="T8" fmla="*/ 30 w 85"/>
                <a:gd name="T9" fmla="*/ 174 h 182"/>
                <a:gd name="T10" fmla="*/ 25 w 85"/>
                <a:gd name="T11" fmla="*/ 164 h 182"/>
                <a:gd name="T12" fmla="*/ 23 w 85"/>
                <a:gd name="T13" fmla="*/ 151 h 182"/>
                <a:gd name="T14" fmla="*/ 23 w 85"/>
                <a:gd name="T15" fmla="*/ 57 h 182"/>
                <a:gd name="T16" fmla="*/ 0 w 85"/>
                <a:gd name="T17" fmla="*/ 57 h 182"/>
                <a:gd name="T18" fmla="*/ 0 w 85"/>
                <a:gd name="T19" fmla="*/ 51 h 182"/>
                <a:gd name="T20" fmla="*/ 19 w 85"/>
                <a:gd name="T21" fmla="*/ 46 h 182"/>
                <a:gd name="T22" fmla="*/ 30 w 85"/>
                <a:gd name="T23" fmla="*/ 36 h 182"/>
                <a:gd name="T24" fmla="*/ 38 w 85"/>
                <a:gd name="T25" fmla="*/ 19 h 182"/>
                <a:gd name="T26" fmla="*/ 42 w 85"/>
                <a:gd name="T27" fmla="*/ 0 h 182"/>
                <a:gd name="T28" fmla="*/ 50 w 85"/>
                <a:gd name="T29" fmla="*/ 0 h 182"/>
                <a:gd name="T30" fmla="*/ 50 w 85"/>
                <a:gd name="T31" fmla="*/ 46 h 182"/>
                <a:gd name="T32" fmla="*/ 80 w 85"/>
                <a:gd name="T33" fmla="*/ 46 h 182"/>
                <a:gd name="T34" fmla="*/ 80 w 85"/>
                <a:gd name="T35" fmla="*/ 57 h 182"/>
                <a:gd name="T36" fmla="*/ 50 w 85"/>
                <a:gd name="T37" fmla="*/ 57 h 182"/>
                <a:gd name="T38" fmla="*/ 50 w 85"/>
                <a:gd name="T39" fmla="*/ 151 h 182"/>
                <a:gd name="T40" fmla="*/ 54 w 85"/>
                <a:gd name="T41" fmla="*/ 161 h 182"/>
                <a:gd name="T42" fmla="*/ 64 w 85"/>
                <a:gd name="T43" fmla="*/ 166 h 182"/>
                <a:gd name="T44" fmla="*/ 73 w 85"/>
                <a:gd name="T45" fmla="*/ 163 h 182"/>
                <a:gd name="T46" fmla="*/ 79 w 85"/>
                <a:gd name="T47" fmla="*/ 158 h 182"/>
                <a:gd name="T48" fmla="*/ 85 w 85"/>
                <a:gd name="T49" fmla="*/ 163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5" h="182">
                  <a:moveTo>
                    <a:pt x="85" y="163"/>
                  </a:moveTo>
                  <a:cubicBezTo>
                    <a:pt x="82" y="169"/>
                    <a:pt x="77" y="174"/>
                    <a:pt x="71" y="177"/>
                  </a:cubicBezTo>
                  <a:cubicBezTo>
                    <a:pt x="65" y="181"/>
                    <a:pt x="58" y="182"/>
                    <a:pt x="50" y="182"/>
                  </a:cubicBezTo>
                  <a:cubicBezTo>
                    <a:pt x="45" y="182"/>
                    <a:pt x="41" y="182"/>
                    <a:pt x="38" y="180"/>
                  </a:cubicBezTo>
                  <a:cubicBezTo>
                    <a:pt x="35" y="179"/>
                    <a:pt x="32" y="177"/>
                    <a:pt x="30" y="174"/>
                  </a:cubicBezTo>
                  <a:cubicBezTo>
                    <a:pt x="28" y="171"/>
                    <a:pt x="26" y="168"/>
                    <a:pt x="25" y="164"/>
                  </a:cubicBezTo>
                  <a:cubicBezTo>
                    <a:pt x="24" y="160"/>
                    <a:pt x="23" y="156"/>
                    <a:pt x="23" y="151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8" y="51"/>
                    <a:pt x="14" y="49"/>
                    <a:pt x="19" y="46"/>
                  </a:cubicBezTo>
                  <a:cubicBezTo>
                    <a:pt x="23" y="44"/>
                    <a:pt x="27" y="40"/>
                    <a:pt x="30" y="36"/>
                  </a:cubicBezTo>
                  <a:cubicBezTo>
                    <a:pt x="34" y="31"/>
                    <a:pt x="36" y="25"/>
                    <a:pt x="38" y="19"/>
                  </a:cubicBezTo>
                  <a:cubicBezTo>
                    <a:pt x="39" y="13"/>
                    <a:pt x="41" y="7"/>
                    <a:pt x="42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46"/>
                    <a:pt x="50" y="46"/>
                    <a:pt x="5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50" y="57"/>
                    <a:pt x="50" y="57"/>
                    <a:pt x="50" y="57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50" y="155"/>
                    <a:pt x="51" y="159"/>
                    <a:pt x="54" y="161"/>
                  </a:cubicBezTo>
                  <a:cubicBezTo>
                    <a:pt x="57" y="164"/>
                    <a:pt x="60" y="166"/>
                    <a:pt x="64" y="166"/>
                  </a:cubicBezTo>
                  <a:cubicBezTo>
                    <a:pt x="67" y="166"/>
                    <a:pt x="70" y="165"/>
                    <a:pt x="73" y="163"/>
                  </a:cubicBezTo>
                  <a:cubicBezTo>
                    <a:pt x="75" y="162"/>
                    <a:pt x="77" y="160"/>
                    <a:pt x="79" y="158"/>
                  </a:cubicBezTo>
                  <a:lnTo>
                    <a:pt x="85" y="163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5" name="Freeform 14"/>
            <p:cNvSpPr>
              <a:spLocks noEditPoints="1"/>
            </p:cNvSpPr>
            <p:nvPr/>
          </p:nvSpPr>
          <p:spPr bwMode="auto">
            <a:xfrm>
              <a:off x="211" y="-366"/>
              <a:ext cx="333" cy="330"/>
            </a:xfrm>
            <a:custGeom>
              <a:avLst/>
              <a:gdLst>
                <a:gd name="T0" fmla="*/ 71 w 141"/>
                <a:gd name="T1" fmla="*/ 139 h 139"/>
                <a:gd name="T2" fmla="*/ 42 w 141"/>
                <a:gd name="T3" fmla="*/ 134 h 139"/>
                <a:gd name="T4" fmla="*/ 20 w 141"/>
                <a:gd name="T5" fmla="*/ 119 h 139"/>
                <a:gd name="T6" fmla="*/ 5 w 141"/>
                <a:gd name="T7" fmla="*/ 98 h 139"/>
                <a:gd name="T8" fmla="*/ 0 w 141"/>
                <a:gd name="T9" fmla="*/ 71 h 139"/>
                <a:gd name="T10" fmla="*/ 5 w 141"/>
                <a:gd name="T11" fmla="*/ 44 h 139"/>
                <a:gd name="T12" fmla="*/ 20 w 141"/>
                <a:gd name="T13" fmla="*/ 21 h 139"/>
                <a:gd name="T14" fmla="*/ 42 w 141"/>
                <a:gd name="T15" fmla="*/ 6 h 139"/>
                <a:gd name="T16" fmla="*/ 71 w 141"/>
                <a:gd name="T17" fmla="*/ 0 h 139"/>
                <a:gd name="T18" fmla="*/ 99 w 141"/>
                <a:gd name="T19" fmla="*/ 5 h 139"/>
                <a:gd name="T20" fmla="*/ 121 w 141"/>
                <a:gd name="T21" fmla="*/ 19 h 139"/>
                <a:gd name="T22" fmla="*/ 136 w 141"/>
                <a:gd name="T23" fmla="*/ 40 h 139"/>
                <a:gd name="T24" fmla="*/ 141 w 141"/>
                <a:gd name="T25" fmla="*/ 66 h 139"/>
                <a:gd name="T26" fmla="*/ 136 w 141"/>
                <a:gd name="T27" fmla="*/ 94 h 139"/>
                <a:gd name="T28" fmla="*/ 121 w 141"/>
                <a:gd name="T29" fmla="*/ 118 h 139"/>
                <a:gd name="T30" fmla="*/ 99 w 141"/>
                <a:gd name="T31" fmla="*/ 134 h 139"/>
                <a:gd name="T32" fmla="*/ 71 w 141"/>
                <a:gd name="T33" fmla="*/ 139 h 139"/>
                <a:gd name="T34" fmla="*/ 76 w 141"/>
                <a:gd name="T35" fmla="*/ 129 h 139"/>
                <a:gd name="T36" fmla="*/ 90 w 141"/>
                <a:gd name="T37" fmla="*/ 125 h 139"/>
                <a:gd name="T38" fmla="*/ 101 w 141"/>
                <a:gd name="T39" fmla="*/ 115 h 139"/>
                <a:gd name="T40" fmla="*/ 109 w 141"/>
                <a:gd name="T41" fmla="*/ 99 h 139"/>
                <a:gd name="T42" fmla="*/ 111 w 141"/>
                <a:gd name="T43" fmla="*/ 80 h 139"/>
                <a:gd name="T44" fmla="*/ 109 w 141"/>
                <a:gd name="T45" fmla="*/ 52 h 139"/>
                <a:gd name="T46" fmla="*/ 101 w 141"/>
                <a:gd name="T47" fmla="*/ 30 h 139"/>
                <a:gd name="T48" fmla="*/ 86 w 141"/>
                <a:gd name="T49" fmla="*/ 15 h 139"/>
                <a:gd name="T50" fmla="*/ 64 w 141"/>
                <a:gd name="T51" fmla="*/ 10 h 139"/>
                <a:gd name="T52" fmla="*/ 51 w 141"/>
                <a:gd name="T53" fmla="*/ 14 h 139"/>
                <a:gd name="T54" fmla="*/ 40 w 141"/>
                <a:gd name="T55" fmla="*/ 24 h 139"/>
                <a:gd name="T56" fmla="*/ 33 w 141"/>
                <a:gd name="T57" fmla="*/ 40 h 139"/>
                <a:gd name="T58" fmla="*/ 30 w 141"/>
                <a:gd name="T59" fmla="*/ 59 h 139"/>
                <a:gd name="T60" fmla="*/ 33 w 141"/>
                <a:gd name="T61" fmla="*/ 87 h 139"/>
                <a:gd name="T62" fmla="*/ 42 w 141"/>
                <a:gd name="T63" fmla="*/ 109 h 139"/>
                <a:gd name="T64" fmla="*/ 56 w 141"/>
                <a:gd name="T65" fmla="*/ 124 h 139"/>
                <a:gd name="T66" fmla="*/ 76 w 141"/>
                <a:gd name="T67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1" h="139">
                  <a:moveTo>
                    <a:pt x="71" y="139"/>
                  </a:moveTo>
                  <a:cubicBezTo>
                    <a:pt x="60" y="139"/>
                    <a:pt x="51" y="138"/>
                    <a:pt x="42" y="134"/>
                  </a:cubicBezTo>
                  <a:cubicBezTo>
                    <a:pt x="34" y="131"/>
                    <a:pt x="26" y="126"/>
                    <a:pt x="20" y="119"/>
                  </a:cubicBezTo>
                  <a:cubicBezTo>
                    <a:pt x="14" y="113"/>
                    <a:pt x="9" y="106"/>
                    <a:pt x="5" y="98"/>
                  </a:cubicBezTo>
                  <a:cubicBezTo>
                    <a:pt x="2" y="90"/>
                    <a:pt x="0" y="81"/>
                    <a:pt x="0" y="71"/>
                  </a:cubicBezTo>
                  <a:cubicBezTo>
                    <a:pt x="0" y="61"/>
                    <a:pt x="2" y="52"/>
                    <a:pt x="5" y="44"/>
                  </a:cubicBezTo>
                  <a:cubicBezTo>
                    <a:pt x="9" y="35"/>
                    <a:pt x="14" y="27"/>
                    <a:pt x="20" y="21"/>
                  </a:cubicBezTo>
                  <a:cubicBezTo>
                    <a:pt x="26" y="15"/>
                    <a:pt x="34" y="9"/>
                    <a:pt x="42" y="6"/>
                  </a:cubicBezTo>
                  <a:cubicBezTo>
                    <a:pt x="51" y="2"/>
                    <a:pt x="60" y="0"/>
                    <a:pt x="71" y="0"/>
                  </a:cubicBezTo>
                  <a:cubicBezTo>
                    <a:pt x="81" y="0"/>
                    <a:pt x="90" y="2"/>
                    <a:pt x="99" y="5"/>
                  </a:cubicBezTo>
                  <a:cubicBezTo>
                    <a:pt x="108" y="9"/>
                    <a:pt x="115" y="13"/>
                    <a:pt x="121" y="19"/>
                  </a:cubicBezTo>
                  <a:cubicBezTo>
                    <a:pt x="128" y="25"/>
                    <a:pt x="133" y="32"/>
                    <a:pt x="136" y="40"/>
                  </a:cubicBezTo>
                  <a:cubicBezTo>
                    <a:pt x="140" y="48"/>
                    <a:pt x="141" y="57"/>
                    <a:pt x="141" y="66"/>
                  </a:cubicBezTo>
                  <a:cubicBezTo>
                    <a:pt x="141" y="76"/>
                    <a:pt x="140" y="85"/>
                    <a:pt x="136" y="94"/>
                  </a:cubicBezTo>
                  <a:cubicBezTo>
                    <a:pt x="133" y="103"/>
                    <a:pt x="128" y="111"/>
                    <a:pt x="121" y="118"/>
                  </a:cubicBezTo>
                  <a:cubicBezTo>
                    <a:pt x="115" y="124"/>
                    <a:pt x="108" y="130"/>
                    <a:pt x="99" y="134"/>
                  </a:cubicBezTo>
                  <a:cubicBezTo>
                    <a:pt x="90" y="137"/>
                    <a:pt x="81" y="139"/>
                    <a:pt x="71" y="139"/>
                  </a:cubicBezTo>
                  <a:moveTo>
                    <a:pt x="76" y="129"/>
                  </a:moveTo>
                  <a:cubicBezTo>
                    <a:pt x="81" y="129"/>
                    <a:pt x="86" y="128"/>
                    <a:pt x="90" y="125"/>
                  </a:cubicBezTo>
                  <a:cubicBezTo>
                    <a:pt x="94" y="123"/>
                    <a:pt x="98" y="119"/>
                    <a:pt x="101" y="115"/>
                  </a:cubicBezTo>
                  <a:cubicBezTo>
                    <a:pt x="105" y="110"/>
                    <a:pt x="107" y="105"/>
                    <a:pt x="109" y="99"/>
                  </a:cubicBezTo>
                  <a:cubicBezTo>
                    <a:pt x="111" y="93"/>
                    <a:pt x="111" y="86"/>
                    <a:pt x="111" y="80"/>
                  </a:cubicBezTo>
                  <a:cubicBezTo>
                    <a:pt x="111" y="70"/>
                    <a:pt x="111" y="61"/>
                    <a:pt x="109" y="52"/>
                  </a:cubicBezTo>
                  <a:cubicBezTo>
                    <a:pt x="107" y="44"/>
                    <a:pt x="105" y="37"/>
                    <a:pt x="101" y="30"/>
                  </a:cubicBezTo>
                  <a:cubicBezTo>
                    <a:pt x="97" y="24"/>
                    <a:pt x="92" y="19"/>
                    <a:pt x="86" y="15"/>
                  </a:cubicBezTo>
                  <a:cubicBezTo>
                    <a:pt x="80" y="12"/>
                    <a:pt x="73" y="10"/>
                    <a:pt x="64" y="10"/>
                  </a:cubicBezTo>
                  <a:cubicBezTo>
                    <a:pt x="60" y="10"/>
                    <a:pt x="55" y="11"/>
                    <a:pt x="51" y="14"/>
                  </a:cubicBezTo>
                  <a:cubicBezTo>
                    <a:pt x="47" y="16"/>
                    <a:pt x="43" y="20"/>
                    <a:pt x="40" y="24"/>
                  </a:cubicBezTo>
                  <a:cubicBezTo>
                    <a:pt x="37" y="29"/>
                    <a:pt x="34" y="34"/>
                    <a:pt x="33" y="40"/>
                  </a:cubicBezTo>
                  <a:cubicBezTo>
                    <a:pt x="31" y="46"/>
                    <a:pt x="30" y="52"/>
                    <a:pt x="30" y="59"/>
                  </a:cubicBezTo>
                  <a:cubicBezTo>
                    <a:pt x="30" y="69"/>
                    <a:pt x="31" y="78"/>
                    <a:pt x="33" y="87"/>
                  </a:cubicBezTo>
                  <a:cubicBezTo>
                    <a:pt x="35" y="95"/>
                    <a:pt x="38" y="103"/>
                    <a:pt x="42" y="109"/>
                  </a:cubicBezTo>
                  <a:cubicBezTo>
                    <a:pt x="46" y="115"/>
                    <a:pt x="51" y="120"/>
                    <a:pt x="56" y="124"/>
                  </a:cubicBezTo>
                  <a:cubicBezTo>
                    <a:pt x="62" y="128"/>
                    <a:pt x="68" y="129"/>
                    <a:pt x="76" y="129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6" name="Freeform 15"/>
            <p:cNvSpPr>
              <a:spLocks noEditPoints="1"/>
            </p:cNvSpPr>
            <p:nvPr/>
          </p:nvSpPr>
          <p:spPr bwMode="auto">
            <a:xfrm>
              <a:off x="592" y="-366"/>
              <a:ext cx="336" cy="330"/>
            </a:xfrm>
            <a:custGeom>
              <a:avLst/>
              <a:gdLst>
                <a:gd name="T0" fmla="*/ 71 w 142"/>
                <a:gd name="T1" fmla="*/ 139 h 139"/>
                <a:gd name="T2" fmla="*/ 43 w 142"/>
                <a:gd name="T3" fmla="*/ 134 h 139"/>
                <a:gd name="T4" fmla="*/ 20 w 142"/>
                <a:gd name="T5" fmla="*/ 119 h 139"/>
                <a:gd name="T6" fmla="*/ 6 w 142"/>
                <a:gd name="T7" fmla="*/ 98 h 139"/>
                <a:gd name="T8" fmla="*/ 0 w 142"/>
                <a:gd name="T9" fmla="*/ 71 h 139"/>
                <a:gd name="T10" fmla="*/ 6 w 142"/>
                <a:gd name="T11" fmla="*/ 44 h 139"/>
                <a:gd name="T12" fmla="*/ 20 w 142"/>
                <a:gd name="T13" fmla="*/ 21 h 139"/>
                <a:gd name="T14" fmla="*/ 43 w 142"/>
                <a:gd name="T15" fmla="*/ 6 h 139"/>
                <a:gd name="T16" fmla="*/ 71 w 142"/>
                <a:gd name="T17" fmla="*/ 0 h 139"/>
                <a:gd name="T18" fmla="*/ 99 w 142"/>
                <a:gd name="T19" fmla="*/ 5 h 139"/>
                <a:gd name="T20" fmla="*/ 122 w 142"/>
                <a:gd name="T21" fmla="*/ 19 h 139"/>
                <a:gd name="T22" fmla="*/ 136 w 142"/>
                <a:gd name="T23" fmla="*/ 40 h 139"/>
                <a:gd name="T24" fmla="*/ 142 w 142"/>
                <a:gd name="T25" fmla="*/ 66 h 139"/>
                <a:gd name="T26" fmla="*/ 136 w 142"/>
                <a:gd name="T27" fmla="*/ 94 h 139"/>
                <a:gd name="T28" fmla="*/ 122 w 142"/>
                <a:gd name="T29" fmla="*/ 118 h 139"/>
                <a:gd name="T30" fmla="*/ 99 w 142"/>
                <a:gd name="T31" fmla="*/ 134 h 139"/>
                <a:gd name="T32" fmla="*/ 71 w 142"/>
                <a:gd name="T33" fmla="*/ 139 h 139"/>
                <a:gd name="T34" fmla="*/ 76 w 142"/>
                <a:gd name="T35" fmla="*/ 129 h 139"/>
                <a:gd name="T36" fmla="*/ 90 w 142"/>
                <a:gd name="T37" fmla="*/ 125 h 139"/>
                <a:gd name="T38" fmla="*/ 102 w 142"/>
                <a:gd name="T39" fmla="*/ 115 h 139"/>
                <a:gd name="T40" fmla="*/ 109 w 142"/>
                <a:gd name="T41" fmla="*/ 99 h 139"/>
                <a:gd name="T42" fmla="*/ 112 w 142"/>
                <a:gd name="T43" fmla="*/ 80 h 139"/>
                <a:gd name="T44" fmla="*/ 109 w 142"/>
                <a:gd name="T45" fmla="*/ 52 h 139"/>
                <a:gd name="T46" fmla="*/ 101 w 142"/>
                <a:gd name="T47" fmla="*/ 30 h 139"/>
                <a:gd name="T48" fmla="*/ 87 w 142"/>
                <a:gd name="T49" fmla="*/ 15 h 139"/>
                <a:gd name="T50" fmla="*/ 65 w 142"/>
                <a:gd name="T51" fmla="*/ 10 h 139"/>
                <a:gd name="T52" fmla="*/ 52 w 142"/>
                <a:gd name="T53" fmla="*/ 14 h 139"/>
                <a:gd name="T54" fmla="*/ 41 w 142"/>
                <a:gd name="T55" fmla="*/ 24 h 139"/>
                <a:gd name="T56" fmla="*/ 33 w 142"/>
                <a:gd name="T57" fmla="*/ 40 h 139"/>
                <a:gd name="T58" fmla="*/ 30 w 142"/>
                <a:gd name="T59" fmla="*/ 59 h 139"/>
                <a:gd name="T60" fmla="*/ 33 w 142"/>
                <a:gd name="T61" fmla="*/ 87 h 139"/>
                <a:gd name="T62" fmla="*/ 42 w 142"/>
                <a:gd name="T63" fmla="*/ 109 h 139"/>
                <a:gd name="T64" fmla="*/ 57 w 142"/>
                <a:gd name="T65" fmla="*/ 124 h 139"/>
                <a:gd name="T66" fmla="*/ 76 w 142"/>
                <a:gd name="T67" fmla="*/ 129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2" h="139">
                  <a:moveTo>
                    <a:pt x="71" y="139"/>
                  </a:moveTo>
                  <a:cubicBezTo>
                    <a:pt x="61" y="139"/>
                    <a:pt x="51" y="138"/>
                    <a:pt x="43" y="134"/>
                  </a:cubicBezTo>
                  <a:cubicBezTo>
                    <a:pt x="34" y="131"/>
                    <a:pt x="27" y="126"/>
                    <a:pt x="20" y="119"/>
                  </a:cubicBezTo>
                  <a:cubicBezTo>
                    <a:pt x="14" y="113"/>
                    <a:pt x="9" y="106"/>
                    <a:pt x="6" y="98"/>
                  </a:cubicBezTo>
                  <a:cubicBezTo>
                    <a:pt x="2" y="90"/>
                    <a:pt x="0" y="81"/>
                    <a:pt x="0" y="71"/>
                  </a:cubicBezTo>
                  <a:cubicBezTo>
                    <a:pt x="0" y="61"/>
                    <a:pt x="2" y="52"/>
                    <a:pt x="6" y="44"/>
                  </a:cubicBezTo>
                  <a:cubicBezTo>
                    <a:pt x="9" y="35"/>
                    <a:pt x="14" y="27"/>
                    <a:pt x="20" y="21"/>
                  </a:cubicBezTo>
                  <a:cubicBezTo>
                    <a:pt x="27" y="15"/>
                    <a:pt x="34" y="9"/>
                    <a:pt x="43" y="6"/>
                  </a:cubicBezTo>
                  <a:cubicBezTo>
                    <a:pt x="51" y="2"/>
                    <a:pt x="61" y="0"/>
                    <a:pt x="71" y="0"/>
                  </a:cubicBezTo>
                  <a:cubicBezTo>
                    <a:pt x="81" y="0"/>
                    <a:pt x="91" y="2"/>
                    <a:pt x="99" y="5"/>
                  </a:cubicBezTo>
                  <a:cubicBezTo>
                    <a:pt x="108" y="9"/>
                    <a:pt x="115" y="13"/>
                    <a:pt x="122" y="19"/>
                  </a:cubicBezTo>
                  <a:cubicBezTo>
                    <a:pt x="128" y="25"/>
                    <a:pt x="133" y="32"/>
                    <a:pt x="136" y="40"/>
                  </a:cubicBezTo>
                  <a:cubicBezTo>
                    <a:pt x="140" y="48"/>
                    <a:pt x="142" y="57"/>
                    <a:pt x="142" y="66"/>
                  </a:cubicBezTo>
                  <a:cubicBezTo>
                    <a:pt x="142" y="76"/>
                    <a:pt x="140" y="85"/>
                    <a:pt x="136" y="94"/>
                  </a:cubicBezTo>
                  <a:cubicBezTo>
                    <a:pt x="133" y="103"/>
                    <a:pt x="128" y="111"/>
                    <a:pt x="122" y="118"/>
                  </a:cubicBezTo>
                  <a:cubicBezTo>
                    <a:pt x="115" y="124"/>
                    <a:pt x="108" y="130"/>
                    <a:pt x="99" y="134"/>
                  </a:cubicBezTo>
                  <a:cubicBezTo>
                    <a:pt x="91" y="137"/>
                    <a:pt x="81" y="139"/>
                    <a:pt x="71" y="139"/>
                  </a:cubicBezTo>
                  <a:moveTo>
                    <a:pt x="76" y="129"/>
                  </a:moveTo>
                  <a:cubicBezTo>
                    <a:pt x="81" y="129"/>
                    <a:pt x="86" y="128"/>
                    <a:pt x="90" y="125"/>
                  </a:cubicBezTo>
                  <a:cubicBezTo>
                    <a:pt x="95" y="123"/>
                    <a:pt x="98" y="119"/>
                    <a:pt x="102" y="115"/>
                  </a:cubicBezTo>
                  <a:cubicBezTo>
                    <a:pt x="105" y="110"/>
                    <a:pt x="107" y="105"/>
                    <a:pt x="109" y="99"/>
                  </a:cubicBezTo>
                  <a:cubicBezTo>
                    <a:pt x="111" y="93"/>
                    <a:pt x="112" y="86"/>
                    <a:pt x="112" y="80"/>
                  </a:cubicBezTo>
                  <a:cubicBezTo>
                    <a:pt x="112" y="70"/>
                    <a:pt x="111" y="61"/>
                    <a:pt x="109" y="52"/>
                  </a:cubicBezTo>
                  <a:cubicBezTo>
                    <a:pt x="108" y="44"/>
                    <a:pt x="105" y="37"/>
                    <a:pt x="101" y="30"/>
                  </a:cubicBezTo>
                  <a:cubicBezTo>
                    <a:pt x="97" y="24"/>
                    <a:pt x="93" y="19"/>
                    <a:pt x="87" y="15"/>
                  </a:cubicBezTo>
                  <a:cubicBezTo>
                    <a:pt x="81" y="12"/>
                    <a:pt x="73" y="10"/>
                    <a:pt x="65" y="10"/>
                  </a:cubicBezTo>
                  <a:cubicBezTo>
                    <a:pt x="60" y="10"/>
                    <a:pt x="56" y="11"/>
                    <a:pt x="52" y="14"/>
                  </a:cubicBezTo>
                  <a:cubicBezTo>
                    <a:pt x="47" y="16"/>
                    <a:pt x="44" y="20"/>
                    <a:pt x="41" y="24"/>
                  </a:cubicBezTo>
                  <a:cubicBezTo>
                    <a:pt x="37" y="29"/>
                    <a:pt x="35" y="34"/>
                    <a:pt x="33" y="40"/>
                  </a:cubicBezTo>
                  <a:cubicBezTo>
                    <a:pt x="31" y="46"/>
                    <a:pt x="30" y="52"/>
                    <a:pt x="30" y="59"/>
                  </a:cubicBezTo>
                  <a:cubicBezTo>
                    <a:pt x="30" y="69"/>
                    <a:pt x="31" y="78"/>
                    <a:pt x="33" y="87"/>
                  </a:cubicBezTo>
                  <a:cubicBezTo>
                    <a:pt x="35" y="95"/>
                    <a:pt x="38" y="103"/>
                    <a:pt x="42" y="109"/>
                  </a:cubicBezTo>
                  <a:cubicBezTo>
                    <a:pt x="46" y="115"/>
                    <a:pt x="51" y="120"/>
                    <a:pt x="57" y="124"/>
                  </a:cubicBezTo>
                  <a:cubicBezTo>
                    <a:pt x="62" y="128"/>
                    <a:pt x="69" y="129"/>
                    <a:pt x="76" y="129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auto">
            <a:xfrm>
              <a:off x="989" y="-523"/>
              <a:ext cx="64" cy="482"/>
            </a:xfrm>
            <a:custGeom>
              <a:avLst/>
              <a:gdLst>
                <a:gd name="T0" fmla="*/ 64 w 64"/>
                <a:gd name="T1" fmla="*/ 482 h 482"/>
                <a:gd name="T2" fmla="*/ 0 w 64"/>
                <a:gd name="T3" fmla="*/ 482 h 482"/>
                <a:gd name="T4" fmla="*/ 0 w 64"/>
                <a:gd name="T5" fmla="*/ 19 h 482"/>
                <a:gd name="T6" fmla="*/ 45 w 64"/>
                <a:gd name="T7" fmla="*/ 0 h 482"/>
                <a:gd name="T8" fmla="*/ 64 w 64"/>
                <a:gd name="T9" fmla="*/ 0 h 482"/>
                <a:gd name="T10" fmla="*/ 64 w 64"/>
                <a:gd name="T11" fmla="*/ 482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482">
                  <a:moveTo>
                    <a:pt x="64" y="482"/>
                  </a:moveTo>
                  <a:lnTo>
                    <a:pt x="0" y="482"/>
                  </a:lnTo>
                  <a:lnTo>
                    <a:pt x="0" y="19"/>
                  </a:lnTo>
                  <a:lnTo>
                    <a:pt x="45" y="0"/>
                  </a:lnTo>
                  <a:lnTo>
                    <a:pt x="64" y="0"/>
                  </a:lnTo>
                  <a:lnTo>
                    <a:pt x="64" y="482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auto">
            <a:xfrm>
              <a:off x="1115" y="-366"/>
              <a:ext cx="236" cy="330"/>
            </a:xfrm>
            <a:custGeom>
              <a:avLst/>
              <a:gdLst>
                <a:gd name="T0" fmla="*/ 49 w 100"/>
                <a:gd name="T1" fmla="*/ 130 h 139"/>
                <a:gd name="T2" fmla="*/ 59 w 100"/>
                <a:gd name="T3" fmla="*/ 129 h 139"/>
                <a:gd name="T4" fmla="*/ 67 w 100"/>
                <a:gd name="T5" fmla="*/ 124 h 139"/>
                <a:gd name="T6" fmla="*/ 72 w 100"/>
                <a:gd name="T7" fmla="*/ 118 h 139"/>
                <a:gd name="T8" fmla="*/ 74 w 100"/>
                <a:gd name="T9" fmla="*/ 110 h 139"/>
                <a:gd name="T10" fmla="*/ 71 w 100"/>
                <a:gd name="T11" fmla="*/ 100 h 139"/>
                <a:gd name="T12" fmla="*/ 63 w 100"/>
                <a:gd name="T13" fmla="*/ 92 h 139"/>
                <a:gd name="T14" fmla="*/ 51 w 100"/>
                <a:gd name="T15" fmla="*/ 85 h 139"/>
                <a:gd name="T16" fmla="*/ 38 w 100"/>
                <a:gd name="T17" fmla="*/ 79 h 139"/>
                <a:gd name="T18" fmla="*/ 25 w 100"/>
                <a:gd name="T19" fmla="*/ 72 h 139"/>
                <a:gd name="T20" fmla="*/ 14 w 100"/>
                <a:gd name="T21" fmla="*/ 63 h 139"/>
                <a:gd name="T22" fmla="*/ 5 w 100"/>
                <a:gd name="T23" fmla="*/ 52 h 139"/>
                <a:gd name="T24" fmla="*/ 2 w 100"/>
                <a:gd name="T25" fmla="*/ 37 h 139"/>
                <a:gd name="T26" fmla="*/ 6 w 100"/>
                <a:gd name="T27" fmla="*/ 22 h 139"/>
                <a:gd name="T28" fmla="*/ 15 w 100"/>
                <a:gd name="T29" fmla="*/ 11 h 139"/>
                <a:gd name="T30" fmla="*/ 30 w 100"/>
                <a:gd name="T31" fmla="*/ 3 h 139"/>
                <a:gd name="T32" fmla="*/ 48 w 100"/>
                <a:gd name="T33" fmla="*/ 0 h 139"/>
                <a:gd name="T34" fmla="*/ 61 w 100"/>
                <a:gd name="T35" fmla="*/ 1 h 139"/>
                <a:gd name="T36" fmla="*/ 72 w 100"/>
                <a:gd name="T37" fmla="*/ 5 h 139"/>
                <a:gd name="T38" fmla="*/ 83 w 100"/>
                <a:gd name="T39" fmla="*/ 12 h 139"/>
                <a:gd name="T40" fmla="*/ 95 w 100"/>
                <a:gd name="T41" fmla="*/ 25 h 139"/>
                <a:gd name="T42" fmla="*/ 85 w 100"/>
                <a:gd name="T43" fmla="*/ 34 h 139"/>
                <a:gd name="T44" fmla="*/ 68 w 100"/>
                <a:gd name="T45" fmla="*/ 15 h 139"/>
                <a:gd name="T46" fmla="*/ 48 w 100"/>
                <a:gd name="T47" fmla="*/ 9 h 139"/>
                <a:gd name="T48" fmla="*/ 37 w 100"/>
                <a:gd name="T49" fmla="*/ 10 h 139"/>
                <a:gd name="T50" fmla="*/ 29 w 100"/>
                <a:gd name="T51" fmla="*/ 14 h 139"/>
                <a:gd name="T52" fmla="*/ 24 w 100"/>
                <a:gd name="T53" fmla="*/ 20 h 139"/>
                <a:gd name="T54" fmla="*/ 22 w 100"/>
                <a:gd name="T55" fmla="*/ 27 h 139"/>
                <a:gd name="T56" fmla="*/ 26 w 100"/>
                <a:gd name="T57" fmla="*/ 37 h 139"/>
                <a:gd name="T58" fmla="*/ 34 w 100"/>
                <a:gd name="T59" fmla="*/ 45 h 139"/>
                <a:gd name="T60" fmla="*/ 47 w 100"/>
                <a:gd name="T61" fmla="*/ 52 h 139"/>
                <a:gd name="T62" fmla="*/ 61 w 100"/>
                <a:gd name="T63" fmla="*/ 58 h 139"/>
                <a:gd name="T64" fmla="*/ 75 w 100"/>
                <a:gd name="T65" fmla="*/ 65 h 139"/>
                <a:gd name="T66" fmla="*/ 88 w 100"/>
                <a:gd name="T67" fmla="*/ 73 h 139"/>
                <a:gd name="T68" fmla="*/ 97 w 100"/>
                <a:gd name="T69" fmla="*/ 84 h 139"/>
                <a:gd name="T70" fmla="*/ 100 w 100"/>
                <a:gd name="T71" fmla="*/ 99 h 139"/>
                <a:gd name="T72" fmla="*/ 97 w 100"/>
                <a:gd name="T73" fmla="*/ 115 h 139"/>
                <a:gd name="T74" fmla="*/ 87 w 100"/>
                <a:gd name="T75" fmla="*/ 128 h 139"/>
                <a:gd name="T76" fmla="*/ 71 w 100"/>
                <a:gd name="T77" fmla="*/ 136 h 139"/>
                <a:gd name="T78" fmla="*/ 49 w 100"/>
                <a:gd name="T79" fmla="*/ 139 h 139"/>
                <a:gd name="T80" fmla="*/ 37 w 100"/>
                <a:gd name="T81" fmla="*/ 138 h 139"/>
                <a:gd name="T82" fmla="*/ 25 w 100"/>
                <a:gd name="T83" fmla="*/ 135 h 139"/>
                <a:gd name="T84" fmla="*/ 12 w 100"/>
                <a:gd name="T85" fmla="*/ 127 h 139"/>
                <a:gd name="T86" fmla="*/ 0 w 100"/>
                <a:gd name="T87" fmla="*/ 115 h 139"/>
                <a:gd name="T88" fmla="*/ 10 w 100"/>
                <a:gd name="T89" fmla="*/ 105 h 139"/>
                <a:gd name="T90" fmla="*/ 20 w 100"/>
                <a:gd name="T91" fmla="*/ 116 h 139"/>
                <a:gd name="T92" fmla="*/ 29 w 100"/>
                <a:gd name="T93" fmla="*/ 124 h 139"/>
                <a:gd name="T94" fmla="*/ 38 w 100"/>
                <a:gd name="T95" fmla="*/ 129 h 139"/>
                <a:gd name="T96" fmla="*/ 49 w 100"/>
                <a:gd name="T97" fmla="*/ 13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0" h="139">
                  <a:moveTo>
                    <a:pt x="49" y="130"/>
                  </a:moveTo>
                  <a:cubicBezTo>
                    <a:pt x="53" y="130"/>
                    <a:pt x="56" y="130"/>
                    <a:pt x="59" y="129"/>
                  </a:cubicBezTo>
                  <a:cubicBezTo>
                    <a:pt x="62" y="127"/>
                    <a:pt x="65" y="126"/>
                    <a:pt x="67" y="124"/>
                  </a:cubicBezTo>
                  <a:cubicBezTo>
                    <a:pt x="69" y="122"/>
                    <a:pt x="71" y="120"/>
                    <a:pt x="72" y="118"/>
                  </a:cubicBezTo>
                  <a:cubicBezTo>
                    <a:pt x="73" y="115"/>
                    <a:pt x="74" y="113"/>
                    <a:pt x="74" y="110"/>
                  </a:cubicBezTo>
                  <a:cubicBezTo>
                    <a:pt x="74" y="106"/>
                    <a:pt x="73" y="103"/>
                    <a:pt x="71" y="100"/>
                  </a:cubicBezTo>
                  <a:cubicBezTo>
                    <a:pt x="69" y="97"/>
                    <a:pt x="66" y="94"/>
                    <a:pt x="63" y="92"/>
                  </a:cubicBezTo>
                  <a:cubicBezTo>
                    <a:pt x="59" y="89"/>
                    <a:pt x="56" y="87"/>
                    <a:pt x="51" y="85"/>
                  </a:cubicBezTo>
                  <a:cubicBezTo>
                    <a:pt x="47" y="83"/>
                    <a:pt x="43" y="81"/>
                    <a:pt x="38" y="79"/>
                  </a:cubicBezTo>
                  <a:cubicBezTo>
                    <a:pt x="34" y="77"/>
                    <a:pt x="29" y="74"/>
                    <a:pt x="25" y="72"/>
                  </a:cubicBezTo>
                  <a:cubicBezTo>
                    <a:pt x="21" y="70"/>
                    <a:pt x="17" y="67"/>
                    <a:pt x="14" y="63"/>
                  </a:cubicBezTo>
                  <a:cubicBezTo>
                    <a:pt x="10" y="60"/>
                    <a:pt x="8" y="57"/>
                    <a:pt x="5" y="52"/>
                  </a:cubicBezTo>
                  <a:cubicBezTo>
                    <a:pt x="3" y="48"/>
                    <a:pt x="2" y="43"/>
                    <a:pt x="2" y="37"/>
                  </a:cubicBezTo>
                  <a:cubicBezTo>
                    <a:pt x="2" y="32"/>
                    <a:pt x="4" y="27"/>
                    <a:pt x="6" y="22"/>
                  </a:cubicBezTo>
                  <a:cubicBezTo>
                    <a:pt x="8" y="18"/>
                    <a:pt x="11" y="14"/>
                    <a:pt x="15" y="11"/>
                  </a:cubicBezTo>
                  <a:cubicBezTo>
                    <a:pt x="19" y="7"/>
                    <a:pt x="24" y="5"/>
                    <a:pt x="30" y="3"/>
                  </a:cubicBezTo>
                  <a:cubicBezTo>
                    <a:pt x="35" y="1"/>
                    <a:pt x="41" y="0"/>
                    <a:pt x="48" y="0"/>
                  </a:cubicBezTo>
                  <a:cubicBezTo>
                    <a:pt x="52" y="0"/>
                    <a:pt x="57" y="0"/>
                    <a:pt x="61" y="1"/>
                  </a:cubicBezTo>
                  <a:cubicBezTo>
                    <a:pt x="64" y="2"/>
                    <a:pt x="68" y="3"/>
                    <a:pt x="72" y="5"/>
                  </a:cubicBezTo>
                  <a:cubicBezTo>
                    <a:pt x="76" y="6"/>
                    <a:pt x="79" y="9"/>
                    <a:pt x="83" y="12"/>
                  </a:cubicBezTo>
                  <a:cubicBezTo>
                    <a:pt x="87" y="15"/>
                    <a:pt x="90" y="20"/>
                    <a:pt x="95" y="25"/>
                  </a:cubicBezTo>
                  <a:cubicBezTo>
                    <a:pt x="85" y="34"/>
                    <a:pt x="85" y="34"/>
                    <a:pt x="85" y="34"/>
                  </a:cubicBezTo>
                  <a:cubicBezTo>
                    <a:pt x="80" y="25"/>
                    <a:pt x="74" y="19"/>
                    <a:pt x="68" y="15"/>
                  </a:cubicBezTo>
                  <a:cubicBezTo>
                    <a:pt x="61" y="11"/>
                    <a:pt x="55" y="9"/>
                    <a:pt x="48" y="9"/>
                  </a:cubicBezTo>
                  <a:cubicBezTo>
                    <a:pt x="44" y="9"/>
                    <a:pt x="40" y="9"/>
                    <a:pt x="37" y="10"/>
                  </a:cubicBezTo>
                  <a:cubicBezTo>
                    <a:pt x="34" y="11"/>
                    <a:pt x="31" y="13"/>
                    <a:pt x="29" y="14"/>
                  </a:cubicBezTo>
                  <a:cubicBezTo>
                    <a:pt x="27" y="16"/>
                    <a:pt x="25" y="18"/>
                    <a:pt x="24" y="20"/>
                  </a:cubicBezTo>
                  <a:cubicBezTo>
                    <a:pt x="23" y="22"/>
                    <a:pt x="22" y="24"/>
                    <a:pt x="22" y="27"/>
                  </a:cubicBezTo>
                  <a:cubicBezTo>
                    <a:pt x="22" y="31"/>
                    <a:pt x="23" y="34"/>
                    <a:pt x="26" y="37"/>
                  </a:cubicBezTo>
                  <a:cubicBezTo>
                    <a:pt x="28" y="40"/>
                    <a:pt x="31" y="43"/>
                    <a:pt x="34" y="45"/>
                  </a:cubicBezTo>
                  <a:cubicBezTo>
                    <a:pt x="38" y="48"/>
                    <a:pt x="42" y="50"/>
                    <a:pt x="47" y="52"/>
                  </a:cubicBezTo>
                  <a:cubicBezTo>
                    <a:pt x="51" y="54"/>
                    <a:pt x="56" y="56"/>
                    <a:pt x="61" y="58"/>
                  </a:cubicBezTo>
                  <a:cubicBezTo>
                    <a:pt x="66" y="60"/>
                    <a:pt x="71" y="62"/>
                    <a:pt x="75" y="65"/>
                  </a:cubicBezTo>
                  <a:cubicBezTo>
                    <a:pt x="80" y="67"/>
                    <a:pt x="84" y="70"/>
                    <a:pt x="88" y="73"/>
                  </a:cubicBezTo>
                  <a:cubicBezTo>
                    <a:pt x="91" y="77"/>
                    <a:pt x="94" y="80"/>
                    <a:pt x="97" y="84"/>
                  </a:cubicBezTo>
                  <a:cubicBezTo>
                    <a:pt x="99" y="89"/>
                    <a:pt x="100" y="93"/>
                    <a:pt x="100" y="99"/>
                  </a:cubicBezTo>
                  <a:cubicBezTo>
                    <a:pt x="100" y="105"/>
                    <a:pt x="99" y="110"/>
                    <a:pt x="97" y="115"/>
                  </a:cubicBezTo>
                  <a:cubicBezTo>
                    <a:pt x="95" y="120"/>
                    <a:pt x="92" y="124"/>
                    <a:pt x="87" y="128"/>
                  </a:cubicBezTo>
                  <a:cubicBezTo>
                    <a:pt x="83" y="131"/>
                    <a:pt x="78" y="134"/>
                    <a:pt x="71" y="136"/>
                  </a:cubicBezTo>
                  <a:cubicBezTo>
                    <a:pt x="65" y="138"/>
                    <a:pt x="58" y="139"/>
                    <a:pt x="49" y="139"/>
                  </a:cubicBezTo>
                  <a:cubicBezTo>
                    <a:pt x="45" y="139"/>
                    <a:pt x="41" y="139"/>
                    <a:pt x="37" y="138"/>
                  </a:cubicBezTo>
                  <a:cubicBezTo>
                    <a:pt x="33" y="138"/>
                    <a:pt x="29" y="137"/>
                    <a:pt x="25" y="135"/>
                  </a:cubicBezTo>
                  <a:cubicBezTo>
                    <a:pt x="20" y="133"/>
                    <a:pt x="16" y="131"/>
                    <a:pt x="12" y="127"/>
                  </a:cubicBezTo>
                  <a:cubicBezTo>
                    <a:pt x="8" y="124"/>
                    <a:pt x="4" y="120"/>
                    <a:pt x="0" y="115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14" y="109"/>
                    <a:pt x="17" y="113"/>
                    <a:pt x="20" y="116"/>
                  </a:cubicBezTo>
                  <a:cubicBezTo>
                    <a:pt x="23" y="120"/>
                    <a:pt x="26" y="122"/>
                    <a:pt x="29" y="124"/>
                  </a:cubicBezTo>
                  <a:cubicBezTo>
                    <a:pt x="32" y="126"/>
                    <a:pt x="35" y="128"/>
                    <a:pt x="38" y="129"/>
                  </a:cubicBezTo>
                  <a:cubicBezTo>
                    <a:pt x="42" y="130"/>
                    <a:pt x="45" y="130"/>
                    <a:pt x="49" y="130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9" name="Freeform 18"/>
            <p:cNvSpPr>
              <a:spLocks noEditPoints="1"/>
            </p:cNvSpPr>
            <p:nvPr/>
          </p:nvSpPr>
          <p:spPr bwMode="auto">
            <a:xfrm>
              <a:off x="-1240" y="-946"/>
              <a:ext cx="963" cy="986"/>
            </a:xfrm>
            <a:custGeom>
              <a:avLst/>
              <a:gdLst>
                <a:gd name="T0" fmla="*/ 963 w 963"/>
                <a:gd name="T1" fmla="*/ 986 h 986"/>
                <a:gd name="T2" fmla="*/ 0 w 963"/>
                <a:gd name="T3" fmla="*/ 986 h 986"/>
                <a:gd name="T4" fmla="*/ 0 w 963"/>
                <a:gd name="T5" fmla="*/ 0 h 986"/>
                <a:gd name="T6" fmla="*/ 963 w 963"/>
                <a:gd name="T7" fmla="*/ 0 h 986"/>
                <a:gd name="T8" fmla="*/ 963 w 963"/>
                <a:gd name="T9" fmla="*/ 986 h 986"/>
                <a:gd name="T10" fmla="*/ 12 w 963"/>
                <a:gd name="T11" fmla="*/ 974 h 986"/>
                <a:gd name="T12" fmla="*/ 949 w 963"/>
                <a:gd name="T13" fmla="*/ 974 h 986"/>
                <a:gd name="T14" fmla="*/ 949 w 963"/>
                <a:gd name="T15" fmla="*/ 14 h 986"/>
                <a:gd name="T16" fmla="*/ 12 w 963"/>
                <a:gd name="T17" fmla="*/ 14 h 986"/>
                <a:gd name="T18" fmla="*/ 12 w 963"/>
                <a:gd name="T19" fmla="*/ 974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3" h="986">
                  <a:moveTo>
                    <a:pt x="963" y="986"/>
                  </a:moveTo>
                  <a:lnTo>
                    <a:pt x="0" y="986"/>
                  </a:lnTo>
                  <a:lnTo>
                    <a:pt x="0" y="0"/>
                  </a:lnTo>
                  <a:lnTo>
                    <a:pt x="963" y="0"/>
                  </a:lnTo>
                  <a:lnTo>
                    <a:pt x="963" y="986"/>
                  </a:lnTo>
                  <a:close/>
                  <a:moveTo>
                    <a:pt x="12" y="974"/>
                  </a:moveTo>
                  <a:lnTo>
                    <a:pt x="949" y="974"/>
                  </a:lnTo>
                  <a:lnTo>
                    <a:pt x="949" y="14"/>
                  </a:lnTo>
                  <a:lnTo>
                    <a:pt x="12" y="14"/>
                  </a:lnTo>
                  <a:lnTo>
                    <a:pt x="12" y="974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50" name="Freeform 19"/>
            <p:cNvSpPr>
              <a:spLocks noEditPoints="1"/>
            </p:cNvSpPr>
            <p:nvPr/>
          </p:nvSpPr>
          <p:spPr bwMode="auto">
            <a:xfrm>
              <a:off x="-1344" y="-1158"/>
              <a:ext cx="1171" cy="1179"/>
            </a:xfrm>
            <a:custGeom>
              <a:avLst/>
              <a:gdLst>
                <a:gd name="T0" fmla="*/ 248 w 495"/>
                <a:gd name="T1" fmla="*/ 496 h 496"/>
                <a:gd name="T2" fmla="*/ 0 w 495"/>
                <a:gd name="T3" fmla="*/ 248 h 496"/>
                <a:gd name="T4" fmla="*/ 248 w 495"/>
                <a:gd name="T5" fmla="*/ 0 h 496"/>
                <a:gd name="T6" fmla="*/ 495 w 495"/>
                <a:gd name="T7" fmla="*/ 248 h 496"/>
                <a:gd name="T8" fmla="*/ 248 w 495"/>
                <a:gd name="T9" fmla="*/ 496 h 496"/>
                <a:gd name="T10" fmla="*/ 248 w 495"/>
                <a:gd name="T11" fmla="*/ 6 h 496"/>
                <a:gd name="T12" fmla="*/ 5 w 495"/>
                <a:gd name="T13" fmla="*/ 248 h 496"/>
                <a:gd name="T14" fmla="*/ 248 w 495"/>
                <a:gd name="T15" fmla="*/ 490 h 496"/>
                <a:gd name="T16" fmla="*/ 490 w 495"/>
                <a:gd name="T17" fmla="*/ 248 h 496"/>
                <a:gd name="T18" fmla="*/ 248 w 495"/>
                <a:gd name="T19" fmla="*/ 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5" h="496">
                  <a:moveTo>
                    <a:pt x="248" y="496"/>
                  </a:moveTo>
                  <a:cubicBezTo>
                    <a:pt x="111" y="496"/>
                    <a:pt x="0" y="385"/>
                    <a:pt x="0" y="248"/>
                  </a:cubicBezTo>
                  <a:cubicBezTo>
                    <a:pt x="0" y="111"/>
                    <a:pt x="111" y="0"/>
                    <a:pt x="248" y="0"/>
                  </a:cubicBezTo>
                  <a:cubicBezTo>
                    <a:pt x="384" y="0"/>
                    <a:pt x="495" y="111"/>
                    <a:pt x="495" y="248"/>
                  </a:cubicBezTo>
                  <a:cubicBezTo>
                    <a:pt x="495" y="385"/>
                    <a:pt x="384" y="496"/>
                    <a:pt x="248" y="496"/>
                  </a:cubicBezTo>
                  <a:moveTo>
                    <a:pt x="248" y="6"/>
                  </a:moveTo>
                  <a:cubicBezTo>
                    <a:pt x="114" y="6"/>
                    <a:pt x="5" y="114"/>
                    <a:pt x="5" y="248"/>
                  </a:cubicBezTo>
                  <a:cubicBezTo>
                    <a:pt x="5" y="382"/>
                    <a:pt x="114" y="490"/>
                    <a:pt x="248" y="490"/>
                  </a:cubicBezTo>
                  <a:cubicBezTo>
                    <a:pt x="381" y="490"/>
                    <a:pt x="490" y="382"/>
                    <a:pt x="490" y="248"/>
                  </a:cubicBezTo>
                  <a:cubicBezTo>
                    <a:pt x="490" y="114"/>
                    <a:pt x="381" y="6"/>
                    <a:pt x="248" y="6"/>
                  </a:cubicBezTo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51" name="Rectangle 20"/>
            <p:cNvSpPr>
              <a:spLocks noChangeArrowheads="1"/>
            </p:cNvSpPr>
            <p:nvPr/>
          </p:nvSpPr>
          <p:spPr bwMode="auto">
            <a:xfrm>
              <a:off x="-1236" y="-775"/>
              <a:ext cx="952" cy="14"/>
            </a:xfrm>
            <a:prstGeom prst="rect">
              <a:avLst/>
            </a:pr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52" name="Rectangle 21"/>
            <p:cNvSpPr>
              <a:spLocks noChangeArrowheads="1"/>
            </p:cNvSpPr>
            <p:nvPr/>
          </p:nvSpPr>
          <p:spPr bwMode="auto">
            <a:xfrm>
              <a:off x="-765" y="-1151"/>
              <a:ext cx="12" cy="668"/>
            </a:xfrm>
            <a:prstGeom prst="rect">
              <a:avLst/>
            </a:pr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53" name="Freeform 22"/>
            <p:cNvSpPr>
              <a:spLocks/>
            </p:cNvSpPr>
            <p:nvPr/>
          </p:nvSpPr>
          <p:spPr bwMode="auto">
            <a:xfrm>
              <a:off x="-1030" y="-497"/>
              <a:ext cx="545" cy="449"/>
            </a:xfrm>
            <a:custGeom>
              <a:avLst/>
              <a:gdLst>
                <a:gd name="T0" fmla="*/ 533 w 545"/>
                <a:gd name="T1" fmla="*/ 449 h 449"/>
                <a:gd name="T2" fmla="*/ 270 w 545"/>
                <a:gd name="T3" fmla="*/ 26 h 449"/>
                <a:gd name="T4" fmla="*/ 10 w 545"/>
                <a:gd name="T5" fmla="*/ 449 h 449"/>
                <a:gd name="T6" fmla="*/ 0 w 545"/>
                <a:gd name="T7" fmla="*/ 442 h 449"/>
                <a:gd name="T8" fmla="*/ 270 w 545"/>
                <a:gd name="T9" fmla="*/ 0 h 449"/>
                <a:gd name="T10" fmla="*/ 545 w 545"/>
                <a:gd name="T11" fmla="*/ 442 h 449"/>
                <a:gd name="T12" fmla="*/ 533 w 545"/>
                <a:gd name="T13" fmla="*/ 449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5" h="449">
                  <a:moveTo>
                    <a:pt x="533" y="449"/>
                  </a:moveTo>
                  <a:lnTo>
                    <a:pt x="270" y="26"/>
                  </a:lnTo>
                  <a:lnTo>
                    <a:pt x="10" y="449"/>
                  </a:lnTo>
                  <a:lnTo>
                    <a:pt x="0" y="442"/>
                  </a:lnTo>
                  <a:lnTo>
                    <a:pt x="270" y="0"/>
                  </a:lnTo>
                  <a:lnTo>
                    <a:pt x="545" y="442"/>
                  </a:lnTo>
                  <a:lnTo>
                    <a:pt x="533" y="449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54" name="Freeform 23"/>
            <p:cNvSpPr>
              <a:spLocks/>
            </p:cNvSpPr>
            <p:nvPr/>
          </p:nvSpPr>
          <p:spPr bwMode="auto">
            <a:xfrm>
              <a:off x="-1238" y="-946"/>
              <a:ext cx="956" cy="254"/>
            </a:xfrm>
            <a:custGeom>
              <a:avLst/>
              <a:gdLst>
                <a:gd name="T0" fmla="*/ 481 w 956"/>
                <a:gd name="T1" fmla="*/ 254 h 254"/>
                <a:gd name="T2" fmla="*/ 0 w 956"/>
                <a:gd name="T3" fmla="*/ 11 h 254"/>
                <a:gd name="T4" fmla="*/ 7 w 956"/>
                <a:gd name="T5" fmla="*/ 0 h 254"/>
                <a:gd name="T6" fmla="*/ 481 w 956"/>
                <a:gd name="T7" fmla="*/ 237 h 254"/>
                <a:gd name="T8" fmla="*/ 952 w 956"/>
                <a:gd name="T9" fmla="*/ 0 h 254"/>
                <a:gd name="T10" fmla="*/ 956 w 956"/>
                <a:gd name="T11" fmla="*/ 11 h 254"/>
                <a:gd name="T12" fmla="*/ 481 w 956"/>
                <a:gd name="T13" fmla="*/ 2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6" h="254">
                  <a:moveTo>
                    <a:pt x="481" y="254"/>
                  </a:moveTo>
                  <a:lnTo>
                    <a:pt x="0" y="11"/>
                  </a:lnTo>
                  <a:lnTo>
                    <a:pt x="7" y="0"/>
                  </a:lnTo>
                  <a:lnTo>
                    <a:pt x="481" y="237"/>
                  </a:lnTo>
                  <a:lnTo>
                    <a:pt x="952" y="0"/>
                  </a:lnTo>
                  <a:lnTo>
                    <a:pt x="956" y="11"/>
                  </a:lnTo>
                  <a:lnTo>
                    <a:pt x="481" y="254"/>
                  </a:lnTo>
                  <a:close/>
                </a:path>
              </a:pathLst>
            </a:custGeom>
            <a:solidFill>
              <a:srgbClr val="D61B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sp>
        <p:nvSpPr>
          <p:cNvPr id="2" name="Symbol zastępczy daty 1">
            <a:extLst>
              <a:ext uri="{FF2B5EF4-FFF2-40B4-BE49-F238E27FC236}">
                <a16:creationId xmlns:a16="http://schemas.microsoft.com/office/drawing/2014/main" id="{778FE110-2DC3-4DAC-A92B-3FF565A41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id="{E080F63E-3BF1-4A77-9A46-7A04F586B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12927" y="6356350"/>
            <a:ext cx="4114800" cy="365125"/>
          </a:xfrm>
        </p:spPr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F8A990D4-180F-4F51-806C-CF6FA03EF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184900" y="6356350"/>
            <a:ext cx="2743200" cy="365125"/>
          </a:xfrm>
        </p:spPr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56" name="Symbol zastępczy tekstu 55"/>
          <p:cNvSpPr>
            <a:spLocks noGrp="1"/>
          </p:cNvSpPr>
          <p:nvPr>
            <p:ph type="body" sz="quarter" idx="13" hasCustomPrompt="1"/>
          </p:nvPr>
        </p:nvSpPr>
        <p:spPr>
          <a:xfrm>
            <a:off x="9098015" y="1029781"/>
            <a:ext cx="2560586" cy="341632"/>
          </a:xfrm>
          <a:noFill/>
        </p:spPr>
        <p:txBody>
          <a:bodyPr wrap="square" rtlCol="0">
            <a:normAutofit/>
          </a:bodyPr>
          <a:lstStyle>
            <a:lvl1pPr marL="0" indent="0">
              <a:buNone/>
              <a:defRPr lang="pl-PL" sz="1800" baseline="0" smtClean="0">
                <a:solidFill>
                  <a:schemeClr val="bg1"/>
                </a:solidFill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krótki opis</a:t>
            </a:r>
          </a:p>
        </p:txBody>
      </p:sp>
      <p:sp>
        <p:nvSpPr>
          <p:cNvPr id="57" name="Symbol zastępczy tekstu 55"/>
          <p:cNvSpPr>
            <a:spLocks noGrp="1"/>
          </p:cNvSpPr>
          <p:nvPr>
            <p:ph type="body" sz="quarter" idx="14" hasCustomPrompt="1"/>
          </p:nvPr>
        </p:nvSpPr>
        <p:spPr>
          <a:xfrm>
            <a:off x="9098015" y="2640205"/>
            <a:ext cx="2560586" cy="341632"/>
          </a:xfrm>
          <a:noFill/>
        </p:spPr>
        <p:txBody>
          <a:bodyPr wrap="square" rtlCol="0">
            <a:normAutofit/>
          </a:bodyPr>
          <a:lstStyle>
            <a:lvl1pPr marL="0" indent="0">
              <a:buNone/>
              <a:defRPr lang="pl-PL" sz="1800" baseline="0" smtClean="0">
                <a:solidFill>
                  <a:schemeClr val="bg1"/>
                </a:solidFill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krótki opis</a:t>
            </a:r>
          </a:p>
        </p:txBody>
      </p:sp>
      <p:sp>
        <p:nvSpPr>
          <p:cNvPr id="58" name="Symbol zastępczy tekstu 55"/>
          <p:cNvSpPr>
            <a:spLocks noGrp="1"/>
          </p:cNvSpPr>
          <p:nvPr>
            <p:ph type="body" sz="quarter" idx="15" hasCustomPrompt="1"/>
          </p:nvPr>
        </p:nvSpPr>
        <p:spPr>
          <a:xfrm>
            <a:off x="9098015" y="4215068"/>
            <a:ext cx="2560586" cy="341632"/>
          </a:xfrm>
          <a:noFill/>
        </p:spPr>
        <p:txBody>
          <a:bodyPr wrap="square" rtlCol="0">
            <a:normAutofit/>
          </a:bodyPr>
          <a:lstStyle>
            <a:lvl1pPr marL="0" indent="0">
              <a:buNone/>
              <a:defRPr lang="pl-PL" sz="1800" baseline="0" smtClean="0">
                <a:solidFill>
                  <a:schemeClr val="bg1"/>
                </a:solidFill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krótki opis</a:t>
            </a:r>
          </a:p>
        </p:txBody>
      </p:sp>
      <p:sp>
        <p:nvSpPr>
          <p:cNvPr id="59" name="Symbol zastępczy tekstu 55"/>
          <p:cNvSpPr>
            <a:spLocks noGrp="1"/>
          </p:cNvSpPr>
          <p:nvPr>
            <p:ph type="body" sz="quarter" idx="16" hasCustomPrompt="1"/>
          </p:nvPr>
        </p:nvSpPr>
        <p:spPr>
          <a:xfrm>
            <a:off x="9098015" y="5757919"/>
            <a:ext cx="2560586" cy="341632"/>
          </a:xfrm>
          <a:noFill/>
        </p:spPr>
        <p:txBody>
          <a:bodyPr wrap="square" rtlCol="0">
            <a:normAutofit/>
          </a:bodyPr>
          <a:lstStyle>
            <a:lvl1pPr marL="0" indent="0">
              <a:buNone/>
              <a:defRPr lang="pl-PL" sz="1800" baseline="0" smtClean="0">
                <a:solidFill>
                  <a:schemeClr val="bg1"/>
                </a:solidFill>
              </a:defRPr>
            </a:lvl1pPr>
            <a:lvl2pPr>
              <a:defRPr lang="pl-PL" sz="1800" smtClean="0"/>
            </a:lvl2pPr>
            <a:lvl3pPr>
              <a:defRPr lang="pl-PL" sz="1800" smtClean="0"/>
            </a:lvl3pPr>
            <a:lvl4pPr>
              <a:defRPr lang="pl-PL" smtClean="0"/>
            </a:lvl4pPr>
            <a:lvl5pPr>
              <a:defRPr lang="pl-PL"/>
            </a:lvl5pPr>
          </a:lstStyle>
          <a:p>
            <a:pPr marL="0" lvl="0"/>
            <a:r>
              <a:rPr lang="pl-PL"/>
              <a:t>krótki opis</a:t>
            </a:r>
          </a:p>
        </p:txBody>
      </p:sp>
    </p:spTree>
    <p:extLst>
      <p:ext uri="{BB962C8B-B14F-4D97-AF65-F5344CB8AC3E}">
        <p14:creationId xmlns:p14="http://schemas.microsoft.com/office/powerpoint/2010/main" val="2843056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750"/>
                            </p:stCondLst>
                            <p:childTnLst>
                              <p:par>
                                <p:cTn id="1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75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25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75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750"/>
                            </p:stCondLst>
                            <p:childTnLst>
                              <p:par>
                                <p:cTn id="34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25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750"/>
                            </p:stCondLst>
                            <p:childTnLst>
                              <p:par>
                                <p:cTn id="4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25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750"/>
                            </p:stCondLst>
                            <p:childTnLst>
                              <p:par>
                                <p:cTn id="5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750"/>
                            </p:stCondLst>
                            <p:childTnLst>
                              <p:par>
                                <p:cTn id="5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25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675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25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750"/>
                            </p:stCondLst>
                            <p:childTnLst>
                              <p:par>
                                <p:cTn id="6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7750"/>
                            </p:stCondLst>
                            <p:childTnLst>
                              <p:par>
                                <p:cTn id="72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8250"/>
                            </p:stCondLst>
                            <p:childTnLst>
                              <p:par>
                                <p:cTn id="7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8750"/>
                            </p:stCondLst>
                            <p:childTnLst>
                              <p:par>
                                <p:cTn id="8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9250"/>
                            </p:stCondLst>
                            <p:childTnLst>
                              <p:par>
                                <p:cTn id="8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9750"/>
                            </p:stCondLst>
                            <p:childTnLst>
                              <p:par>
                                <p:cTn id="8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9750"/>
                            </p:stCondLst>
                            <p:childTnLst>
                              <p:par>
                                <p:cTn id="91" presetID="10" presetClass="entr" presetSubtype="0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56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9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ży tytuł i zdję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A86BE1B3-629B-437E-96B1-28A6C4661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547B6776-35B6-4004-9F46-1E4311751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3F17E7D1-38F2-41DB-8464-81CB417EF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12" name="Symbol zastępczy tekstu 11"/>
          <p:cNvSpPr>
            <a:spLocks noGrp="1"/>
          </p:cNvSpPr>
          <p:nvPr>
            <p:ph type="body" sz="quarter" idx="14" hasCustomPrompt="1"/>
          </p:nvPr>
        </p:nvSpPr>
        <p:spPr>
          <a:xfrm>
            <a:off x="272139" y="5732891"/>
            <a:ext cx="11656336" cy="491881"/>
          </a:xfrm>
        </p:spPr>
        <p:txBody>
          <a:bodyPr anchor="t">
            <a:noAutofit/>
          </a:bodyPr>
          <a:lstStyle>
            <a:lvl1pPr marL="0" indent="0" algn="l">
              <a:buNone/>
              <a:defRPr sz="32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pl-PL"/>
              <a:t>Tytuł duży</a:t>
            </a:r>
          </a:p>
        </p:txBody>
      </p:sp>
      <p:sp>
        <p:nvSpPr>
          <p:cNvPr id="7" name="Symbol zastępczy obrazu 6"/>
          <p:cNvSpPr>
            <a:spLocks noGrp="1"/>
          </p:cNvSpPr>
          <p:nvPr>
            <p:ph type="pic" sz="quarter" idx="17"/>
          </p:nvPr>
        </p:nvSpPr>
        <p:spPr>
          <a:xfrm>
            <a:off x="263525" y="1277484"/>
            <a:ext cx="11664950" cy="410731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endParaRPr lang="pl-PL"/>
          </a:p>
          <a:p>
            <a:endParaRPr lang="pl-PL"/>
          </a:p>
          <a:p>
            <a:endParaRPr lang="pl-PL"/>
          </a:p>
          <a:p>
            <a:endParaRPr lang="pl-PL"/>
          </a:p>
          <a:p>
            <a:endParaRPr lang="pl-PL"/>
          </a:p>
          <a:p>
            <a:r>
              <a:rPr lang="pl-PL"/>
              <a:t>Aby dodać zdjęcie kliknij ikonę</a:t>
            </a:r>
          </a:p>
        </p:txBody>
      </p:sp>
      <p:sp useBgFill="1">
        <p:nvSpPr>
          <p:cNvPr id="9" name="Prostokąt 8"/>
          <p:cNvSpPr/>
          <p:nvPr userDrawn="1"/>
        </p:nvSpPr>
        <p:spPr>
          <a:xfrm>
            <a:off x="2641600" y="203200"/>
            <a:ext cx="215900" cy="850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74821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ytuł, zdjęcie, opis i lista punktowa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raz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0800000">
            <a:off x="10033000" y="-1"/>
            <a:ext cx="2135970" cy="191823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ABCCA57F-370C-495A-BDF6-D2A28DD89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A86BE1B3-629B-437E-96B1-28A6C4661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547B6776-35B6-4004-9F46-1E4311751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3F17E7D1-38F2-41DB-8464-81CB417EF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8" name="Symbol zastępczy zawartości 7"/>
          <p:cNvSpPr>
            <a:spLocks noGrp="1"/>
          </p:cNvSpPr>
          <p:nvPr>
            <p:ph sz="quarter" idx="13"/>
          </p:nvPr>
        </p:nvSpPr>
        <p:spPr>
          <a:xfrm>
            <a:off x="6376988" y="1277938"/>
            <a:ext cx="5551487" cy="481806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 baseline="0"/>
            </a:lvl1pPr>
          </a:lstStyle>
          <a:p>
            <a:pPr lvl="0"/>
            <a:endParaRPr lang="pl-PL"/>
          </a:p>
          <a:p>
            <a:pPr lvl="0"/>
            <a:endParaRPr lang="pl-PL"/>
          </a:p>
          <a:p>
            <a:pPr lvl="0"/>
            <a:endParaRPr lang="pl-PL"/>
          </a:p>
          <a:p>
            <a:pPr lvl="0"/>
            <a:endParaRPr lang="pl-PL"/>
          </a:p>
          <a:p>
            <a:pPr lvl="0"/>
            <a:endParaRPr lang="pl-PL"/>
          </a:p>
          <a:p>
            <a:pPr lvl="0"/>
            <a:r>
              <a:rPr lang="pl-PL"/>
              <a:t>Proszę kliknąć ikonę aby dodać obiekt</a:t>
            </a:r>
          </a:p>
        </p:txBody>
      </p:sp>
      <p:cxnSp>
        <p:nvCxnSpPr>
          <p:cNvPr id="10" name="Łącznik prosty 9"/>
          <p:cNvCxnSpPr/>
          <p:nvPr userDrawn="1"/>
        </p:nvCxnSpPr>
        <p:spPr>
          <a:xfrm>
            <a:off x="0" y="2203939"/>
            <a:ext cx="5627077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ymbol zastępczy tekstu 11"/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1660769"/>
            <a:ext cx="5364163" cy="491881"/>
          </a:xfrm>
        </p:spPr>
        <p:txBody>
          <a:bodyPr anchor="b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pl-PL"/>
              <a:t>Tytuł</a:t>
            </a:r>
          </a:p>
        </p:txBody>
      </p:sp>
      <p:sp>
        <p:nvSpPr>
          <p:cNvPr id="14" name="Symbol zastępczy tekstu 13"/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2449514"/>
            <a:ext cx="5364163" cy="1713280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8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15" name="Symbol zastępczy tekstu 13"/>
          <p:cNvSpPr>
            <a:spLocks noGrp="1"/>
          </p:cNvSpPr>
          <p:nvPr>
            <p:ph type="body" sz="quarter" idx="16" hasCustomPrompt="1"/>
          </p:nvPr>
        </p:nvSpPr>
        <p:spPr>
          <a:xfrm>
            <a:off x="263525" y="4431692"/>
            <a:ext cx="5364163" cy="1664308"/>
          </a:xfrm>
        </p:spPr>
        <p:txBody>
          <a:bodyPr>
            <a:normAutofit/>
          </a:bodyPr>
          <a:lstStyle>
            <a:lvl1pPr marL="285750" indent="-285750">
              <a:lnSpc>
                <a:spcPct val="80000"/>
              </a:lnSpc>
              <a:buClr>
                <a:schemeClr val="accent1"/>
              </a:buClr>
              <a:buFont typeface="Symbol" panose="05050102010706020507" pitchFamily="18" charset="2"/>
              <a:buChar char=""/>
              <a:defRPr sz="1800" baseline="0"/>
            </a:lvl1pPr>
          </a:lstStyle>
          <a:p>
            <a:pPr lvl="0"/>
            <a:r>
              <a:rPr lang="pl-PL"/>
              <a:t>Lista</a:t>
            </a:r>
          </a:p>
          <a:p>
            <a:pPr lvl="0"/>
            <a:r>
              <a:rPr lang="pl-PL"/>
              <a:t>Lista</a:t>
            </a:r>
          </a:p>
        </p:txBody>
      </p:sp>
    </p:spTree>
    <p:extLst>
      <p:ext uri="{BB962C8B-B14F-4D97-AF65-F5344CB8AC3E}">
        <p14:creationId xmlns:p14="http://schemas.microsoft.com/office/powerpoint/2010/main" val="2584090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owy i zdję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raz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59043"/>
            <a:ext cx="3339360" cy="299895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ABCCA57F-370C-495A-BDF6-D2A28DD89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A86BE1B3-629B-437E-96B1-28A6C4661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547B6776-35B6-4004-9F46-1E4311751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3F17E7D1-38F2-41DB-8464-81CB417EF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cxnSp>
        <p:nvCxnSpPr>
          <p:cNvPr id="10" name="Łącznik prosty 9"/>
          <p:cNvCxnSpPr/>
          <p:nvPr userDrawn="1"/>
        </p:nvCxnSpPr>
        <p:spPr>
          <a:xfrm>
            <a:off x="0" y="2037025"/>
            <a:ext cx="80137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ymbol zastępczy tekstu 11"/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1399907"/>
            <a:ext cx="7750175" cy="491881"/>
          </a:xfrm>
        </p:spPr>
        <p:txBody>
          <a:bodyPr anchor="b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pl-PL"/>
              <a:t>Tytuł</a:t>
            </a:r>
          </a:p>
        </p:txBody>
      </p:sp>
      <p:sp>
        <p:nvSpPr>
          <p:cNvPr id="14" name="Symbol zastępczy tekstu 13"/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2211291"/>
            <a:ext cx="7750175" cy="3757709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8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7" name="Symbol zastępczy obrazu 6"/>
          <p:cNvSpPr>
            <a:spLocks noGrp="1"/>
          </p:cNvSpPr>
          <p:nvPr>
            <p:ph type="pic" sz="quarter" idx="17"/>
          </p:nvPr>
        </p:nvSpPr>
        <p:spPr>
          <a:xfrm>
            <a:off x="8153400" y="1371601"/>
            <a:ext cx="3775075" cy="45974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pl-PL"/>
          </a:p>
          <a:p>
            <a:endParaRPr lang="pl-PL"/>
          </a:p>
          <a:p>
            <a:endParaRPr lang="pl-PL"/>
          </a:p>
          <a:p>
            <a:r>
              <a:rPr lang="pl-PL"/>
              <a:t>Kliknij ikonę aby dodać obraz</a:t>
            </a:r>
          </a:p>
        </p:txBody>
      </p:sp>
    </p:spTree>
    <p:extLst>
      <p:ext uri="{BB962C8B-B14F-4D97-AF65-F5344CB8AC3E}">
        <p14:creationId xmlns:p14="http://schemas.microsoft.com/office/powerpoint/2010/main" val="1718231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8794082" cy="424732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8943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ylko tytuł z trójkątami w 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68892" y="0"/>
            <a:ext cx="3123108" cy="270827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59043"/>
            <a:ext cx="3339360" cy="299895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6480064" cy="424732"/>
          </a:xfrm>
        </p:spPr>
        <p:txBody>
          <a:bodyPr anchor="ctr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0737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BCCA57F-370C-495A-BDF6-D2A28DD89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5544B7A4-1675-4A4E-A7A2-BA3E81F1B4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3525" y="1244600"/>
            <a:ext cx="11664949" cy="4932363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Symbol" panose="05050102010706020507" pitchFamily="18" charset="2"/>
              <a:buChar char="¨"/>
              <a:defRPr/>
            </a:lvl1pPr>
            <a:lvl2pPr marL="685800" indent="-228600">
              <a:buClr>
                <a:schemeClr val="accent1"/>
              </a:buClr>
              <a:buFont typeface="Symbol" panose="05050102010706020507" pitchFamily="18" charset="2"/>
              <a:buChar char="¨"/>
              <a:defRPr/>
            </a:lvl2pPr>
            <a:lvl3pPr marL="1143000" indent="-228600">
              <a:buClr>
                <a:schemeClr val="accent1"/>
              </a:buClr>
              <a:buFont typeface="Symbol" panose="05050102010706020507" pitchFamily="18" charset="2"/>
              <a:buChar char="¨"/>
              <a:defRPr/>
            </a:lvl3pPr>
            <a:lvl4pPr marL="1600200" indent="-228600">
              <a:buClr>
                <a:schemeClr val="accent1"/>
              </a:buClr>
              <a:buFont typeface="Symbol" panose="05050102010706020507" pitchFamily="18" charset="2"/>
              <a:buChar char="¨"/>
              <a:defRPr/>
            </a:lvl4pPr>
            <a:lvl5pPr marL="2057400" indent="-228600">
              <a:buClr>
                <a:schemeClr val="accent1"/>
              </a:buClr>
              <a:buFont typeface="Symbol" panose="05050102010706020507" pitchFamily="18" charset="2"/>
              <a:buChar char="¨"/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A86BE1B3-629B-437E-96B1-28A6C4661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547B6776-35B6-4004-9F46-1E4311751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3F17E7D1-38F2-41DB-8464-81CB417EF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5638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>
            <a:extLst>
              <a:ext uri="{FF2B5EF4-FFF2-40B4-BE49-F238E27FC236}">
                <a16:creationId xmlns:a16="http://schemas.microsoft.com/office/drawing/2014/main" id="{778FE110-2DC3-4DAC-A92B-3FF565A41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id="{E080F63E-3BF1-4A77-9A46-7A04F586B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F8A990D4-180F-4F51-806C-CF6FA03EF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09104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 -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>
            <a:extLst>
              <a:ext uri="{FF2B5EF4-FFF2-40B4-BE49-F238E27FC236}">
                <a16:creationId xmlns:a16="http://schemas.microsoft.com/office/drawing/2014/main" id="{778FE110-2DC3-4DAC-A92B-3FF565A41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id="{E080F63E-3BF1-4A77-9A46-7A04F586B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id="{F8A990D4-180F-4F51-806C-CF6FA03EF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sp>
        <p:nvSpPr>
          <p:cNvPr id="6" name="Prostokąt 5"/>
          <p:cNvSpPr/>
          <p:nvPr userDrawn="1"/>
        </p:nvSpPr>
        <p:spPr>
          <a:xfrm>
            <a:off x="2578100" y="88900"/>
            <a:ext cx="419100" cy="1041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87819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owy i zdję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raz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59043"/>
            <a:ext cx="3339360" cy="299895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ABCCA57F-370C-495A-BDF6-D2A28DD89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A86BE1B3-629B-437E-96B1-28A6C4661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547B6776-35B6-4004-9F46-1E4311751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3F17E7D1-38F2-41DB-8464-81CB417EF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cxnSp>
        <p:nvCxnSpPr>
          <p:cNvPr id="10" name="Łącznik prosty 9"/>
          <p:cNvCxnSpPr/>
          <p:nvPr userDrawn="1"/>
        </p:nvCxnSpPr>
        <p:spPr>
          <a:xfrm>
            <a:off x="0" y="2037025"/>
            <a:ext cx="8013700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ymbol zastępczy tekstu 11"/>
          <p:cNvSpPr>
            <a:spLocks noGrp="1"/>
          </p:cNvSpPr>
          <p:nvPr>
            <p:ph type="body" sz="quarter" idx="14" hasCustomPrompt="1"/>
          </p:nvPr>
        </p:nvSpPr>
        <p:spPr>
          <a:xfrm>
            <a:off x="263525" y="1399907"/>
            <a:ext cx="7750175" cy="491881"/>
          </a:xfrm>
        </p:spPr>
        <p:txBody>
          <a:bodyPr anchor="b"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pl-PL"/>
              <a:t>Tytuł</a:t>
            </a:r>
          </a:p>
        </p:txBody>
      </p:sp>
      <p:sp>
        <p:nvSpPr>
          <p:cNvPr id="14" name="Symbol zastępczy tekstu 13"/>
          <p:cNvSpPr>
            <a:spLocks noGrp="1"/>
          </p:cNvSpPr>
          <p:nvPr>
            <p:ph type="body" sz="quarter" idx="15" hasCustomPrompt="1"/>
          </p:nvPr>
        </p:nvSpPr>
        <p:spPr>
          <a:xfrm>
            <a:off x="263525" y="2211291"/>
            <a:ext cx="7750175" cy="3757709"/>
          </a:xfr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800" baseline="0"/>
            </a:lvl1pPr>
          </a:lstStyle>
          <a:p>
            <a:pPr lvl="0"/>
            <a:r>
              <a:rPr lang="pl-PL"/>
              <a:t>Miejsce na opis</a:t>
            </a:r>
          </a:p>
        </p:txBody>
      </p:sp>
      <p:sp>
        <p:nvSpPr>
          <p:cNvPr id="7" name="Symbol zastępczy obrazu 6"/>
          <p:cNvSpPr>
            <a:spLocks noGrp="1"/>
          </p:cNvSpPr>
          <p:nvPr>
            <p:ph type="pic" sz="quarter" idx="17"/>
          </p:nvPr>
        </p:nvSpPr>
        <p:spPr>
          <a:xfrm>
            <a:off x="8153400" y="1371601"/>
            <a:ext cx="3775075" cy="45974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pl-PL"/>
          </a:p>
          <a:p>
            <a:endParaRPr lang="pl-PL"/>
          </a:p>
          <a:p>
            <a:endParaRPr lang="pl-PL"/>
          </a:p>
          <a:p>
            <a:r>
              <a:rPr lang="pl-PL"/>
              <a:t>Kliknij ikonę aby dodać obraz</a:t>
            </a:r>
          </a:p>
        </p:txBody>
      </p:sp>
    </p:spTree>
    <p:extLst>
      <p:ext uri="{BB962C8B-B14F-4D97-AF65-F5344CB8AC3E}">
        <p14:creationId xmlns:p14="http://schemas.microsoft.com/office/powerpoint/2010/main" val="3521969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1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8794082" cy="424732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91760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ylko tytuł z trójkątami w 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68892" y="0"/>
            <a:ext cx="3123108" cy="270827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859043"/>
            <a:ext cx="3339360" cy="299895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ytuł 1">
            <a:extLst>
              <a:ext uri="{FF2B5EF4-FFF2-40B4-BE49-F238E27FC236}">
                <a16:creationId xmlns:a16="http://schemas.microsoft.com/office/drawing/2014/main" id="{278FBDD6-1A99-4C3D-A4D7-84D5495F86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2" y="404749"/>
            <a:ext cx="6480064" cy="424732"/>
          </a:xfrm>
        </p:spPr>
        <p:txBody>
          <a:bodyPr anchor="ctr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E3567268-5057-4338-828D-0E34E4E9B3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A699A8B-1348-4540-9ADB-DF96EADE4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7508BA18-D015-45B9-AC7C-AD47132F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2697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BCCA57F-370C-495A-BDF6-D2A28DD89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5544B7A4-1675-4A4E-A7A2-BA3E81F1B4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3525" y="1244600"/>
            <a:ext cx="11664949" cy="4932363"/>
          </a:xfrm>
        </p:spPr>
        <p:txBody>
          <a:bodyPr/>
          <a:lstStyle>
            <a:lvl1pPr marL="228600" indent="-228600">
              <a:buClr>
                <a:schemeClr val="accent1"/>
              </a:buClr>
              <a:buFont typeface="Symbol" panose="05050102010706020507" pitchFamily="18" charset="2"/>
              <a:buChar char="¨"/>
              <a:defRPr/>
            </a:lvl1pPr>
            <a:lvl2pPr marL="685800" indent="-228600">
              <a:buClr>
                <a:schemeClr val="accent1"/>
              </a:buClr>
              <a:buFont typeface="Symbol" panose="05050102010706020507" pitchFamily="18" charset="2"/>
              <a:buChar char="¨"/>
              <a:defRPr/>
            </a:lvl2pPr>
            <a:lvl3pPr marL="1143000" indent="-228600">
              <a:buClr>
                <a:schemeClr val="accent1"/>
              </a:buClr>
              <a:buFont typeface="Symbol" panose="05050102010706020507" pitchFamily="18" charset="2"/>
              <a:buChar char="¨"/>
              <a:defRPr/>
            </a:lvl3pPr>
            <a:lvl4pPr marL="1600200" indent="-228600">
              <a:buClr>
                <a:schemeClr val="accent1"/>
              </a:buClr>
              <a:buFont typeface="Symbol" panose="05050102010706020507" pitchFamily="18" charset="2"/>
              <a:buChar char="¨"/>
              <a:defRPr/>
            </a:lvl4pPr>
            <a:lvl5pPr marL="2057400" indent="-228600">
              <a:buClr>
                <a:schemeClr val="accent1"/>
              </a:buClr>
              <a:buFont typeface="Symbol" panose="05050102010706020507" pitchFamily="18" charset="2"/>
              <a:buChar char="¨"/>
              <a:defRPr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A86BE1B3-629B-437E-96B1-28A6C4661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547B6776-35B6-4004-9F46-1E4311751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3F17E7D1-38F2-41DB-8464-81CB417EF7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48484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13.png"/><Relationship Id="rId5" Type="http://schemas.openxmlformats.org/officeDocument/2006/relationships/slideLayout" Target="../slideLayouts/slideLayout2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5.xml"/><Relationship Id="rId10" Type="http://schemas.openxmlformats.org/officeDocument/2006/relationships/image" Target="../media/image13.png"/><Relationship Id="rId4" Type="http://schemas.openxmlformats.org/officeDocument/2006/relationships/slideLayout" Target="../slideLayouts/slideLayout44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4F6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8EC38547-9B31-49F3-BFD2-C5A9864CD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1" y="404749"/>
            <a:ext cx="8974253" cy="424732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lvl="0"/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05B0593B-1F8A-45AB-8D3E-D01DCD81E6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3525" y="1289538"/>
            <a:ext cx="11664949" cy="4887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8CD05136-6C92-4CAD-A79A-96D213E80C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9241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C073D2A9-FB3E-47BF-8A67-9C171BB7F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33132933-9B1C-4FF8-8871-5D452D602B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5274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084267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61" r:id="rId2"/>
    <p:sldLayoutId id="2147483663" r:id="rId3"/>
    <p:sldLayoutId id="2147483665" r:id="rId4"/>
    <p:sldLayoutId id="2147483664" r:id="rId5"/>
    <p:sldLayoutId id="2147483666" r:id="rId6"/>
    <p:sldLayoutId id="2147483654" r:id="rId7"/>
    <p:sldLayoutId id="2147483660" r:id="rId8"/>
    <p:sldLayoutId id="2147483650" r:id="rId9"/>
    <p:sldLayoutId id="2147483655" r:id="rId10"/>
    <p:sldLayoutId id="2147483662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l-PL" sz="2400" kern="1200">
          <a:solidFill>
            <a:schemeClr val="accent3"/>
          </a:solidFill>
          <a:latin typeface="+mj-lt"/>
          <a:ea typeface="+mn-ea"/>
          <a:cs typeface="+mn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Symbol" panose="05050102010706020507" pitchFamily="18" charset="2"/>
        <a:buChar char="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166" userDrawn="1">
          <p15:clr>
            <a:srgbClr val="F26B43"/>
          </p15:clr>
        </p15:guide>
        <p15:guide id="3" pos="7514" userDrawn="1">
          <p15:clr>
            <a:srgbClr val="F26B43"/>
          </p15:clr>
        </p15:guide>
        <p15:guide id="4" orient="horz" pos="216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4F6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8EC38547-9B31-49F3-BFD2-C5A9864CD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1" y="404749"/>
            <a:ext cx="8974253" cy="424732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lvl="0"/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05B0593B-1F8A-45AB-8D3E-D01DCD81E6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3525" y="1289538"/>
            <a:ext cx="11664949" cy="4887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8CD05136-6C92-4CAD-A79A-96D213E80C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9241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C073D2A9-FB3E-47BF-8A67-9C171BB7F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33132933-9B1C-4FF8-8871-5D452D602B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5274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pic>
        <p:nvPicPr>
          <p:cNvPr id="7" name="Obraz 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416" y="272748"/>
            <a:ext cx="2158684" cy="664986"/>
          </a:xfrm>
          <a:prstGeom prst="rect">
            <a:avLst/>
          </a:prstGeom>
        </p:spPr>
      </p:pic>
      <p:cxnSp>
        <p:nvCxnSpPr>
          <p:cNvPr id="9" name="Łącznik prosty 8"/>
          <p:cNvCxnSpPr/>
          <p:nvPr userDrawn="1"/>
        </p:nvCxnSpPr>
        <p:spPr>
          <a:xfrm>
            <a:off x="2748625" y="210564"/>
            <a:ext cx="0" cy="813102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1177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76" r:id="rId2"/>
    <p:sldLayoutId id="2147483677" r:id="rId3"/>
    <p:sldLayoutId id="2147483678" r:id="rId4"/>
    <p:sldLayoutId id="2147483694" r:id="rId5"/>
    <p:sldLayoutId id="2147483679" r:id="rId6"/>
    <p:sldLayoutId id="2147483674" r:id="rId7"/>
    <p:sldLayoutId id="2147483675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l-PL" sz="2400" kern="1200">
          <a:solidFill>
            <a:schemeClr val="accent3"/>
          </a:solidFill>
          <a:latin typeface="+mj-lt"/>
          <a:ea typeface="+mn-ea"/>
          <a:cs typeface="+mn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Symbol" panose="05050102010706020507" pitchFamily="18" charset="2"/>
        <a:buChar char="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166">
          <p15:clr>
            <a:srgbClr val="F26B43"/>
          </p15:clr>
        </p15:guide>
        <p15:guide id="3" pos="7514">
          <p15:clr>
            <a:srgbClr val="F26B43"/>
          </p15:clr>
        </p15:guide>
        <p15:guide id="4" orient="horz" pos="21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4F6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8EC38547-9B31-49F3-BFD2-C5A9864CD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1" y="404749"/>
            <a:ext cx="8974253" cy="424732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lvl="0"/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05B0593B-1F8A-45AB-8D3E-D01DCD81E6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3525" y="1289538"/>
            <a:ext cx="11664949" cy="4887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8CD05136-6C92-4CAD-A79A-96D213E80C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9241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C073D2A9-FB3E-47BF-8A67-9C171BB7F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33132933-9B1C-4FF8-8871-5D452D602B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5274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pic>
        <p:nvPicPr>
          <p:cNvPr id="7" name="Obraz 6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416" y="272748"/>
            <a:ext cx="2158684" cy="664986"/>
          </a:xfrm>
          <a:prstGeom prst="rect">
            <a:avLst/>
          </a:prstGeom>
        </p:spPr>
      </p:pic>
      <p:cxnSp>
        <p:nvCxnSpPr>
          <p:cNvPr id="9" name="Łącznik prosty 8"/>
          <p:cNvCxnSpPr/>
          <p:nvPr userDrawn="1"/>
        </p:nvCxnSpPr>
        <p:spPr>
          <a:xfrm>
            <a:off x="2748625" y="210564"/>
            <a:ext cx="0" cy="813102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2341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88" r:id="rId2"/>
    <p:sldLayoutId id="2147483686" r:id="rId3"/>
    <p:sldLayoutId id="2147483687" r:id="rId4"/>
    <p:sldLayoutId id="2147483690" r:id="rId5"/>
    <p:sldLayoutId id="2147483691" r:id="rId6"/>
    <p:sldLayoutId id="2147483689" r:id="rId7"/>
    <p:sldLayoutId id="2147483693" r:id="rId8"/>
    <p:sldLayoutId id="2147483692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l-PL" sz="2400" kern="1200">
          <a:solidFill>
            <a:schemeClr val="accent3"/>
          </a:solidFill>
          <a:latin typeface="+mj-lt"/>
          <a:ea typeface="+mn-ea"/>
          <a:cs typeface="+mn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Symbol" panose="05050102010706020507" pitchFamily="18" charset="2"/>
        <a:buChar char="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166">
          <p15:clr>
            <a:srgbClr val="F26B43"/>
          </p15:clr>
        </p15:guide>
        <p15:guide id="3" pos="7514">
          <p15:clr>
            <a:srgbClr val="F26B43"/>
          </p15:clr>
        </p15:guide>
        <p15:guide id="4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4F6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E415F313-D982-408E-89F5-5D3678D47A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61532FC0-52BE-4924-BA45-B68E5578B4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327A0DD8-03F0-444F-8B5D-49B4CCADB3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Montserrat" panose="00000500000000000000" pitchFamily="2" charset="-18"/>
              </a:defRPr>
            </a:lvl1pPr>
          </a:lstStyle>
          <a:p>
            <a:fld id="{862D69CF-B32D-4AAB-9F74-E49E94F4F73C}" type="datetimeFigureOut">
              <a:rPr lang="pl-PL" smtClean="0"/>
              <a:pPr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C7BF10AA-37B7-4306-B8CB-CD8FB91ACC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Montserrat" panose="00000500000000000000" pitchFamily="2" charset="-18"/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D80BEE4F-6F06-4190-93D2-28230AB51B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Montserrat" panose="00000500000000000000" pitchFamily="2" charset="-18"/>
              </a:defRPr>
            </a:lvl1pPr>
          </a:lstStyle>
          <a:p>
            <a:fld id="{5843D50D-D2A4-4581-A52E-D3DCFCCAB030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24525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ontserrat" panose="00000500000000000000" pitchFamily="2" charset="-18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ontserrat" panose="00000500000000000000" pitchFamily="2" charset="-18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ontserrat" panose="00000500000000000000" pitchFamily="2" charset="-18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ontserrat" panose="00000500000000000000" pitchFamily="2" charset="-18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ontserrat" panose="00000500000000000000" pitchFamily="2" charset="-18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4F6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8EC38547-9B31-49F3-BFD2-C5A9864CD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1" y="404749"/>
            <a:ext cx="8974253" cy="424732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lvl="0"/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05B0593B-1F8A-45AB-8D3E-D01DCD81E6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3525" y="1289538"/>
            <a:ext cx="11664949" cy="4887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8CD05136-6C92-4CAD-A79A-96D213E80C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9241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C073D2A9-FB3E-47BF-8A67-9C171BB7F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33132933-9B1C-4FF8-8871-5D452D602B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5274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pic>
        <p:nvPicPr>
          <p:cNvPr id="7" name="Obraz 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416" y="272748"/>
            <a:ext cx="2158684" cy="664986"/>
          </a:xfrm>
          <a:prstGeom prst="rect">
            <a:avLst/>
          </a:prstGeom>
        </p:spPr>
      </p:pic>
      <p:cxnSp>
        <p:nvCxnSpPr>
          <p:cNvPr id="9" name="Łącznik prosty 8"/>
          <p:cNvCxnSpPr/>
          <p:nvPr userDrawn="1"/>
        </p:nvCxnSpPr>
        <p:spPr>
          <a:xfrm>
            <a:off x="2748625" y="210564"/>
            <a:ext cx="0" cy="813102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2970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l-PL" sz="2400" kern="1200">
          <a:solidFill>
            <a:schemeClr val="accent3"/>
          </a:solidFill>
          <a:latin typeface="+mj-lt"/>
          <a:ea typeface="+mn-ea"/>
          <a:cs typeface="+mn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Symbol" panose="05050102010706020507" pitchFamily="18" charset="2"/>
        <a:buChar char="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166">
          <p15:clr>
            <a:srgbClr val="F26B43"/>
          </p15:clr>
        </p15:guide>
        <p15:guide id="3" pos="7514">
          <p15:clr>
            <a:srgbClr val="F26B43"/>
          </p15:clr>
        </p15:guide>
        <p15:guide id="4" orient="horz" pos="21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8EC38547-9B31-49F3-BFD2-C5A9864CD1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1" y="404749"/>
            <a:ext cx="8974253" cy="424732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lvl="0"/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05B0593B-1F8A-45AB-8D3E-D01DCD81E6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3525" y="1289538"/>
            <a:ext cx="11664949" cy="4887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8CD05136-6C92-4CAD-A79A-96D213E80C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9241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3C8690-AB71-46E6-8A33-1E0175D7FF35}" type="datetimeFigureOut">
              <a:rPr lang="pl-PL" smtClean="0"/>
              <a:t>30.08.2023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C073D2A9-FB3E-47BF-8A67-9C171BB7FE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33132933-9B1C-4FF8-8871-5D452D602B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5274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FFB41B-1E5D-4C8A-92EE-9FCF8AFDBAD9}" type="slidenum">
              <a:rPr lang="pl-PL" smtClean="0"/>
              <a:t>‹#›</a:t>
            </a:fld>
            <a:endParaRPr lang="pl-PL"/>
          </a:p>
        </p:txBody>
      </p:sp>
      <p:pic>
        <p:nvPicPr>
          <p:cNvPr id="7" name="Obraz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416" y="272748"/>
            <a:ext cx="2158684" cy="664986"/>
          </a:xfrm>
          <a:prstGeom prst="rect">
            <a:avLst/>
          </a:prstGeom>
        </p:spPr>
      </p:pic>
      <p:cxnSp>
        <p:nvCxnSpPr>
          <p:cNvPr id="9" name="Łącznik prosty 8"/>
          <p:cNvCxnSpPr/>
          <p:nvPr userDrawn="1"/>
        </p:nvCxnSpPr>
        <p:spPr>
          <a:xfrm>
            <a:off x="2748625" y="210564"/>
            <a:ext cx="0" cy="813102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2418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l-PL" sz="2400" kern="1200">
          <a:solidFill>
            <a:schemeClr val="accent3"/>
          </a:solidFill>
          <a:latin typeface="+mj-lt"/>
          <a:ea typeface="+mn-ea"/>
          <a:cs typeface="+mn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Symbol" panose="05050102010706020507" pitchFamily="18" charset="2"/>
        <a:buChar char="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Symbol" panose="05050102010706020507" pitchFamily="18" charset="2"/>
        <a:buChar char="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166">
          <p15:clr>
            <a:srgbClr val="F26B43"/>
          </p15:clr>
        </p15:guide>
        <p15:guide id="3" pos="7514">
          <p15:clr>
            <a:srgbClr val="F26B43"/>
          </p15:clr>
        </p15:guide>
        <p15:guide id="4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" Target="slide1.xml"/><Relationship Id="rId7" Type="http://schemas.openxmlformats.org/officeDocument/2006/relationships/image" Target="../media/image1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Relationship Id="rId6" Type="http://schemas.openxmlformats.org/officeDocument/2006/relationships/hyperlink" Target="https://youtu.be/qpQ-IFhbGeo" TargetMode="External"/><Relationship Id="rId5" Type="http://schemas.openxmlformats.org/officeDocument/2006/relationships/hyperlink" Target="https://6857380.fs1.hubspotusercontent-na1.net/hubfs/6857380/Wprowadzenie%20do%20Extended%20DISC%C2%AE.mp4" TargetMode="External"/><Relationship Id="rId10" Type="http://schemas.openxmlformats.org/officeDocument/2006/relationships/image" Target="../media/image22.svg"/><Relationship Id="rId4" Type="http://schemas.openxmlformats.org/officeDocument/2006/relationships/image" Target="../media/image17.png"/><Relationship Id="rId9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7" Type="http://schemas.openxmlformats.org/officeDocument/2006/relationships/image" Target="../media/image25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3.svg"/><Relationship Id="rId3" Type="http://schemas.openxmlformats.org/officeDocument/2006/relationships/image" Target="../media/image13.png"/><Relationship Id="rId7" Type="http://schemas.openxmlformats.org/officeDocument/2006/relationships/image" Target="../media/image27.sv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6.png"/><Relationship Id="rId11" Type="http://schemas.openxmlformats.org/officeDocument/2006/relationships/image" Target="../media/image31.svg"/><Relationship Id="rId5" Type="http://schemas.openxmlformats.org/officeDocument/2006/relationships/image" Target="../media/image17.png"/><Relationship Id="rId15" Type="http://schemas.openxmlformats.org/officeDocument/2006/relationships/image" Target="../media/image35.svg"/><Relationship Id="rId10" Type="http://schemas.openxmlformats.org/officeDocument/2006/relationships/image" Target="../media/image30.png"/><Relationship Id="rId4" Type="http://schemas.openxmlformats.org/officeDocument/2006/relationships/slide" Target="slide1.xml"/><Relationship Id="rId9" Type="http://schemas.openxmlformats.org/officeDocument/2006/relationships/image" Target="../media/image29.svg"/><Relationship Id="rId14" Type="http://schemas.openxmlformats.org/officeDocument/2006/relationships/image" Target="../media/image3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13" Type="http://schemas.openxmlformats.org/officeDocument/2006/relationships/image" Target="../media/image40.png"/><Relationship Id="rId3" Type="http://schemas.openxmlformats.org/officeDocument/2006/relationships/slide" Target="slide1.xml"/><Relationship Id="rId7" Type="http://schemas.openxmlformats.org/officeDocument/2006/relationships/image" Target="../media/image36.png"/><Relationship Id="rId12" Type="http://schemas.openxmlformats.org/officeDocument/2006/relationships/image" Target="../media/image29.svg"/><Relationship Id="rId2" Type="http://schemas.openxmlformats.org/officeDocument/2006/relationships/image" Target="../media/image13.png"/><Relationship Id="rId16" Type="http://schemas.openxmlformats.org/officeDocument/2006/relationships/image" Target="../media/image43.sv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7.svg"/><Relationship Id="rId11" Type="http://schemas.openxmlformats.org/officeDocument/2006/relationships/image" Target="../media/image28.png"/><Relationship Id="rId5" Type="http://schemas.openxmlformats.org/officeDocument/2006/relationships/image" Target="../media/image26.png"/><Relationship Id="rId15" Type="http://schemas.openxmlformats.org/officeDocument/2006/relationships/image" Target="../media/image42.png"/><Relationship Id="rId10" Type="http://schemas.openxmlformats.org/officeDocument/2006/relationships/image" Target="../media/image39.svg"/><Relationship Id="rId4" Type="http://schemas.openxmlformats.org/officeDocument/2006/relationships/image" Target="../media/image17.png"/><Relationship Id="rId9" Type="http://schemas.openxmlformats.org/officeDocument/2006/relationships/image" Target="../media/image38.png"/><Relationship Id="rId14" Type="http://schemas.openxmlformats.org/officeDocument/2006/relationships/image" Target="../media/image4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4.pn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7" Type="http://schemas.openxmlformats.org/officeDocument/2006/relationships/image" Target="../media/image4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18" Type="http://schemas.openxmlformats.org/officeDocument/2006/relationships/image" Target="../media/image60.png"/><Relationship Id="rId3" Type="http://schemas.openxmlformats.org/officeDocument/2006/relationships/image" Target="../media/image48.png"/><Relationship Id="rId21" Type="http://schemas.openxmlformats.org/officeDocument/2006/relationships/image" Target="../media/image63.png"/><Relationship Id="rId7" Type="http://schemas.openxmlformats.org/officeDocument/2006/relationships/image" Target="../media/image17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58.jpeg"/><Relationship Id="rId20" Type="http://schemas.openxmlformats.org/officeDocument/2006/relationships/image" Target="../media/image62.png"/><Relationship Id="rId1" Type="http://schemas.openxmlformats.org/officeDocument/2006/relationships/slideLayout" Target="../slideLayouts/slideLayout58.xml"/><Relationship Id="rId6" Type="http://schemas.openxmlformats.org/officeDocument/2006/relationships/slide" Target="slide1.xml"/><Relationship Id="rId11" Type="http://schemas.openxmlformats.org/officeDocument/2006/relationships/image" Target="../media/image53.png"/><Relationship Id="rId5" Type="http://schemas.openxmlformats.org/officeDocument/2006/relationships/image" Target="../media/image13.png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19" Type="http://schemas.openxmlformats.org/officeDocument/2006/relationships/image" Target="../media/image61.png"/><Relationship Id="rId4" Type="http://schemas.openxmlformats.org/officeDocument/2006/relationships/image" Target="../media/image49.svg"/><Relationship Id="rId9" Type="http://schemas.openxmlformats.org/officeDocument/2006/relationships/image" Target="../media/image51.png"/><Relationship Id="rId14" Type="http://schemas.openxmlformats.org/officeDocument/2006/relationships/image" Target="../media/image56.png"/><Relationship Id="rId22" Type="http://schemas.openxmlformats.org/officeDocument/2006/relationships/image" Target="../media/image6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mailto:justyna.duda@extended.tools&#8203;" TargetMode="External"/><Relationship Id="rId3" Type="http://schemas.openxmlformats.org/officeDocument/2006/relationships/image" Target="../media/image13.png"/><Relationship Id="rId7" Type="http://schemas.openxmlformats.org/officeDocument/2006/relationships/image" Target="../media/image66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5.png"/><Relationship Id="rId5" Type="http://schemas.openxmlformats.org/officeDocument/2006/relationships/image" Target="../media/image17.png"/><Relationship Id="rId10" Type="http://schemas.openxmlformats.org/officeDocument/2006/relationships/image" Target="../media/image68.svg"/><Relationship Id="rId4" Type="http://schemas.openxmlformats.org/officeDocument/2006/relationships/slide" Target="slide1.xml"/><Relationship Id="rId9" Type="http://schemas.openxmlformats.org/officeDocument/2006/relationships/image" Target="../media/image6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Dowolny kształt: kształt 53">
            <a:extLst>
              <a:ext uri="{FF2B5EF4-FFF2-40B4-BE49-F238E27FC236}">
                <a16:creationId xmlns:a16="http://schemas.microsoft.com/office/drawing/2014/main" id="{CD0E2A61-7CEB-E892-6A42-16432946FED3}"/>
              </a:ext>
            </a:extLst>
          </p:cNvPr>
          <p:cNvSpPr/>
          <p:nvPr/>
        </p:nvSpPr>
        <p:spPr>
          <a:xfrm>
            <a:off x="3212112" y="-610949"/>
            <a:ext cx="2056406" cy="2843772"/>
          </a:xfrm>
          <a:custGeom>
            <a:avLst/>
            <a:gdLst>
              <a:gd name="connsiteX0" fmla="*/ 1893665 w 1947862"/>
              <a:gd name="connsiteY0" fmla="*/ 2693670 h 2693669"/>
              <a:gd name="connsiteX1" fmla="*/ 54388 w 1947862"/>
              <a:gd name="connsiteY1" fmla="*/ 2693670 h 2693669"/>
              <a:gd name="connsiteX2" fmla="*/ 0 w 1947862"/>
              <a:gd name="connsiteY2" fmla="*/ 2639282 h 2693669"/>
              <a:gd name="connsiteX3" fmla="*/ 0 w 1947862"/>
              <a:gd name="connsiteY3" fmla="*/ 53912 h 2693669"/>
              <a:gd name="connsiteX4" fmla="*/ 54388 w 1947862"/>
              <a:gd name="connsiteY4" fmla="*/ 0 h 2693669"/>
              <a:gd name="connsiteX5" fmla="*/ 1893665 w 1947862"/>
              <a:gd name="connsiteY5" fmla="*/ 0 h 2693669"/>
              <a:gd name="connsiteX6" fmla="*/ 1947863 w 1947862"/>
              <a:gd name="connsiteY6" fmla="*/ 53912 h 2693669"/>
              <a:gd name="connsiteX7" fmla="*/ 1947863 w 1947862"/>
              <a:gd name="connsiteY7" fmla="*/ 2639282 h 2693669"/>
              <a:gd name="connsiteX8" fmla="*/ 1893665 w 1947862"/>
              <a:gd name="connsiteY8" fmla="*/ 2693670 h 2693669"/>
              <a:gd name="connsiteX9" fmla="*/ 54388 w 1947862"/>
              <a:gd name="connsiteY9" fmla="*/ 1905 h 2693669"/>
              <a:gd name="connsiteX10" fmla="*/ 2381 w 1947862"/>
              <a:gd name="connsiteY10" fmla="*/ 53912 h 2693669"/>
              <a:gd name="connsiteX11" fmla="*/ 2381 w 1947862"/>
              <a:gd name="connsiteY11" fmla="*/ 2639282 h 2693669"/>
              <a:gd name="connsiteX12" fmla="*/ 54388 w 1947862"/>
              <a:gd name="connsiteY12" fmla="*/ 2691289 h 2693669"/>
              <a:gd name="connsiteX13" fmla="*/ 1893665 w 1947862"/>
              <a:gd name="connsiteY13" fmla="*/ 2691289 h 2693669"/>
              <a:gd name="connsiteX14" fmla="*/ 1945672 w 1947862"/>
              <a:gd name="connsiteY14" fmla="*/ 2639282 h 2693669"/>
              <a:gd name="connsiteX15" fmla="*/ 1945672 w 1947862"/>
              <a:gd name="connsiteY15" fmla="*/ 53912 h 2693669"/>
              <a:gd name="connsiteX16" fmla="*/ 1893665 w 1947862"/>
              <a:gd name="connsiteY16" fmla="*/ 1905 h 2693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947862" h="2693669">
                <a:moveTo>
                  <a:pt x="1893665" y="2693670"/>
                </a:moveTo>
                <a:lnTo>
                  <a:pt x="54388" y="2693670"/>
                </a:lnTo>
                <a:cubicBezTo>
                  <a:pt x="24374" y="2693613"/>
                  <a:pt x="48" y="2669296"/>
                  <a:pt x="0" y="2639282"/>
                </a:cubicBezTo>
                <a:lnTo>
                  <a:pt x="0" y="53912"/>
                </a:lnTo>
                <a:cubicBezTo>
                  <a:pt x="314" y="24082"/>
                  <a:pt x="24555" y="50"/>
                  <a:pt x="54388" y="0"/>
                </a:cubicBezTo>
                <a:lnTo>
                  <a:pt x="1893665" y="0"/>
                </a:lnTo>
                <a:cubicBezTo>
                  <a:pt x="1923441" y="103"/>
                  <a:pt x="1947605" y="24134"/>
                  <a:pt x="1947863" y="53912"/>
                </a:cubicBezTo>
                <a:lnTo>
                  <a:pt x="1947863" y="2639282"/>
                </a:lnTo>
                <a:cubicBezTo>
                  <a:pt x="1947863" y="2669248"/>
                  <a:pt x="1923631" y="2693565"/>
                  <a:pt x="1893665" y="2693670"/>
                </a:cubicBezTo>
                <a:close/>
                <a:moveTo>
                  <a:pt x="54388" y="1905"/>
                </a:moveTo>
                <a:cubicBezTo>
                  <a:pt x="25689" y="1957"/>
                  <a:pt x="2429" y="25211"/>
                  <a:pt x="2381" y="53912"/>
                </a:cubicBezTo>
                <a:lnTo>
                  <a:pt x="2381" y="2639282"/>
                </a:lnTo>
                <a:cubicBezTo>
                  <a:pt x="2438" y="2667981"/>
                  <a:pt x="25689" y="2691232"/>
                  <a:pt x="54388" y="2691289"/>
                </a:cubicBezTo>
                <a:lnTo>
                  <a:pt x="1893665" y="2691289"/>
                </a:lnTo>
                <a:cubicBezTo>
                  <a:pt x="1922364" y="2691232"/>
                  <a:pt x="1945615" y="2667981"/>
                  <a:pt x="1945672" y="2639282"/>
                </a:cubicBezTo>
                <a:lnTo>
                  <a:pt x="1945672" y="53912"/>
                </a:lnTo>
                <a:cubicBezTo>
                  <a:pt x="1945615" y="25211"/>
                  <a:pt x="1922364" y="1957"/>
                  <a:pt x="1893665" y="1905"/>
                </a:cubicBezTo>
                <a:close/>
              </a:path>
            </a:pathLst>
          </a:custGeom>
          <a:solidFill>
            <a:srgbClr val="EBEBEB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18"/>
              <a:ea typeface="+mn-ea"/>
              <a:cs typeface="+mn-cs"/>
            </a:endParaRPr>
          </a:p>
        </p:txBody>
      </p:sp>
      <p:sp>
        <p:nvSpPr>
          <p:cNvPr id="180" name="Dowolny kształt: kształt 179">
            <a:extLst>
              <a:ext uri="{FF2B5EF4-FFF2-40B4-BE49-F238E27FC236}">
                <a16:creationId xmlns:a16="http://schemas.microsoft.com/office/drawing/2014/main" id="{801CC2FB-ED15-5D09-A3A8-C923274E84A3}"/>
              </a:ext>
            </a:extLst>
          </p:cNvPr>
          <p:cNvSpPr/>
          <p:nvPr/>
        </p:nvSpPr>
        <p:spPr>
          <a:xfrm>
            <a:off x="1351468" y="2981238"/>
            <a:ext cx="200782" cy="335636"/>
          </a:xfrm>
          <a:custGeom>
            <a:avLst/>
            <a:gdLst>
              <a:gd name="connsiteX0" fmla="*/ 74919 w 200782"/>
              <a:gd name="connsiteY0" fmla="*/ 0 h 335636"/>
              <a:gd name="connsiteX1" fmla="*/ 0 w 200782"/>
              <a:gd name="connsiteY1" fmla="*/ 0 h 335636"/>
              <a:gd name="connsiteX2" fmla="*/ 125864 w 200782"/>
              <a:gd name="connsiteY2" fmla="*/ 167818 h 335636"/>
              <a:gd name="connsiteX3" fmla="*/ 0 w 200782"/>
              <a:gd name="connsiteY3" fmla="*/ 335636 h 335636"/>
              <a:gd name="connsiteX4" fmla="*/ 74919 w 200782"/>
              <a:gd name="connsiteY4" fmla="*/ 335636 h 335636"/>
              <a:gd name="connsiteX5" fmla="*/ 200782 w 200782"/>
              <a:gd name="connsiteY5" fmla="*/ 167818 h 335636"/>
              <a:gd name="connsiteX6" fmla="*/ 74919 w 200782"/>
              <a:gd name="connsiteY6" fmla="*/ 0 h 3356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0782" h="335636">
                <a:moveTo>
                  <a:pt x="74919" y="0"/>
                </a:moveTo>
                <a:lnTo>
                  <a:pt x="0" y="0"/>
                </a:lnTo>
                <a:lnTo>
                  <a:pt x="125864" y="167818"/>
                </a:lnTo>
                <a:lnTo>
                  <a:pt x="0" y="335636"/>
                </a:lnTo>
                <a:lnTo>
                  <a:pt x="74919" y="335636"/>
                </a:lnTo>
                <a:lnTo>
                  <a:pt x="200782" y="167818"/>
                </a:lnTo>
                <a:lnTo>
                  <a:pt x="74919" y="0"/>
                </a:lnTo>
                <a:close/>
              </a:path>
            </a:pathLst>
          </a:custGeom>
          <a:solidFill>
            <a:srgbClr val="D61B6B"/>
          </a:solidFill>
          <a:ln w="5953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anose="00000500000000000000" pitchFamily="2" charset="-18"/>
              <a:ea typeface="+mn-ea"/>
              <a:cs typeface="+mn-cs"/>
            </a:endParaRPr>
          </a:p>
        </p:txBody>
      </p:sp>
      <p:sp>
        <p:nvSpPr>
          <p:cNvPr id="3" name="Prostokąt: zaokrąglone rogi u góry 2">
            <a:extLst>
              <a:ext uri="{FF2B5EF4-FFF2-40B4-BE49-F238E27FC236}">
                <a16:creationId xmlns:a16="http://schemas.microsoft.com/office/drawing/2014/main" id="{2340D5DD-3D0D-A103-F364-CF7D202209A7}"/>
              </a:ext>
            </a:extLst>
          </p:cNvPr>
          <p:cNvSpPr/>
          <p:nvPr/>
        </p:nvSpPr>
        <p:spPr>
          <a:xfrm rot="5400000">
            <a:off x="-3102429" y="3102428"/>
            <a:ext cx="6858000" cy="653143"/>
          </a:xfrm>
          <a:prstGeom prst="round2SameRect">
            <a:avLst>
              <a:gd name="adj1" fmla="val 16559"/>
              <a:gd name="adj2" fmla="val 0"/>
            </a:avLst>
          </a:prstGeom>
          <a:solidFill>
            <a:srgbClr val="FFFFFF"/>
          </a:solidFill>
          <a:ln>
            <a:noFill/>
          </a:ln>
          <a:effectLst>
            <a:outerShdw blurRad="952500" dist="215900" algn="l" rotWithShape="0">
              <a:schemeClr val="accent1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pl-PL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94DE278A-129D-257C-A555-372EB63764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70771" y="6086174"/>
            <a:ext cx="994685" cy="306414"/>
          </a:xfrm>
          <a:prstGeom prst="rect">
            <a:avLst/>
          </a:prstGeom>
        </p:spPr>
      </p:pic>
      <p:pic>
        <p:nvPicPr>
          <p:cNvPr id="30" name="Obraz 4">
            <a:extLst>
              <a:ext uri="{FF2B5EF4-FFF2-40B4-BE49-F238E27FC236}">
                <a16:creationId xmlns:a16="http://schemas.microsoft.com/office/drawing/2014/main" id="{AF5643D6-ED96-5994-19BA-CFC32C67E9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71" y="230592"/>
            <a:ext cx="548771" cy="305640"/>
          </a:xfrm>
          <a:prstGeom prst="rect">
            <a:avLst/>
          </a:prstGeom>
        </p:spPr>
      </p:pic>
      <p:sp>
        <p:nvSpPr>
          <p:cNvPr id="35" name="Rectangle 7">
            <a:extLst>
              <a:ext uri="{FF2B5EF4-FFF2-40B4-BE49-F238E27FC236}">
                <a16:creationId xmlns:a16="http://schemas.microsoft.com/office/drawing/2014/main" id="{B9E63CB1-0A96-0263-F522-C77D978CD5DD}"/>
              </a:ext>
            </a:extLst>
          </p:cNvPr>
          <p:cNvSpPr/>
          <p:nvPr/>
        </p:nvSpPr>
        <p:spPr>
          <a:xfrm>
            <a:off x="1694737" y="2813447"/>
            <a:ext cx="4689888" cy="123110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>
              <a:defRPr/>
            </a:pPr>
            <a:r>
              <a:rPr kumimoji="0" lang="pl-PL" sz="40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Roboto Black"/>
                <a:ea typeface="Roboto Black"/>
                <a:cs typeface="Fredoka Medium"/>
              </a:rPr>
              <a:t>Extended DISC</a:t>
            </a:r>
            <a:r>
              <a:rPr lang="pl-PL" sz="2800" baseline="30000">
                <a:ea typeface="+mn-lt"/>
                <a:cs typeface="+mn-lt"/>
              </a:rPr>
              <a:t>®</a:t>
            </a:r>
            <a:r>
              <a:rPr lang="pl-PL" sz="4000">
                <a:latin typeface="Roboto Black"/>
                <a:ea typeface="Roboto Black"/>
                <a:cs typeface="Fredoka Medium"/>
              </a:rPr>
              <a:t> -</a:t>
            </a:r>
            <a:br>
              <a:rPr lang="pl-PL" sz="4000">
                <a:latin typeface="Roboto Black"/>
                <a:ea typeface="Roboto Black"/>
                <a:cs typeface="Fredoka Medium"/>
              </a:rPr>
            </a:br>
            <a:r>
              <a:rPr lang="pl-PL" sz="4000">
                <a:latin typeface="Roboto Black"/>
                <a:ea typeface="Roboto Black"/>
                <a:cs typeface="Fredoka Medium"/>
              </a:rPr>
              <a:t>co nasz wyróżnia?</a:t>
            </a:r>
            <a:endParaRPr lang="pl-PL" sz="4000" b="0" i="0" u="none" strike="noStrike" kern="1200" cap="none" spc="0" normalizeH="0" baseline="30000" noProof="0">
              <a:ln>
                <a:noFill/>
              </a:ln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pic>
        <p:nvPicPr>
          <p:cNvPr id="42" name="Obraz 4">
            <a:extLst>
              <a:ext uri="{FF2B5EF4-FFF2-40B4-BE49-F238E27FC236}">
                <a16:creationId xmlns:a16="http://schemas.microsoft.com/office/drawing/2014/main" id="{B07A9EAE-FD57-45AE-082D-F22ADB54637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5989" y="477793"/>
            <a:ext cx="2185982" cy="1217490"/>
          </a:xfrm>
          <a:prstGeom prst="rect">
            <a:avLst/>
          </a:prstGeom>
        </p:spPr>
      </p:pic>
      <p:grpSp>
        <p:nvGrpSpPr>
          <p:cNvPr id="9" name="Grupa 8">
            <a:extLst>
              <a:ext uri="{FF2B5EF4-FFF2-40B4-BE49-F238E27FC236}">
                <a16:creationId xmlns:a16="http://schemas.microsoft.com/office/drawing/2014/main" id="{D9369D46-4D1A-9C71-FBDD-895B5C132044}"/>
              </a:ext>
            </a:extLst>
          </p:cNvPr>
          <p:cNvGrpSpPr/>
          <p:nvPr/>
        </p:nvGrpSpPr>
        <p:grpSpPr>
          <a:xfrm>
            <a:off x="6279602" y="1312030"/>
            <a:ext cx="5202107" cy="4357050"/>
            <a:chOff x="6261055" y="1291255"/>
            <a:chExt cx="5202107" cy="4357050"/>
          </a:xfrm>
        </p:grpSpPr>
        <p:sp>
          <p:nvSpPr>
            <p:cNvPr id="51" name="Dowolny kształt: kształt 50">
              <a:extLst>
                <a:ext uri="{FF2B5EF4-FFF2-40B4-BE49-F238E27FC236}">
                  <a16:creationId xmlns:a16="http://schemas.microsoft.com/office/drawing/2014/main" id="{1FF7FFA9-7B90-E044-E5AD-FF263A0B70FD}"/>
                </a:ext>
              </a:extLst>
            </p:cNvPr>
            <p:cNvSpPr/>
            <p:nvPr/>
          </p:nvSpPr>
          <p:spPr>
            <a:xfrm>
              <a:off x="9428028" y="1291255"/>
              <a:ext cx="186690" cy="193246"/>
            </a:xfrm>
            <a:custGeom>
              <a:avLst/>
              <a:gdLst>
                <a:gd name="connsiteX0" fmla="*/ 37149 w 168469"/>
                <a:gd name="connsiteY0" fmla="*/ 87784 h 174385"/>
                <a:gd name="connsiteX1" fmla="*/ 63886 w 168469"/>
                <a:gd name="connsiteY1" fmla="*/ 106713 h 174385"/>
                <a:gd name="connsiteX2" fmla="*/ 82815 w 168469"/>
                <a:gd name="connsiteY2" fmla="*/ 133451 h 174385"/>
                <a:gd name="connsiteX3" fmla="*/ 101744 w 168469"/>
                <a:gd name="connsiteY3" fmla="*/ 106713 h 174385"/>
                <a:gd name="connsiteX4" fmla="*/ 128482 w 168469"/>
                <a:gd name="connsiteY4" fmla="*/ 87784 h 174385"/>
                <a:gd name="connsiteX5" fmla="*/ 101744 w 168469"/>
                <a:gd name="connsiteY5" fmla="*/ 68855 h 174385"/>
                <a:gd name="connsiteX6" fmla="*/ 82815 w 168469"/>
                <a:gd name="connsiteY6" fmla="*/ 42117 h 174385"/>
                <a:gd name="connsiteX7" fmla="*/ 63886 w 168469"/>
                <a:gd name="connsiteY7" fmla="*/ 68855 h 174385"/>
                <a:gd name="connsiteX8" fmla="*/ 37149 w 168469"/>
                <a:gd name="connsiteY8" fmla="*/ 87784 h 174385"/>
                <a:gd name="connsiteX9" fmla="*/ 91807 w 168469"/>
                <a:gd name="connsiteY9" fmla="*/ 166104 h 174385"/>
                <a:gd name="connsiteX10" fmla="*/ 91807 w 168469"/>
                <a:gd name="connsiteY10" fmla="*/ 166104 h 174385"/>
                <a:gd name="connsiteX11" fmla="*/ 91807 w 168469"/>
                <a:gd name="connsiteY11" fmla="*/ 166577 h 174385"/>
                <a:gd name="connsiteX12" fmla="*/ 91807 w 168469"/>
                <a:gd name="connsiteY12" fmla="*/ 166577 h 174385"/>
                <a:gd name="connsiteX13" fmla="*/ 91807 w 168469"/>
                <a:gd name="connsiteY13" fmla="*/ 167050 h 174385"/>
                <a:gd name="connsiteX14" fmla="*/ 91807 w 168469"/>
                <a:gd name="connsiteY14" fmla="*/ 167050 h 174385"/>
                <a:gd name="connsiteX15" fmla="*/ 91807 w 168469"/>
                <a:gd name="connsiteY15" fmla="*/ 167523 h 174385"/>
                <a:gd name="connsiteX16" fmla="*/ 91807 w 168469"/>
                <a:gd name="connsiteY16" fmla="*/ 167523 h 174385"/>
                <a:gd name="connsiteX17" fmla="*/ 91333 w 168469"/>
                <a:gd name="connsiteY17" fmla="*/ 168706 h 174385"/>
                <a:gd name="connsiteX18" fmla="*/ 91333 w 168469"/>
                <a:gd name="connsiteY18" fmla="*/ 168706 h 174385"/>
                <a:gd name="connsiteX19" fmla="*/ 91333 w 168469"/>
                <a:gd name="connsiteY19" fmla="*/ 169180 h 174385"/>
                <a:gd name="connsiteX20" fmla="*/ 91097 w 168469"/>
                <a:gd name="connsiteY20" fmla="*/ 169180 h 174385"/>
                <a:gd name="connsiteX21" fmla="*/ 90860 w 168469"/>
                <a:gd name="connsiteY21" fmla="*/ 169889 h 174385"/>
                <a:gd name="connsiteX22" fmla="*/ 90860 w 168469"/>
                <a:gd name="connsiteY22" fmla="*/ 169889 h 174385"/>
                <a:gd name="connsiteX23" fmla="*/ 90387 w 168469"/>
                <a:gd name="connsiteY23" fmla="*/ 170599 h 174385"/>
                <a:gd name="connsiteX24" fmla="*/ 90150 w 168469"/>
                <a:gd name="connsiteY24" fmla="*/ 170599 h 174385"/>
                <a:gd name="connsiteX25" fmla="*/ 90150 w 168469"/>
                <a:gd name="connsiteY25" fmla="*/ 171072 h 174385"/>
                <a:gd name="connsiteX26" fmla="*/ 89677 w 168469"/>
                <a:gd name="connsiteY26" fmla="*/ 171072 h 174385"/>
                <a:gd name="connsiteX27" fmla="*/ 89677 w 168469"/>
                <a:gd name="connsiteY27" fmla="*/ 171546 h 174385"/>
                <a:gd name="connsiteX28" fmla="*/ 89204 w 168469"/>
                <a:gd name="connsiteY28" fmla="*/ 171546 h 174385"/>
                <a:gd name="connsiteX29" fmla="*/ 89204 w 168469"/>
                <a:gd name="connsiteY29" fmla="*/ 172019 h 174385"/>
                <a:gd name="connsiteX30" fmla="*/ 88494 w 168469"/>
                <a:gd name="connsiteY30" fmla="*/ 172492 h 174385"/>
                <a:gd name="connsiteX31" fmla="*/ 88494 w 168469"/>
                <a:gd name="connsiteY31" fmla="*/ 172492 h 174385"/>
                <a:gd name="connsiteX32" fmla="*/ 88021 w 168469"/>
                <a:gd name="connsiteY32" fmla="*/ 172965 h 174385"/>
                <a:gd name="connsiteX33" fmla="*/ 87311 w 168469"/>
                <a:gd name="connsiteY33" fmla="*/ 172965 h 174385"/>
                <a:gd name="connsiteX34" fmla="*/ 87311 w 168469"/>
                <a:gd name="connsiteY34" fmla="*/ 173439 h 174385"/>
                <a:gd name="connsiteX35" fmla="*/ 86128 w 168469"/>
                <a:gd name="connsiteY35" fmla="*/ 173912 h 174385"/>
                <a:gd name="connsiteX36" fmla="*/ 84235 w 168469"/>
                <a:gd name="connsiteY36" fmla="*/ 173912 h 174385"/>
                <a:gd name="connsiteX37" fmla="*/ 84235 w 168469"/>
                <a:gd name="connsiteY37" fmla="*/ 174385 h 174385"/>
                <a:gd name="connsiteX38" fmla="*/ 81159 w 168469"/>
                <a:gd name="connsiteY38" fmla="*/ 174385 h 174385"/>
                <a:gd name="connsiteX39" fmla="*/ 81159 w 168469"/>
                <a:gd name="connsiteY39" fmla="*/ 173912 h 174385"/>
                <a:gd name="connsiteX40" fmla="*/ 81159 w 168469"/>
                <a:gd name="connsiteY40" fmla="*/ 173912 h 174385"/>
                <a:gd name="connsiteX41" fmla="*/ 80213 w 168469"/>
                <a:gd name="connsiteY41" fmla="*/ 173439 h 174385"/>
                <a:gd name="connsiteX42" fmla="*/ 79503 w 168469"/>
                <a:gd name="connsiteY42" fmla="*/ 173439 h 174385"/>
                <a:gd name="connsiteX43" fmla="*/ 79503 w 168469"/>
                <a:gd name="connsiteY43" fmla="*/ 172965 h 174385"/>
                <a:gd name="connsiteX44" fmla="*/ 79503 w 168469"/>
                <a:gd name="connsiteY44" fmla="*/ 172965 h 174385"/>
                <a:gd name="connsiteX45" fmla="*/ 79029 w 168469"/>
                <a:gd name="connsiteY45" fmla="*/ 172492 h 174385"/>
                <a:gd name="connsiteX46" fmla="*/ 79029 w 168469"/>
                <a:gd name="connsiteY46" fmla="*/ 172492 h 174385"/>
                <a:gd name="connsiteX47" fmla="*/ 78556 w 168469"/>
                <a:gd name="connsiteY47" fmla="*/ 172019 h 174385"/>
                <a:gd name="connsiteX48" fmla="*/ 78320 w 168469"/>
                <a:gd name="connsiteY48" fmla="*/ 172019 h 174385"/>
                <a:gd name="connsiteX49" fmla="*/ 78320 w 168469"/>
                <a:gd name="connsiteY49" fmla="*/ 171546 h 174385"/>
                <a:gd name="connsiteX50" fmla="*/ 77846 w 168469"/>
                <a:gd name="connsiteY50" fmla="*/ 171546 h 174385"/>
                <a:gd name="connsiteX51" fmla="*/ 77846 w 168469"/>
                <a:gd name="connsiteY51" fmla="*/ 171072 h 174385"/>
                <a:gd name="connsiteX52" fmla="*/ 77373 w 168469"/>
                <a:gd name="connsiteY52" fmla="*/ 171072 h 174385"/>
                <a:gd name="connsiteX53" fmla="*/ 77373 w 168469"/>
                <a:gd name="connsiteY53" fmla="*/ 170599 h 174385"/>
                <a:gd name="connsiteX54" fmla="*/ 77373 w 168469"/>
                <a:gd name="connsiteY54" fmla="*/ 170599 h 174385"/>
                <a:gd name="connsiteX55" fmla="*/ 76900 w 168469"/>
                <a:gd name="connsiteY55" fmla="*/ 169889 h 174385"/>
                <a:gd name="connsiteX56" fmla="*/ 76900 w 168469"/>
                <a:gd name="connsiteY56" fmla="*/ 169889 h 174385"/>
                <a:gd name="connsiteX57" fmla="*/ 76900 w 168469"/>
                <a:gd name="connsiteY57" fmla="*/ 169180 h 174385"/>
                <a:gd name="connsiteX58" fmla="*/ 76427 w 168469"/>
                <a:gd name="connsiteY58" fmla="*/ 169180 h 174385"/>
                <a:gd name="connsiteX59" fmla="*/ 76427 w 168469"/>
                <a:gd name="connsiteY59" fmla="*/ 168470 h 174385"/>
                <a:gd name="connsiteX60" fmla="*/ 76190 w 168469"/>
                <a:gd name="connsiteY60" fmla="*/ 168470 h 174385"/>
                <a:gd name="connsiteX61" fmla="*/ 75953 w 168469"/>
                <a:gd name="connsiteY61" fmla="*/ 167287 h 174385"/>
                <a:gd name="connsiteX62" fmla="*/ 75953 w 168469"/>
                <a:gd name="connsiteY62" fmla="*/ 167287 h 174385"/>
                <a:gd name="connsiteX63" fmla="*/ 75953 w 168469"/>
                <a:gd name="connsiteY63" fmla="*/ 166813 h 174385"/>
                <a:gd name="connsiteX64" fmla="*/ 75953 w 168469"/>
                <a:gd name="connsiteY64" fmla="*/ 166813 h 174385"/>
                <a:gd name="connsiteX65" fmla="*/ 75953 w 168469"/>
                <a:gd name="connsiteY65" fmla="*/ 166340 h 174385"/>
                <a:gd name="connsiteX66" fmla="*/ 75953 w 168469"/>
                <a:gd name="connsiteY66" fmla="*/ 166340 h 174385"/>
                <a:gd name="connsiteX67" fmla="*/ 75953 w 168469"/>
                <a:gd name="connsiteY67" fmla="*/ 165867 h 174385"/>
                <a:gd name="connsiteX68" fmla="*/ 75953 w 168469"/>
                <a:gd name="connsiteY68" fmla="*/ 165867 h 174385"/>
                <a:gd name="connsiteX69" fmla="*/ 53002 w 168469"/>
                <a:gd name="connsiteY69" fmla="*/ 119254 h 174385"/>
                <a:gd name="connsiteX70" fmla="*/ 6862 w 168469"/>
                <a:gd name="connsiteY70" fmla="*/ 96302 h 174385"/>
                <a:gd name="connsiteX71" fmla="*/ 5442 w 168469"/>
                <a:gd name="connsiteY71" fmla="*/ 96302 h 174385"/>
                <a:gd name="connsiteX72" fmla="*/ 4496 w 168469"/>
                <a:gd name="connsiteY72" fmla="*/ 95592 h 174385"/>
                <a:gd name="connsiteX73" fmla="*/ 3786 w 168469"/>
                <a:gd name="connsiteY73" fmla="*/ 95592 h 174385"/>
                <a:gd name="connsiteX74" fmla="*/ 3786 w 168469"/>
                <a:gd name="connsiteY74" fmla="*/ 95119 h 174385"/>
                <a:gd name="connsiteX75" fmla="*/ 3786 w 168469"/>
                <a:gd name="connsiteY75" fmla="*/ 95119 h 174385"/>
                <a:gd name="connsiteX76" fmla="*/ 3313 w 168469"/>
                <a:gd name="connsiteY76" fmla="*/ 94646 h 174385"/>
                <a:gd name="connsiteX77" fmla="*/ 3313 w 168469"/>
                <a:gd name="connsiteY77" fmla="*/ 94646 h 174385"/>
                <a:gd name="connsiteX78" fmla="*/ 2839 w 168469"/>
                <a:gd name="connsiteY78" fmla="*/ 94173 h 174385"/>
                <a:gd name="connsiteX79" fmla="*/ 2603 w 168469"/>
                <a:gd name="connsiteY79" fmla="*/ 94173 h 174385"/>
                <a:gd name="connsiteX80" fmla="*/ 2603 w 168469"/>
                <a:gd name="connsiteY80" fmla="*/ 93699 h 174385"/>
                <a:gd name="connsiteX81" fmla="*/ 2130 w 168469"/>
                <a:gd name="connsiteY81" fmla="*/ 93699 h 174385"/>
                <a:gd name="connsiteX82" fmla="*/ 2130 w 168469"/>
                <a:gd name="connsiteY82" fmla="*/ 93226 h 174385"/>
                <a:gd name="connsiteX83" fmla="*/ 1656 w 168469"/>
                <a:gd name="connsiteY83" fmla="*/ 93226 h 174385"/>
                <a:gd name="connsiteX84" fmla="*/ 1656 w 168469"/>
                <a:gd name="connsiteY84" fmla="*/ 92753 h 174385"/>
                <a:gd name="connsiteX85" fmla="*/ 1656 w 168469"/>
                <a:gd name="connsiteY85" fmla="*/ 92753 h 174385"/>
                <a:gd name="connsiteX86" fmla="*/ 1183 w 168469"/>
                <a:gd name="connsiteY86" fmla="*/ 92043 h 174385"/>
                <a:gd name="connsiteX87" fmla="*/ 1183 w 168469"/>
                <a:gd name="connsiteY87" fmla="*/ 92043 h 174385"/>
                <a:gd name="connsiteX88" fmla="*/ 1183 w 168469"/>
                <a:gd name="connsiteY88" fmla="*/ 91333 h 174385"/>
                <a:gd name="connsiteX89" fmla="*/ 710 w 168469"/>
                <a:gd name="connsiteY89" fmla="*/ 91333 h 174385"/>
                <a:gd name="connsiteX90" fmla="*/ 710 w 168469"/>
                <a:gd name="connsiteY90" fmla="*/ 90624 h 174385"/>
                <a:gd name="connsiteX91" fmla="*/ 473 w 168469"/>
                <a:gd name="connsiteY91" fmla="*/ 90624 h 174385"/>
                <a:gd name="connsiteX92" fmla="*/ 0 w 168469"/>
                <a:gd name="connsiteY92" fmla="*/ 89440 h 174385"/>
                <a:gd name="connsiteX93" fmla="*/ 0 w 168469"/>
                <a:gd name="connsiteY93" fmla="*/ 89440 h 174385"/>
                <a:gd name="connsiteX94" fmla="*/ 0 w 168469"/>
                <a:gd name="connsiteY94" fmla="*/ 88967 h 174385"/>
                <a:gd name="connsiteX95" fmla="*/ 0 w 168469"/>
                <a:gd name="connsiteY95" fmla="*/ 88967 h 174385"/>
                <a:gd name="connsiteX96" fmla="*/ 0 w 168469"/>
                <a:gd name="connsiteY96" fmla="*/ 88494 h 174385"/>
                <a:gd name="connsiteX97" fmla="*/ 0 w 168469"/>
                <a:gd name="connsiteY97" fmla="*/ 88494 h 174385"/>
                <a:gd name="connsiteX98" fmla="*/ 0 w 168469"/>
                <a:gd name="connsiteY98" fmla="*/ 88021 h 174385"/>
                <a:gd name="connsiteX99" fmla="*/ 0 w 168469"/>
                <a:gd name="connsiteY99" fmla="*/ 88021 h 174385"/>
                <a:gd name="connsiteX100" fmla="*/ 0 w 168469"/>
                <a:gd name="connsiteY100" fmla="*/ 87547 h 174385"/>
                <a:gd name="connsiteX101" fmla="*/ 0 w 168469"/>
                <a:gd name="connsiteY101" fmla="*/ 87547 h 174385"/>
                <a:gd name="connsiteX102" fmla="*/ 0 w 168469"/>
                <a:gd name="connsiteY102" fmla="*/ 87074 h 174385"/>
                <a:gd name="connsiteX103" fmla="*/ 0 w 168469"/>
                <a:gd name="connsiteY103" fmla="*/ 87074 h 174385"/>
                <a:gd name="connsiteX104" fmla="*/ 0 w 168469"/>
                <a:gd name="connsiteY104" fmla="*/ 86601 h 174385"/>
                <a:gd name="connsiteX105" fmla="*/ 0 w 168469"/>
                <a:gd name="connsiteY105" fmla="*/ 86601 h 174385"/>
                <a:gd name="connsiteX106" fmla="*/ 0 w 168469"/>
                <a:gd name="connsiteY106" fmla="*/ 86128 h 174385"/>
                <a:gd name="connsiteX107" fmla="*/ 0 w 168469"/>
                <a:gd name="connsiteY107" fmla="*/ 86128 h 174385"/>
                <a:gd name="connsiteX108" fmla="*/ 0 w 168469"/>
                <a:gd name="connsiteY108" fmla="*/ 85654 h 174385"/>
                <a:gd name="connsiteX109" fmla="*/ 0 w 168469"/>
                <a:gd name="connsiteY109" fmla="*/ 85654 h 174385"/>
                <a:gd name="connsiteX110" fmla="*/ 0 w 168469"/>
                <a:gd name="connsiteY110" fmla="*/ 85181 h 174385"/>
                <a:gd name="connsiteX111" fmla="*/ 0 w 168469"/>
                <a:gd name="connsiteY111" fmla="*/ 85181 h 174385"/>
                <a:gd name="connsiteX112" fmla="*/ 0 w 168469"/>
                <a:gd name="connsiteY112" fmla="*/ 84708 h 174385"/>
                <a:gd name="connsiteX113" fmla="*/ 0 w 168469"/>
                <a:gd name="connsiteY113" fmla="*/ 84708 h 174385"/>
                <a:gd name="connsiteX114" fmla="*/ 0 w 168469"/>
                <a:gd name="connsiteY114" fmla="*/ 84235 h 174385"/>
                <a:gd name="connsiteX115" fmla="*/ 0 w 168469"/>
                <a:gd name="connsiteY115" fmla="*/ 84235 h 174385"/>
                <a:gd name="connsiteX116" fmla="*/ 0 w 168469"/>
                <a:gd name="connsiteY116" fmla="*/ 83762 h 174385"/>
                <a:gd name="connsiteX117" fmla="*/ 473 w 168469"/>
                <a:gd name="connsiteY117" fmla="*/ 82815 h 174385"/>
                <a:gd name="connsiteX118" fmla="*/ 473 w 168469"/>
                <a:gd name="connsiteY118" fmla="*/ 82815 h 174385"/>
                <a:gd name="connsiteX119" fmla="*/ 473 w 168469"/>
                <a:gd name="connsiteY119" fmla="*/ 82342 h 174385"/>
                <a:gd name="connsiteX120" fmla="*/ 710 w 168469"/>
                <a:gd name="connsiteY120" fmla="*/ 82342 h 174385"/>
                <a:gd name="connsiteX121" fmla="*/ 946 w 168469"/>
                <a:gd name="connsiteY121" fmla="*/ 81632 h 174385"/>
                <a:gd name="connsiteX122" fmla="*/ 946 w 168469"/>
                <a:gd name="connsiteY122" fmla="*/ 81632 h 174385"/>
                <a:gd name="connsiteX123" fmla="*/ 1420 w 168469"/>
                <a:gd name="connsiteY123" fmla="*/ 80922 h 174385"/>
                <a:gd name="connsiteX124" fmla="*/ 1656 w 168469"/>
                <a:gd name="connsiteY124" fmla="*/ 80922 h 174385"/>
                <a:gd name="connsiteX125" fmla="*/ 1656 w 168469"/>
                <a:gd name="connsiteY125" fmla="*/ 80449 h 174385"/>
                <a:gd name="connsiteX126" fmla="*/ 2130 w 168469"/>
                <a:gd name="connsiteY126" fmla="*/ 80449 h 174385"/>
                <a:gd name="connsiteX127" fmla="*/ 2130 w 168469"/>
                <a:gd name="connsiteY127" fmla="*/ 79976 h 174385"/>
                <a:gd name="connsiteX128" fmla="*/ 2603 w 168469"/>
                <a:gd name="connsiteY128" fmla="*/ 79976 h 174385"/>
                <a:gd name="connsiteX129" fmla="*/ 2603 w 168469"/>
                <a:gd name="connsiteY129" fmla="*/ 79503 h 174385"/>
                <a:gd name="connsiteX130" fmla="*/ 3313 w 168469"/>
                <a:gd name="connsiteY130" fmla="*/ 79029 h 174385"/>
                <a:gd name="connsiteX131" fmla="*/ 3313 w 168469"/>
                <a:gd name="connsiteY131" fmla="*/ 79029 h 174385"/>
                <a:gd name="connsiteX132" fmla="*/ 3786 w 168469"/>
                <a:gd name="connsiteY132" fmla="*/ 78556 h 174385"/>
                <a:gd name="connsiteX133" fmla="*/ 4496 w 168469"/>
                <a:gd name="connsiteY133" fmla="*/ 78556 h 174385"/>
                <a:gd name="connsiteX134" fmla="*/ 4496 w 168469"/>
                <a:gd name="connsiteY134" fmla="*/ 78083 h 174385"/>
                <a:gd name="connsiteX135" fmla="*/ 5679 w 168469"/>
                <a:gd name="connsiteY135" fmla="*/ 77610 h 174385"/>
                <a:gd name="connsiteX136" fmla="*/ 7099 w 168469"/>
                <a:gd name="connsiteY136" fmla="*/ 77610 h 174385"/>
                <a:gd name="connsiteX137" fmla="*/ 53238 w 168469"/>
                <a:gd name="connsiteY137" fmla="*/ 54421 h 174385"/>
                <a:gd name="connsiteX138" fmla="*/ 76190 w 168469"/>
                <a:gd name="connsiteY138" fmla="*/ 8281 h 174385"/>
                <a:gd name="connsiteX139" fmla="*/ 76190 w 168469"/>
                <a:gd name="connsiteY139" fmla="*/ 8281 h 174385"/>
                <a:gd name="connsiteX140" fmla="*/ 76190 w 168469"/>
                <a:gd name="connsiteY140" fmla="*/ 7808 h 174385"/>
                <a:gd name="connsiteX141" fmla="*/ 76190 w 168469"/>
                <a:gd name="connsiteY141" fmla="*/ 7808 h 174385"/>
                <a:gd name="connsiteX142" fmla="*/ 76190 w 168469"/>
                <a:gd name="connsiteY142" fmla="*/ 7335 h 174385"/>
                <a:gd name="connsiteX143" fmla="*/ 76190 w 168469"/>
                <a:gd name="connsiteY143" fmla="*/ 7335 h 174385"/>
                <a:gd name="connsiteX144" fmla="*/ 76190 w 168469"/>
                <a:gd name="connsiteY144" fmla="*/ 6862 h 174385"/>
                <a:gd name="connsiteX145" fmla="*/ 76190 w 168469"/>
                <a:gd name="connsiteY145" fmla="*/ 6862 h 174385"/>
                <a:gd name="connsiteX146" fmla="*/ 76427 w 168469"/>
                <a:gd name="connsiteY146" fmla="*/ 5679 h 174385"/>
                <a:gd name="connsiteX147" fmla="*/ 76427 w 168469"/>
                <a:gd name="connsiteY147" fmla="*/ 5679 h 174385"/>
                <a:gd name="connsiteX148" fmla="*/ 76427 w 168469"/>
                <a:gd name="connsiteY148" fmla="*/ 5206 h 174385"/>
                <a:gd name="connsiteX149" fmla="*/ 76663 w 168469"/>
                <a:gd name="connsiteY149" fmla="*/ 5206 h 174385"/>
                <a:gd name="connsiteX150" fmla="*/ 76663 w 168469"/>
                <a:gd name="connsiteY150" fmla="*/ 4259 h 174385"/>
                <a:gd name="connsiteX151" fmla="*/ 77137 w 168469"/>
                <a:gd name="connsiteY151" fmla="*/ 4259 h 174385"/>
                <a:gd name="connsiteX152" fmla="*/ 77610 w 168469"/>
                <a:gd name="connsiteY152" fmla="*/ 3549 h 174385"/>
                <a:gd name="connsiteX153" fmla="*/ 77846 w 168469"/>
                <a:gd name="connsiteY153" fmla="*/ 3549 h 174385"/>
                <a:gd name="connsiteX154" fmla="*/ 77846 w 168469"/>
                <a:gd name="connsiteY154" fmla="*/ 3076 h 174385"/>
                <a:gd name="connsiteX155" fmla="*/ 78320 w 168469"/>
                <a:gd name="connsiteY155" fmla="*/ 3076 h 174385"/>
                <a:gd name="connsiteX156" fmla="*/ 78320 w 168469"/>
                <a:gd name="connsiteY156" fmla="*/ 2603 h 174385"/>
                <a:gd name="connsiteX157" fmla="*/ 78793 w 168469"/>
                <a:gd name="connsiteY157" fmla="*/ 2603 h 174385"/>
                <a:gd name="connsiteX158" fmla="*/ 78793 w 168469"/>
                <a:gd name="connsiteY158" fmla="*/ 2129 h 174385"/>
                <a:gd name="connsiteX159" fmla="*/ 79029 w 168469"/>
                <a:gd name="connsiteY159" fmla="*/ 2129 h 174385"/>
                <a:gd name="connsiteX160" fmla="*/ 79503 w 168469"/>
                <a:gd name="connsiteY160" fmla="*/ 1656 h 174385"/>
                <a:gd name="connsiteX161" fmla="*/ 79503 w 168469"/>
                <a:gd name="connsiteY161" fmla="*/ 1656 h 174385"/>
                <a:gd name="connsiteX162" fmla="*/ 79976 w 168469"/>
                <a:gd name="connsiteY162" fmla="*/ 1183 h 174385"/>
                <a:gd name="connsiteX163" fmla="*/ 80686 w 168469"/>
                <a:gd name="connsiteY163" fmla="*/ 1183 h 174385"/>
                <a:gd name="connsiteX164" fmla="*/ 81632 w 168469"/>
                <a:gd name="connsiteY164" fmla="*/ 473 h 174385"/>
                <a:gd name="connsiteX165" fmla="*/ 83288 w 168469"/>
                <a:gd name="connsiteY165" fmla="*/ 473 h 174385"/>
                <a:gd name="connsiteX166" fmla="*/ 83288 w 168469"/>
                <a:gd name="connsiteY166" fmla="*/ 0 h 174385"/>
                <a:gd name="connsiteX167" fmla="*/ 86601 w 168469"/>
                <a:gd name="connsiteY167" fmla="*/ 0 h 174385"/>
                <a:gd name="connsiteX168" fmla="*/ 86601 w 168469"/>
                <a:gd name="connsiteY168" fmla="*/ 473 h 174385"/>
                <a:gd name="connsiteX169" fmla="*/ 87784 w 168469"/>
                <a:gd name="connsiteY169" fmla="*/ 946 h 174385"/>
                <a:gd name="connsiteX170" fmla="*/ 88494 w 168469"/>
                <a:gd name="connsiteY170" fmla="*/ 946 h 174385"/>
                <a:gd name="connsiteX171" fmla="*/ 88967 w 168469"/>
                <a:gd name="connsiteY171" fmla="*/ 1656 h 174385"/>
                <a:gd name="connsiteX172" fmla="*/ 88967 w 168469"/>
                <a:gd name="connsiteY172" fmla="*/ 1656 h 174385"/>
                <a:gd name="connsiteX173" fmla="*/ 89440 w 168469"/>
                <a:gd name="connsiteY173" fmla="*/ 2129 h 174385"/>
                <a:gd name="connsiteX174" fmla="*/ 89677 w 168469"/>
                <a:gd name="connsiteY174" fmla="*/ 2129 h 174385"/>
                <a:gd name="connsiteX175" fmla="*/ 89677 w 168469"/>
                <a:gd name="connsiteY175" fmla="*/ 2603 h 174385"/>
                <a:gd name="connsiteX176" fmla="*/ 90150 w 168469"/>
                <a:gd name="connsiteY176" fmla="*/ 2603 h 174385"/>
                <a:gd name="connsiteX177" fmla="*/ 90150 w 168469"/>
                <a:gd name="connsiteY177" fmla="*/ 3076 h 174385"/>
                <a:gd name="connsiteX178" fmla="*/ 90624 w 168469"/>
                <a:gd name="connsiteY178" fmla="*/ 3076 h 174385"/>
                <a:gd name="connsiteX179" fmla="*/ 90624 w 168469"/>
                <a:gd name="connsiteY179" fmla="*/ 3549 h 174385"/>
                <a:gd name="connsiteX180" fmla="*/ 90624 w 168469"/>
                <a:gd name="connsiteY180" fmla="*/ 3549 h 174385"/>
                <a:gd name="connsiteX181" fmla="*/ 91097 w 168469"/>
                <a:gd name="connsiteY181" fmla="*/ 4259 h 174385"/>
                <a:gd name="connsiteX182" fmla="*/ 91097 w 168469"/>
                <a:gd name="connsiteY182" fmla="*/ 4259 h 174385"/>
                <a:gd name="connsiteX183" fmla="*/ 91097 w 168469"/>
                <a:gd name="connsiteY183" fmla="*/ 4969 h 174385"/>
                <a:gd name="connsiteX184" fmla="*/ 91570 w 168469"/>
                <a:gd name="connsiteY184" fmla="*/ 4969 h 174385"/>
                <a:gd name="connsiteX185" fmla="*/ 91570 w 168469"/>
                <a:gd name="connsiteY185" fmla="*/ 5679 h 174385"/>
                <a:gd name="connsiteX186" fmla="*/ 91570 w 168469"/>
                <a:gd name="connsiteY186" fmla="*/ 5679 h 174385"/>
                <a:gd name="connsiteX187" fmla="*/ 92043 w 168469"/>
                <a:gd name="connsiteY187" fmla="*/ 6862 h 174385"/>
                <a:gd name="connsiteX188" fmla="*/ 92043 w 168469"/>
                <a:gd name="connsiteY188" fmla="*/ 6862 h 174385"/>
                <a:gd name="connsiteX189" fmla="*/ 92043 w 168469"/>
                <a:gd name="connsiteY189" fmla="*/ 7335 h 174385"/>
                <a:gd name="connsiteX190" fmla="*/ 92043 w 168469"/>
                <a:gd name="connsiteY190" fmla="*/ 7335 h 174385"/>
                <a:gd name="connsiteX191" fmla="*/ 92043 w 168469"/>
                <a:gd name="connsiteY191" fmla="*/ 7808 h 174385"/>
                <a:gd name="connsiteX192" fmla="*/ 92043 w 168469"/>
                <a:gd name="connsiteY192" fmla="*/ 7808 h 174385"/>
                <a:gd name="connsiteX193" fmla="*/ 92043 w 168469"/>
                <a:gd name="connsiteY193" fmla="*/ 8281 h 174385"/>
                <a:gd name="connsiteX194" fmla="*/ 92043 w 168469"/>
                <a:gd name="connsiteY194" fmla="*/ 8281 h 174385"/>
                <a:gd name="connsiteX195" fmla="*/ 114995 w 168469"/>
                <a:gd name="connsiteY195" fmla="*/ 54658 h 174385"/>
                <a:gd name="connsiteX196" fmla="*/ 161371 w 168469"/>
                <a:gd name="connsiteY196" fmla="*/ 77610 h 174385"/>
                <a:gd name="connsiteX197" fmla="*/ 162791 w 168469"/>
                <a:gd name="connsiteY197" fmla="*/ 77610 h 174385"/>
                <a:gd name="connsiteX198" fmla="*/ 163738 w 168469"/>
                <a:gd name="connsiteY198" fmla="*/ 78319 h 174385"/>
                <a:gd name="connsiteX199" fmla="*/ 164447 w 168469"/>
                <a:gd name="connsiteY199" fmla="*/ 78319 h 174385"/>
                <a:gd name="connsiteX200" fmla="*/ 164447 w 168469"/>
                <a:gd name="connsiteY200" fmla="*/ 78793 h 174385"/>
                <a:gd name="connsiteX201" fmla="*/ 165157 w 168469"/>
                <a:gd name="connsiteY201" fmla="*/ 79266 h 174385"/>
                <a:gd name="connsiteX202" fmla="*/ 165157 w 168469"/>
                <a:gd name="connsiteY202" fmla="*/ 79266 h 174385"/>
                <a:gd name="connsiteX203" fmla="*/ 165630 w 168469"/>
                <a:gd name="connsiteY203" fmla="*/ 79739 h 174385"/>
                <a:gd name="connsiteX204" fmla="*/ 165867 w 168469"/>
                <a:gd name="connsiteY204" fmla="*/ 79739 h 174385"/>
                <a:gd name="connsiteX205" fmla="*/ 165867 w 168469"/>
                <a:gd name="connsiteY205" fmla="*/ 80212 h 174385"/>
                <a:gd name="connsiteX206" fmla="*/ 166340 w 168469"/>
                <a:gd name="connsiteY206" fmla="*/ 80212 h 174385"/>
                <a:gd name="connsiteX207" fmla="*/ 166340 w 168469"/>
                <a:gd name="connsiteY207" fmla="*/ 80686 h 174385"/>
                <a:gd name="connsiteX208" fmla="*/ 166814 w 168469"/>
                <a:gd name="connsiteY208" fmla="*/ 80686 h 174385"/>
                <a:gd name="connsiteX209" fmla="*/ 166814 w 168469"/>
                <a:gd name="connsiteY209" fmla="*/ 81159 h 174385"/>
                <a:gd name="connsiteX210" fmla="*/ 166814 w 168469"/>
                <a:gd name="connsiteY210" fmla="*/ 81159 h 174385"/>
                <a:gd name="connsiteX211" fmla="*/ 167287 w 168469"/>
                <a:gd name="connsiteY211" fmla="*/ 81869 h 174385"/>
                <a:gd name="connsiteX212" fmla="*/ 167287 w 168469"/>
                <a:gd name="connsiteY212" fmla="*/ 81869 h 174385"/>
                <a:gd name="connsiteX213" fmla="*/ 167287 w 168469"/>
                <a:gd name="connsiteY213" fmla="*/ 82579 h 174385"/>
                <a:gd name="connsiteX214" fmla="*/ 167760 w 168469"/>
                <a:gd name="connsiteY214" fmla="*/ 82579 h 174385"/>
                <a:gd name="connsiteX215" fmla="*/ 167760 w 168469"/>
                <a:gd name="connsiteY215" fmla="*/ 83052 h 174385"/>
                <a:gd name="connsiteX216" fmla="*/ 167997 w 168469"/>
                <a:gd name="connsiteY216" fmla="*/ 83052 h 174385"/>
                <a:gd name="connsiteX217" fmla="*/ 168470 w 168469"/>
                <a:gd name="connsiteY217" fmla="*/ 84235 h 174385"/>
                <a:gd name="connsiteX218" fmla="*/ 168470 w 168469"/>
                <a:gd name="connsiteY218" fmla="*/ 84235 h 174385"/>
                <a:gd name="connsiteX219" fmla="*/ 168470 w 168469"/>
                <a:gd name="connsiteY219" fmla="*/ 84708 h 174385"/>
                <a:gd name="connsiteX220" fmla="*/ 168470 w 168469"/>
                <a:gd name="connsiteY220" fmla="*/ 84708 h 174385"/>
                <a:gd name="connsiteX221" fmla="*/ 168470 w 168469"/>
                <a:gd name="connsiteY221" fmla="*/ 85181 h 174385"/>
                <a:gd name="connsiteX222" fmla="*/ 168470 w 168469"/>
                <a:gd name="connsiteY222" fmla="*/ 85181 h 174385"/>
                <a:gd name="connsiteX223" fmla="*/ 168470 w 168469"/>
                <a:gd name="connsiteY223" fmla="*/ 85654 h 174385"/>
                <a:gd name="connsiteX224" fmla="*/ 168470 w 168469"/>
                <a:gd name="connsiteY224" fmla="*/ 85654 h 174385"/>
                <a:gd name="connsiteX225" fmla="*/ 168470 w 168469"/>
                <a:gd name="connsiteY225" fmla="*/ 86128 h 174385"/>
                <a:gd name="connsiteX226" fmla="*/ 168470 w 168469"/>
                <a:gd name="connsiteY226" fmla="*/ 86128 h 174385"/>
                <a:gd name="connsiteX227" fmla="*/ 168470 w 168469"/>
                <a:gd name="connsiteY227" fmla="*/ 86601 h 174385"/>
                <a:gd name="connsiteX228" fmla="*/ 168470 w 168469"/>
                <a:gd name="connsiteY228" fmla="*/ 86601 h 174385"/>
                <a:gd name="connsiteX229" fmla="*/ 168470 w 168469"/>
                <a:gd name="connsiteY229" fmla="*/ 87074 h 174385"/>
                <a:gd name="connsiteX230" fmla="*/ 168470 w 168469"/>
                <a:gd name="connsiteY230" fmla="*/ 87074 h 174385"/>
                <a:gd name="connsiteX231" fmla="*/ 168470 w 168469"/>
                <a:gd name="connsiteY231" fmla="*/ 87547 h 174385"/>
                <a:gd name="connsiteX232" fmla="*/ 168470 w 168469"/>
                <a:gd name="connsiteY232" fmla="*/ 87547 h 174385"/>
                <a:gd name="connsiteX233" fmla="*/ 168470 w 168469"/>
                <a:gd name="connsiteY233" fmla="*/ 88021 h 174385"/>
                <a:gd name="connsiteX234" fmla="*/ 168470 w 168469"/>
                <a:gd name="connsiteY234" fmla="*/ 88021 h 174385"/>
                <a:gd name="connsiteX235" fmla="*/ 168470 w 168469"/>
                <a:gd name="connsiteY235" fmla="*/ 88494 h 174385"/>
                <a:gd name="connsiteX236" fmla="*/ 168470 w 168469"/>
                <a:gd name="connsiteY236" fmla="*/ 88494 h 174385"/>
                <a:gd name="connsiteX237" fmla="*/ 168470 w 168469"/>
                <a:gd name="connsiteY237" fmla="*/ 88967 h 174385"/>
                <a:gd name="connsiteX238" fmla="*/ 168470 w 168469"/>
                <a:gd name="connsiteY238" fmla="*/ 88967 h 174385"/>
                <a:gd name="connsiteX239" fmla="*/ 168470 w 168469"/>
                <a:gd name="connsiteY239" fmla="*/ 89440 h 174385"/>
                <a:gd name="connsiteX240" fmla="*/ 168470 w 168469"/>
                <a:gd name="connsiteY240" fmla="*/ 89440 h 174385"/>
                <a:gd name="connsiteX241" fmla="*/ 168470 w 168469"/>
                <a:gd name="connsiteY241" fmla="*/ 89914 h 174385"/>
                <a:gd name="connsiteX242" fmla="*/ 167997 w 168469"/>
                <a:gd name="connsiteY242" fmla="*/ 90860 h 174385"/>
                <a:gd name="connsiteX243" fmla="*/ 167997 w 168469"/>
                <a:gd name="connsiteY243" fmla="*/ 90860 h 174385"/>
                <a:gd name="connsiteX244" fmla="*/ 167997 w 168469"/>
                <a:gd name="connsiteY244" fmla="*/ 91333 h 174385"/>
                <a:gd name="connsiteX245" fmla="*/ 167760 w 168469"/>
                <a:gd name="connsiteY245" fmla="*/ 91333 h 174385"/>
                <a:gd name="connsiteX246" fmla="*/ 167760 w 168469"/>
                <a:gd name="connsiteY246" fmla="*/ 92043 h 174385"/>
                <a:gd name="connsiteX247" fmla="*/ 167287 w 168469"/>
                <a:gd name="connsiteY247" fmla="*/ 92043 h 174385"/>
                <a:gd name="connsiteX248" fmla="*/ 166814 w 168469"/>
                <a:gd name="connsiteY248" fmla="*/ 92753 h 174385"/>
                <a:gd name="connsiteX249" fmla="*/ 166577 w 168469"/>
                <a:gd name="connsiteY249" fmla="*/ 92753 h 174385"/>
                <a:gd name="connsiteX250" fmla="*/ 166577 w 168469"/>
                <a:gd name="connsiteY250" fmla="*/ 93226 h 174385"/>
                <a:gd name="connsiteX251" fmla="*/ 166104 w 168469"/>
                <a:gd name="connsiteY251" fmla="*/ 93226 h 174385"/>
                <a:gd name="connsiteX252" fmla="*/ 166104 w 168469"/>
                <a:gd name="connsiteY252" fmla="*/ 93699 h 174385"/>
                <a:gd name="connsiteX253" fmla="*/ 165630 w 168469"/>
                <a:gd name="connsiteY253" fmla="*/ 93699 h 174385"/>
                <a:gd name="connsiteX254" fmla="*/ 165630 w 168469"/>
                <a:gd name="connsiteY254" fmla="*/ 94173 h 174385"/>
                <a:gd name="connsiteX255" fmla="*/ 164921 w 168469"/>
                <a:gd name="connsiteY255" fmla="*/ 94646 h 174385"/>
                <a:gd name="connsiteX256" fmla="*/ 164921 w 168469"/>
                <a:gd name="connsiteY256" fmla="*/ 94646 h 174385"/>
                <a:gd name="connsiteX257" fmla="*/ 164447 w 168469"/>
                <a:gd name="connsiteY257" fmla="*/ 95119 h 174385"/>
                <a:gd name="connsiteX258" fmla="*/ 163738 w 168469"/>
                <a:gd name="connsiteY258" fmla="*/ 95119 h 174385"/>
                <a:gd name="connsiteX259" fmla="*/ 163738 w 168469"/>
                <a:gd name="connsiteY259" fmla="*/ 95592 h 174385"/>
                <a:gd name="connsiteX260" fmla="*/ 162554 w 168469"/>
                <a:gd name="connsiteY260" fmla="*/ 96066 h 174385"/>
                <a:gd name="connsiteX261" fmla="*/ 161135 w 168469"/>
                <a:gd name="connsiteY261" fmla="*/ 96066 h 174385"/>
                <a:gd name="connsiteX262" fmla="*/ 114758 w 168469"/>
                <a:gd name="connsiteY262" fmla="*/ 119254 h 174385"/>
                <a:gd name="connsiteX263" fmla="*/ 91807 w 168469"/>
                <a:gd name="connsiteY263" fmla="*/ 165394 h 174385"/>
                <a:gd name="connsiteX264" fmla="*/ 91807 w 168469"/>
                <a:gd name="connsiteY264" fmla="*/ 165394 h 174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</a:cxnLst>
              <a:rect l="l" t="t" r="r" b="b"/>
              <a:pathLst>
                <a:path w="168469" h="174385">
                  <a:moveTo>
                    <a:pt x="37149" y="87784"/>
                  </a:moveTo>
                  <a:cubicBezTo>
                    <a:pt x="47086" y="92516"/>
                    <a:pt x="56078" y="99142"/>
                    <a:pt x="63886" y="106713"/>
                  </a:cubicBezTo>
                  <a:cubicBezTo>
                    <a:pt x="71694" y="114522"/>
                    <a:pt x="78083" y="123513"/>
                    <a:pt x="82815" y="133451"/>
                  </a:cubicBezTo>
                  <a:cubicBezTo>
                    <a:pt x="87548" y="123513"/>
                    <a:pt x="94173" y="114285"/>
                    <a:pt x="101744" y="106713"/>
                  </a:cubicBezTo>
                  <a:cubicBezTo>
                    <a:pt x="109553" y="98905"/>
                    <a:pt x="118544" y="92516"/>
                    <a:pt x="128482" y="87784"/>
                  </a:cubicBezTo>
                  <a:cubicBezTo>
                    <a:pt x="118544" y="83052"/>
                    <a:pt x="109553" y="76427"/>
                    <a:pt x="101744" y="68855"/>
                  </a:cubicBezTo>
                  <a:cubicBezTo>
                    <a:pt x="93936" y="61047"/>
                    <a:pt x="87548" y="52055"/>
                    <a:pt x="82815" y="42117"/>
                  </a:cubicBezTo>
                  <a:cubicBezTo>
                    <a:pt x="77846" y="52055"/>
                    <a:pt x="71458" y="61047"/>
                    <a:pt x="63886" y="68855"/>
                  </a:cubicBezTo>
                  <a:cubicBezTo>
                    <a:pt x="56078" y="76663"/>
                    <a:pt x="47086" y="83052"/>
                    <a:pt x="37149" y="87784"/>
                  </a:cubicBezTo>
                  <a:moveTo>
                    <a:pt x="91807" y="166104"/>
                  </a:moveTo>
                  <a:lnTo>
                    <a:pt x="91807" y="166104"/>
                  </a:lnTo>
                  <a:lnTo>
                    <a:pt x="91807" y="166577"/>
                  </a:lnTo>
                  <a:lnTo>
                    <a:pt x="91807" y="166577"/>
                  </a:lnTo>
                  <a:lnTo>
                    <a:pt x="91807" y="167050"/>
                  </a:lnTo>
                  <a:lnTo>
                    <a:pt x="91807" y="167050"/>
                  </a:lnTo>
                  <a:lnTo>
                    <a:pt x="91807" y="167523"/>
                  </a:lnTo>
                  <a:lnTo>
                    <a:pt x="91807" y="167523"/>
                  </a:lnTo>
                  <a:cubicBezTo>
                    <a:pt x="91807" y="167523"/>
                    <a:pt x="91570" y="168470"/>
                    <a:pt x="91333" y="168706"/>
                  </a:cubicBezTo>
                  <a:lnTo>
                    <a:pt x="91333" y="168706"/>
                  </a:lnTo>
                  <a:lnTo>
                    <a:pt x="91333" y="169180"/>
                  </a:lnTo>
                  <a:lnTo>
                    <a:pt x="91097" y="169180"/>
                  </a:lnTo>
                  <a:cubicBezTo>
                    <a:pt x="91097" y="169180"/>
                    <a:pt x="90860" y="169889"/>
                    <a:pt x="90860" y="169889"/>
                  </a:cubicBezTo>
                  <a:lnTo>
                    <a:pt x="90860" y="169889"/>
                  </a:lnTo>
                  <a:lnTo>
                    <a:pt x="90387" y="170599"/>
                  </a:lnTo>
                  <a:lnTo>
                    <a:pt x="90150" y="170599"/>
                  </a:lnTo>
                  <a:lnTo>
                    <a:pt x="90150" y="171072"/>
                  </a:lnTo>
                  <a:lnTo>
                    <a:pt x="89677" y="171072"/>
                  </a:lnTo>
                  <a:lnTo>
                    <a:pt x="89677" y="171546"/>
                  </a:lnTo>
                  <a:lnTo>
                    <a:pt x="89204" y="171546"/>
                  </a:lnTo>
                  <a:lnTo>
                    <a:pt x="89204" y="172019"/>
                  </a:lnTo>
                  <a:cubicBezTo>
                    <a:pt x="89204" y="172019"/>
                    <a:pt x="88731" y="172256"/>
                    <a:pt x="88494" y="172492"/>
                  </a:cubicBezTo>
                  <a:lnTo>
                    <a:pt x="88494" y="172492"/>
                  </a:lnTo>
                  <a:lnTo>
                    <a:pt x="88021" y="172965"/>
                  </a:lnTo>
                  <a:lnTo>
                    <a:pt x="87311" y="172965"/>
                  </a:lnTo>
                  <a:lnTo>
                    <a:pt x="87311" y="173439"/>
                  </a:lnTo>
                  <a:cubicBezTo>
                    <a:pt x="87311" y="173439"/>
                    <a:pt x="86601" y="173675"/>
                    <a:pt x="86128" y="173912"/>
                  </a:cubicBezTo>
                  <a:lnTo>
                    <a:pt x="84235" y="173912"/>
                  </a:lnTo>
                  <a:lnTo>
                    <a:pt x="84235" y="174385"/>
                  </a:lnTo>
                  <a:lnTo>
                    <a:pt x="81159" y="174385"/>
                  </a:lnTo>
                  <a:lnTo>
                    <a:pt x="81159" y="173912"/>
                  </a:lnTo>
                  <a:lnTo>
                    <a:pt x="81159" y="173912"/>
                  </a:lnTo>
                  <a:cubicBezTo>
                    <a:pt x="81159" y="173912"/>
                    <a:pt x="80449" y="173912"/>
                    <a:pt x="80213" y="173439"/>
                  </a:cubicBezTo>
                  <a:lnTo>
                    <a:pt x="79503" y="173439"/>
                  </a:lnTo>
                  <a:lnTo>
                    <a:pt x="79503" y="172965"/>
                  </a:lnTo>
                  <a:lnTo>
                    <a:pt x="79503" y="172965"/>
                  </a:lnTo>
                  <a:cubicBezTo>
                    <a:pt x="79503" y="172965"/>
                    <a:pt x="79266" y="172965"/>
                    <a:pt x="79029" y="172492"/>
                  </a:cubicBezTo>
                  <a:lnTo>
                    <a:pt x="79029" y="172492"/>
                  </a:lnTo>
                  <a:lnTo>
                    <a:pt x="78556" y="172019"/>
                  </a:lnTo>
                  <a:lnTo>
                    <a:pt x="78320" y="172019"/>
                  </a:lnTo>
                  <a:lnTo>
                    <a:pt x="78320" y="171546"/>
                  </a:lnTo>
                  <a:lnTo>
                    <a:pt x="77846" y="171546"/>
                  </a:lnTo>
                  <a:lnTo>
                    <a:pt x="77846" y="171072"/>
                  </a:lnTo>
                  <a:lnTo>
                    <a:pt x="77373" y="171072"/>
                  </a:lnTo>
                  <a:lnTo>
                    <a:pt x="77373" y="170599"/>
                  </a:lnTo>
                  <a:lnTo>
                    <a:pt x="77373" y="170599"/>
                  </a:lnTo>
                  <a:lnTo>
                    <a:pt x="76900" y="169889"/>
                  </a:lnTo>
                  <a:lnTo>
                    <a:pt x="76900" y="169889"/>
                  </a:lnTo>
                  <a:lnTo>
                    <a:pt x="76900" y="169180"/>
                  </a:lnTo>
                  <a:lnTo>
                    <a:pt x="76427" y="169180"/>
                  </a:lnTo>
                  <a:lnTo>
                    <a:pt x="76427" y="168470"/>
                  </a:lnTo>
                  <a:lnTo>
                    <a:pt x="76190" y="168470"/>
                  </a:lnTo>
                  <a:cubicBezTo>
                    <a:pt x="76190" y="168470"/>
                    <a:pt x="75953" y="167523"/>
                    <a:pt x="75953" y="167287"/>
                  </a:cubicBezTo>
                  <a:lnTo>
                    <a:pt x="75953" y="167287"/>
                  </a:lnTo>
                  <a:lnTo>
                    <a:pt x="75953" y="166813"/>
                  </a:lnTo>
                  <a:lnTo>
                    <a:pt x="75953" y="166813"/>
                  </a:lnTo>
                  <a:lnTo>
                    <a:pt x="75953" y="166340"/>
                  </a:lnTo>
                  <a:lnTo>
                    <a:pt x="75953" y="166340"/>
                  </a:lnTo>
                  <a:lnTo>
                    <a:pt x="75953" y="165867"/>
                  </a:lnTo>
                  <a:lnTo>
                    <a:pt x="75953" y="165867"/>
                  </a:lnTo>
                  <a:cubicBezTo>
                    <a:pt x="73587" y="147648"/>
                    <a:pt x="65306" y="131558"/>
                    <a:pt x="53002" y="119254"/>
                  </a:cubicBezTo>
                  <a:cubicBezTo>
                    <a:pt x="40934" y="106950"/>
                    <a:pt x="24608" y="98668"/>
                    <a:pt x="6862" y="96302"/>
                  </a:cubicBezTo>
                  <a:lnTo>
                    <a:pt x="5442" y="96302"/>
                  </a:lnTo>
                  <a:cubicBezTo>
                    <a:pt x="5442" y="96302"/>
                    <a:pt x="4732" y="95829"/>
                    <a:pt x="4496" y="95592"/>
                  </a:cubicBezTo>
                  <a:lnTo>
                    <a:pt x="3786" y="95592"/>
                  </a:lnTo>
                  <a:lnTo>
                    <a:pt x="3786" y="95119"/>
                  </a:lnTo>
                  <a:lnTo>
                    <a:pt x="3786" y="95119"/>
                  </a:lnTo>
                  <a:lnTo>
                    <a:pt x="3313" y="94646"/>
                  </a:lnTo>
                  <a:lnTo>
                    <a:pt x="3313" y="94646"/>
                  </a:lnTo>
                  <a:lnTo>
                    <a:pt x="2839" y="94173"/>
                  </a:lnTo>
                  <a:lnTo>
                    <a:pt x="2603" y="94173"/>
                  </a:lnTo>
                  <a:lnTo>
                    <a:pt x="2603" y="93699"/>
                  </a:lnTo>
                  <a:lnTo>
                    <a:pt x="2130" y="93699"/>
                  </a:lnTo>
                  <a:lnTo>
                    <a:pt x="2130" y="93226"/>
                  </a:lnTo>
                  <a:lnTo>
                    <a:pt x="1656" y="93226"/>
                  </a:lnTo>
                  <a:lnTo>
                    <a:pt x="1656" y="92753"/>
                  </a:lnTo>
                  <a:lnTo>
                    <a:pt x="1656" y="92753"/>
                  </a:lnTo>
                  <a:cubicBezTo>
                    <a:pt x="1656" y="92753"/>
                    <a:pt x="1420" y="92280"/>
                    <a:pt x="1183" y="92043"/>
                  </a:cubicBezTo>
                  <a:lnTo>
                    <a:pt x="1183" y="92043"/>
                  </a:lnTo>
                  <a:lnTo>
                    <a:pt x="1183" y="91333"/>
                  </a:lnTo>
                  <a:lnTo>
                    <a:pt x="710" y="91333"/>
                  </a:lnTo>
                  <a:lnTo>
                    <a:pt x="710" y="90624"/>
                  </a:lnTo>
                  <a:lnTo>
                    <a:pt x="473" y="90624"/>
                  </a:lnTo>
                  <a:cubicBezTo>
                    <a:pt x="473" y="90624"/>
                    <a:pt x="237" y="89677"/>
                    <a:pt x="0" y="89440"/>
                  </a:cubicBezTo>
                  <a:lnTo>
                    <a:pt x="0" y="89440"/>
                  </a:lnTo>
                  <a:lnTo>
                    <a:pt x="0" y="88967"/>
                  </a:lnTo>
                  <a:lnTo>
                    <a:pt x="0" y="88967"/>
                  </a:lnTo>
                  <a:lnTo>
                    <a:pt x="0" y="88494"/>
                  </a:lnTo>
                  <a:lnTo>
                    <a:pt x="0" y="88494"/>
                  </a:lnTo>
                  <a:lnTo>
                    <a:pt x="0" y="88021"/>
                  </a:lnTo>
                  <a:lnTo>
                    <a:pt x="0" y="88021"/>
                  </a:lnTo>
                  <a:lnTo>
                    <a:pt x="0" y="87547"/>
                  </a:lnTo>
                  <a:lnTo>
                    <a:pt x="0" y="87547"/>
                  </a:lnTo>
                  <a:lnTo>
                    <a:pt x="0" y="87074"/>
                  </a:lnTo>
                  <a:lnTo>
                    <a:pt x="0" y="87074"/>
                  </a:lnTo>
                  <a:lnTo>
                    <a:pt x="0" y="86601"/>
                  </a:lnTo>
                  <a:lnTo>
                    <a:pt x="0" y="86601"/>
                  </a:lnTo>
                  <a:lnTo>
                    <a:pt x="0" y="86128"/>
                  </a:lnTo>
                  <a:lnTo>
                    <a:pt x="0" y="86128"/>
                  </a:lnTo>
                  <a:lnTo>
                    <a:pt x="0" y="85654"/>
                  </a:lnTo>
                  <a:lnTo>
                    <a:pt x="0" y="85654"/>
                  </a:lnTo>
                  <a:lnTo>
                    <a:pt x="0" y="85181"/>
                  </a:lnTo>
                  <a:lnTo>
                    <a:pt x="0" y="85181"/>
                  </a:lnTo>
                  <a:lnTo>
                    <a:pt x="0" y="84708"/>
                  </a:lnTo>
                  <a:lnTo>
                    <a:pt x="0" y="84708"/>
                  </a:lnTo>
                  <a:lnTo>
                    <a:pt x="0" y="84235"/>
                  </a:lnTo>
                  <a:lnTo>
                    <a:pt x="0" y="84235"/>
                  </a:lnTo>
                  <a:lnTo>
                    <a:pt x="0" y="83762"/>
                  </a:lnTo>
                  <a:cubicBezTo>
                    <a:pt x="0" y="83762"/>
                    <a:pt x="237" y="83052"/>
                    <a:pt x="473" y="82815"/>
                  </a:cubicBezTo>
                  <a:lnTo>
                    <a:pt x="473" y="82815"/>
                  </a:lnTo>
                  <a:lnTo>
                    <a:pt x="473" y="82342"/>
                  </a:lnTo>
                  <a:lnTo>
                    <a:pt x="710" y="82342"/>
                  </a:lnTo>
                  <a:cubicBezTo>
                    <a:pt x="710" y="82342"/>
                    <a:pt x="710" y="81632"/>
                    <a:pt x="946" y="81632"/>
                  </a:cubicBezTo>
                  <a:lnTo>
                    <a:pt x="946" y="81632"/>
                  </a:lnTo>
                  <a:lnTo>
                    <a:pt x="1420" y="80922"/>
                  </a:lnTo>
                  <a:lnTo>
                    <a:pt x="1656" y="80922"/>
                  </a:lnTo>
                  <a:lnTo>
                    <a:pt x="1656" y="80449"/>
                  </a:lnTo>
                  <a:lnTo>
                    <a:pt x="2130" y="80449"/>
                  </a:lnTo>
                  <a:lnTo>
                    <a:pt x="2130" y="79976"/>
                  </a:lnTo>
                  <a:lnTo>
                    <a:pt x="2603" y="79976"/>
                  </a:lnTo>
                  <a:lnTo>
                    <a:pt x="2603" y="79503"/>
                  </a:lnTo>
                  <a:cubicBezTo>
                    <a:pt x="2603" y="79503"/>
                    <a:pt x="3076" y="79266"/>
                    <a:pt x="3313" y="79029"/>
                  </a:cubicBezTo>
                  <a:lnTo>
                    <a:pt x="3313" y="79029"/>
                  </a:lnTo>
                  <a:lnTo>
                    <a:pt x="3786" y="78556"/>
                  </a:lnTo>
                  <a:lnTo>
                    <a:pt x="4496" y="78556"/>
                  </a:lnTo>
                  <a:lnTo>
                    <a:pt x="4496" y="78083"/>
                  </a:lnTo>
                  <a:cubicBezTo>
                    <a:pt x="4496" y="78083"/>
                    <a:pt x="5206" y="77846"/>
                    <a:pt x="5679" y="77610"/>
                  </a:cubicBezTo>
                  <a:lnTo>
                    <a:pt x="7099" y="77610"/>
                  </a:lnTo>
                  <a:cubicBezTo>
                    <a:pt x="25081" y="75007"/>
                    <a:pt x="41171" y="66725"/>
                    <a:pt x="53238" y="54421"/>
                  </a:cubicBezTo>
                  <a:cubicBezTo>
                    <a:pt x="65542" y="42117"/>
                    <a:pt x="73824" y="26028"/>
                    <a:pt x="76190" y="8281"/>
                  </a:cubicBezTo>
                  <a:lnTo>
                    <a:pt x="76190" y="8281"/>
                  </a:lnTo>
                  <a:lnTo>
                    <a:pt x="76190" y="7808"/>
                  </a:lnTo>
                  <a:lnTo>
                    <a:pt x="76190" y="7808"/>
                  </a:lnTo>
                  <a:lnTo>
                    <a:pt x="76190" y="7335"/>
                  </a:lnTo>
                  <a:lnTo>
                    <a:pt x="76190" y="7335"/>
                  </a:lnTo>
                  <a:lnTo>
                    <a:pt x="76190" y="6862"/>
                  </a:lnTo>
                  <a:lnTo>
                    <a:pt x="76190" y="6862"/>
                  </a:lnTo>
                  <a:cubicBezTo>
                    <a:pt x="76190" y="6862"/>
                    <a:pt x="76190" y="5915"/>
                    <a:pt x="76427" y="5679"/>
                  </a:cubicBezTo>
                  <a:lnTo>
                    <a:pt x="76427" y="5679"/>
                  </a:lnTo>
                  <a:lnTo>
                    <a:pt x="76427" y="5206"/>
                  </a:lnTo>
                  <a:lnTo>
                    <a:pt x="76663" y="5206"/>
                  </a:lnTo>
                  <a:lnTo>
                    <a:pt x="76663" y="4259"/>
                  </a:lnTo>
                  <a:lnTo>
                    <a:pt x="77137" y="4259"/>
                  </a:lnTo>
                  <a:lnTo>
                    <a:pt x="77610" y="3549"/>
                  </a:lnTo>
                  <a:lnTo>
                    <a:pt x="77846" y="3549"/>
                  </a:lnTo>
                  <a:lnTo>
                    <a:pt x="77846" y="3076"/>
                  </a:lnTo>
                  <a:lnTo>
                    <a:pt x="78320" y="3076"/>
                  </a:lnTo>
                  <a:lnTo>
                    <a:pt x="78320" y="2603"/>
                  </a:lnTo>
                  <a:lnTo>
                    <a:pt x="78793" y="2603"/>
                  </a:lnTo>
                  <a:lnTo>
                    <a:pt x="78793" y="2129"/>
                  </a:lnTo>
                  <a:lnTo>
                    <a:pt x="79029" y="2129"/>
                  </a:lnTo>
                  <a:lnTo>
                    <a:pt x="79503" y="1656"/>
                  </a:lnTo>
                  <a:lnTo>
                    <a:pt x="79503" y="1656"/>
                  </a:lnTo>
                  <a:lnTo>
                    <a:pt x="79976" y="1183"/>
                  </a:lnTo>
                  <a:lnTo>
                    <a:pt x="80686" y="1183"/>
                  </a:lnTo>
                  <a:cubicBezTo>
                    <a:pt x="80686" y="1183"/>
                    <a:pt x="81396" y="473"/>
                    <a:pt x="81632" y="473"/>
                  </a:cubicBezTo>
                  <a:lnTo>
                    <a:pt x="83288" y="473"/>
                  </a:lnTo>
                  <a:lnTo>
                    <a:pt x="83288" y="0"/>
                  </a:lnTo>
                  <a:lnTo>
                    <a:pt x="86601" y="0"/>
                  </a:lnTo>
                  <a:lnTo>
                    <a:pt x="86601" y="473"/>
                  </a:lnTo>
                  <a:cubicBezTo>
                    <a:pt x="86601" y="473"/>
                    <a:pt x="87311" y="473"/>
                    <a:pt x="87784" y="946"/>
                  </a:cubicBezTo>
                  <a:lnTo>
                    <a:pt x="88494" y="946"/>
                  </a:lnTo>
                  <a:lnTo>
                    <a:pt x="88967" y="1656"/>
                  </a:lnTo>
                  <a:lnTo>
                    <a:pt x="88967" y="1656"/>
                  </a:lnTo>
                  <a:cubicBezTo>
                    <a:pt x="88967" y="1656"/>
                    <a:pt x="89440" y="2129"/>
                    <a:pt x="89440" y="2129"/>
                  </a:cubicBezTo>
                  <a:lnTo>
                    <a:pt x="89677" y="2129"/>
                  </a:lnTo>
                  <a:lnTo>
                    <a:pt x="89677" y="2603"/>
                  </a:lnTo>
                  <a:lnTo>
                    <a:pt x="90150" y="2603"/>
                  </a:lnTo>
                  <a:lnTo>
                    <a:pt x="90150" y="3076"/>
                  </a:lnTo>
                  <a:lnTo>
                    <a:pt x="90624" y="3076"/>
                  </a:lnTo>
                  <a:lnTo>
                    <a:pt x="90624" y="3549"/>
                  </a:lnTo>
                  <a:lnTo>
                    <a:pt x="90624" y="3549"/>
                  </a:lnTo>
                  <a:lnTo>
                    <a:pt x="91097" y="4259"/>
                  </a:lnTo>
                  <a:lnTo>
                    <a:pt x="91097" y="4259"/>
                  </a:lnTo>
                  <a:lnTo>
                    <a:pt x="91097" y="4969"/>
                  </a:lnTo>
                  <a:lnTo>
                    <a:pt x="91570" y="4969"/>
                  </a:lnTo>
                  <a:lnTo>
                    <a:pt x="91570" y="5679"/>
                  </a:lnTo>
                  <a:lnTo>
                    <a:pt x="91570" y="5679"/>
                  </a:lnTo>
                  <a:cubicBezTo>
                    <a:pt x="91570" y="5679"/>
                    <a:pt x="91807" y="6625"/>
                    <a:pt x="92043" y="6862"/>
                  </a:cubicBezTo>
                  <a:lnTo>
                    <a:pt x="92043" y="6862"/>
                  </a:lnTo>
                  <a:lnTo>
                    <a:pt x="92043" y="7335"/>
                  </a:lnTo>
                  <a:lnTo>
                    <a:pt x="92043" y="7335"/>
                  </a:lnTo>
                  <a:lnTo>
                    <a:pt x="92043" y="7808"/>
                  </a:lnTo>
                  <a:lnTo>
                    <a:pt x="92043" y="7808"/>
                  </a:lnTo>
                  <a:lnTo>
                    <a:pt x="92043" y="8281"/>
                  </a:lnTo>
                  <a:lnTo>
                    <a:pt x="92043" y="8281"/>
                  </a:lnTo>
                  <a:cubicBezTo>
                    <a:pt x="94409" y="26501"/>
                    <a:pt x="102691" y="42591"/>
                    <a:pt x="114995" y="54658"/>
                  </a:cubicBezTo>
                  <a:cubicBezTo>
                    <a:pt x="127299" y="66725"/>
                    <a:pt x="143389" y="75244"/>
                    <a:pt x="161371" y="77610"/>
                  </a:cubicBezTo>
                  <a:lnTo>
                    <a:pt x="162791" y="77610"/>
                  </a:lnTo>
                  <a:cubicBezTo>
                    <a:pt x="162791" y="77610"/>
                    <a:pt x="163501" y="78083"/>
                    <a:pt x="163738" y="78319"/>
                  </a:cubicBezTo>
                  <a:lnTo>
                    <a:pt x="164447" y="78319"/>
                  </a:lnTo>
                  <a:lnTo>
                    <a:pt x="164447" y="78793"/>
                  </a:lnTo>
                  <a:lnTo>
                    <a:pt x="165157" y="79266"/>
                  </a:lnTo>
                  <a:lnTo>
                    <a:pt x="165157" y="79266"/>
                  </a:lnTo>
                  <a:cubicBezTo>
                    <a:pt x="165157" y="79266"/>
                    <a:pt x="165394" y="79503"/>
                    <a:pt x="165630" y="79739"/>
                  </a:cubicBezTo>
                  <a:lnTo>
                    <a:pt x="165867" y="79739"/>
                  </a:lnTo>
                  <a:lnTo>
                    <a:pt x="165867" y="80212"/>
                  </a:lnTo>
                  <a:lnTo>
                    <a:pt x="166340" y="80212"/>
                  </a:lnTo>
                  <a:lnTo>
                    <a:pt x="166340" y="80686"/>
                  </a:lnTo>
                  <a:lnTo>
                    <a:pt x="166814" y="80686"/>
                  </a:lnTo>
                  <a:lnTo>
                    <a:pt x="166814" y="81159"/>
                  </a:lnTo>
                  <a:lnTo>
                    <a:pt x="166814" y="81159"/>
                  </a:lnTo>
                  <a:lnTo>
                    <a:pt x="167287" y="81869"/>
                  </a:lnTo>
                  <a:lnTo>
                    <a:pt x="167287" y="81869"/>
                  </a:lnTo>
                  <a:lnTo>
                    <a:pt x="167287" y="82579"/>
                  </a:lnTo>
                  <a:lnTo>
                    <a:pt x="167760" y="82579"/>
                  </a:lnTo>
                  <a:lnTo>
                    <a:pt x="167760" y="83052"/>
                  </a:lnTo>
                  <a:lnTo>
                    <a:pt x="167997" y="83052"/>
                  </a:lnTo>
                  <a:lnTo>
                    <a:pt x="168470" y="84235"/>
                  </a:lnTo>
                  <a:lnTo>
                    <a:pt x="168470" y="84235"/>
                  </a:lnTo>
                  <a:lnTo>
                    <a:pt x="168470" y="84708"/>
                  </a:lnTo>
                  <a:lnTo>
                    <a:pt x="168470" y="84708"/>
                  </a:lnTo>
                  <a:lnTo>
                    <a:pt x="168470" y="85181"/>
                  </a:lnTo>
                  <a:lnTo>
                    <a:pt x="168470" y="85181"/>
                  </a:lnTo>
                  <a:lnTo>
                    <a:pt x="168470" y="85654"/>
                  </a:lnTo>
                  <a:lnTo>
                    <a:pt x="168470" y="85654"/>
                  </a:lnTo>
                  <a:lnTo>
                    <a:pt x="168470" y="86128"/>
                  </a:lnTo>
                  <a:lnTo>
                    <a:pt x="168470" y="86128"/>
                  </a:lnTo>
                  <a:lnTo>
                    <a:pt x="168470" y="86601"/>
                  </a:lnTo>
                  <a:lnTo>
                    <a:pt x="168470" y="86601"/>
                  </a:lnTo>
                  <a:lnTo>
                    <a:pt x="168470" y="87074"/>
                  </a:lnTo>
                  <a:lnTo>
                    <a:pt x="168470" y="87074"/>
                  </a:lnTo>
                  <a:lnTo>
                    <a:pt x="168470" y="87547"/>
                  </a:lnTo>
                  <a:lnTo>
                    <a:pt x="168470" y="87547"/>
                  </a:lnTo>
                  <a:lnTo>
                    <a:pt x="168470" y="88021"/>
                  </a:lnTo>
                  <a:lnTo>
                    <a:pt x="168470" y="88021"/>
                  </a:lnTo>
                  <a:lnTo>
                    <a:pt x="168470" y="88494"/>
                  </a:lnTo>
                  <a:lnTo>
                    <a:pt x="168470" y="88494"/>
                  </a:lnTo>
                  <a:lnTo>
                    <a:pt x="168470" y="88967"/>
                  </a:lnTo>
                  <a:lnTo>
                    <a:pt x="168470" y="88967"/>
                  </a:lnTo>
                  <a:lnTo>
                    <a:pt x="168470" y="89440"/>
                  </a:lnTo>
                  <a:lnTo>
                    <a:pt x="168470" y="89440"/>
                  </a:lnTo>
                  <a:lnTo>
                    <a:pt x="168470" y="89914"/>
                  </a:lnTo>
                  <a:cubicBezTo>
                    <a:pt x="168470" y="89914"/>
                    <a:pt x="168233" y="90624"/>
                    <a:pt x="167997" y="90860"/>
                  </a:cubicBezTo>
                  <a:lnTo>
                    <a:pt x="167997" y="90860"/>
                  </a:lnTo>
                  <a:lnTo>
                    <a:pt x="167997" y="91333"/>
                  </a:lnTo>
                  <a:lnTo>
                    <a:pt x="167760" y="91333"/>
                  </a:lnTo>
                  <a:lnTo>
                    <a:pt x="167760" y="92043"/>
                  </a:lnTo>
                  <a:lnTo>
                    <a:pt x="167287" y="92043"/>
                  </a:lnTo>
                  <a:cubicBezTo>
                    <a:pt x="167287" y="92043"/>
                    <a:pt x="167287" y="92516"/>
                    <a:pt x="166814" y="92753"/>
                  </a:cubicBezTo>
                  <a:lnTo>
                    <a:pt x="166577" y="92753"/>
                  </a:lnTo>
                  <a:lnTo>
                    <a:pt x="166577" y="93226"/>
                  </a:lnTo>
                  <a:lnTo>
                    <a:pt x="166104" y="93226"/>
                  </a:lnTo>
                  <a:lnTo>
                    <a:pt x="166104" y="93699"/>
                  </a:lnTo>
                  <a:lnTo>
                    <a:pt x="165630" y="93699"/>
                  </a:lnTo>
                  <a:lnTo>
                    <a:pt x="165630" y="94173"/>
                  </a:lnTo>
                  <a:lnTo>
                    <a:pt x="164921" y="94646"/>
                  </a:lnTo>
                  <a:lnTo>
                    <a:pt x="164921" y="94646"/>
                  </a:lnTo>
                  <a:lnTo>
                    <a:pt x="164447" y="95119"/>
                  </a:lnTo>
                  <a:lnTo>
                    <a:pt x="163738" y="95119"/>
                  </a:lnTo>
                  <a:lnTo>
                    <a:pt x="163738" y="95592"/>
                  </a:lnTo>
                  <a:cubicBezTo>
                    <a:pt x="163738" y="95592"/>
                    <a:pt x="163028" y="95829"/>
                    <a:pt x="162554" y="96066"/>
                  </a:cubicBezTo>
                  <a:lnTo>
                    <a:pt x="161135" y="96066"/>
                  </a:lnTo>
                  <a:cubicBezTo>
                    <a:pt x="143152" y="98905"/>
                    <a:pt x="127062" y="106950"/>
                    <a:pt x="114758" y="119254"/>
                  </a:cubicBezTo>
                  <a:cubicBezTo>
                    <a:pt x="102691" y="131558"/>
                    <a:pt x="94173" y="147648"/>
                    <a:pt x="91807" y="165394"/>
                  </a:cubicBezTo>
                  <a:lnTo>
                    <a:pt x="91807" y="165394"/>
                  </a:lnTo>
                  <a:close/>
                </a:path>
              </a:pathLst>
            </a:custGeom>
            <a:solidFill>
              <a:schemeClr val="bg1"/>
            </a:solidFill>
            <a:ln w="23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>
                <a:latin typeface="Montserrat" panose="00000500000000000000" pitchFamily="2" charset="-18"/>
              </a:endParaRPr>
            </a:p>
          </p:txBody>
        </p:sp>
        <p:sp>
          <p:nvSpPr>
            <p:cNvPr id="45" name="Dowolny kształt: kształt 44">
              <a:extLst>
                <a:ext uri="{FF2B5EF4-FFF2-40B4-BE49-F238E27FC236}">
                  <a16:creationId xmlns:a16="http://schemas.microsoft.com/office/drawing/2014/main" id="{EDA9164F-B902-2B71-A8A7-E8ABB8E88F47}"/>
                </a:ext>
              </a:extLst>
            </p:cNvPr>
            <p:cNvSpPr/>
            <p:nvPr/>
          </p:nvSpPr>
          <p:spPr>
            <a:xfrm>
              <a:off x="8082176" y="1539484"/>
              <a:ext cx="321676" cy="272200"/>
            </a:xfrm>
            <a:custGeom>
              <a:avLst/>
              <a:gdLst>
                <a:gd name="connsiteX0" fmla="*/ 235905 w 429219"/>
                <a:gd name="connsiteY0" fmla="*/ 187399 h 363203"/>
                <a:gd name="connsiteX1" fmla="*/ 210351 w 429219"/>
                <a:gd name="connsiteY1" fmla="*/ 224074 h 363203"/>
                <a:gd name="connsiteX2" fmla="*/ 173675 w 429219"/>
                <a:gd name="connsiteY2" fmla="*/ 249629 h 363203"/>
                <a:gd name="connsiteX3" fmla="*/ 210351 w 429219"/>
                <a:gd name="connsiteY3" fmla="*/ 275183 h 363203"/>
                <a:gd name="connsiteX4" fmla="*/ 235905 w 429219"/>
                <a:gd name="connsiteY4" fmla="*/ 311622 h 363203"/>
                <a:gd name="connsiteX5" fmla="*/ 261460 w 429219"/>
                <a:gd name="connsiteY5" fmla="*/ 275183 h 363203"/>
                <a:gd name="connsiteX6" fmla="*/ 297898 w 429219"/>
                <a:gd name="connsiteY6" fmla="*/ 249629 h 363203"/>
                <a:gd name="connsiteX7" fmla="*/ 261460 w 429219"/>
                <a:gd name="connsiteY7" fmla="*/ 224074 h 363203"/>
                <a:gd name="connsiteX8" fmla="*/ 235905 w 429219"/>
                <a:gd name="connsiteY8" fmla="*/ 187399 h 363203"/>
                <a:gd name="connsiteX9" fmla="*/ 397040 w 429219"/>
                <a:gd name="connsiteY9" fmla="*/ 105767 h 363203"/>
                <a:gd name="connsiteX10" fmla="*/ 382370 w 429219"/>
                <a:gd name="connsiteY10" fmla="*/ 94646 h 363203"/>
                <a:gd name="connsiteX11" fmla="*/ 382370 w 429219"/>
                <a:gd name="connsiteY11" fmla="*/ 94646 h 363203"/>
                <a:gd name="connsiteX12" fmla="*/ 371249 w 429219"/>
                <a:gd name="connsiteY12" fmla="*/ 79976 h 363203"/>
                <a:gd name="connsiteX13" fmla="*/ 360128 w 429219"/>
                <a:gd name="connsiteY13" fmla="*/ 94646 h 363203"/>
                <a:gd name="connsiteX14" fmla="*/ 360128 w 429219"/>
                <a:gd name="connsiteY14" fmla="*/ 94646 h 363203"/>
                <a:gd name="connsiteX15" fmla="*/ 345458 w 429219"/>
                <a:gd name="connsiteY15" fmla="*/ 105767 h 363203"/>
                <a:gd name="connsiteX16" fmla="*/ 360128 w 429219"/>
                <a:gd name="connsiteY16" fmla="*/ 116888 h 363203"/>
                <a:gd name="connsiteX17" fmla="*/ 371012 w 429219"/>
                <a:gd name="connsiteY17" fmla="*/ 131558 h 363203"/>
                <a:gd name="connsiteX18" fmla="*/ 382133 w 429219"/>
                <a:gd name="connsiteY18" fmla="*/ 116888 h 363203"/>
                <a:gd name="connsiteX19" fmla="*/ 382606 w 429219"/>
                <a:gd name="connsiteY19" fmla="*/ 116415 h 363203"/>
                <a:gd name="connsiteX20" fmla="*/ 396803 w 429219"/>
                <a:gd name="connsiteY20" fmla="*/ 105767 h 363203"/>
                <a:gd name="connsiteX21" fmla="*/ 379530 w 429219"/>
                <a:gd name="connsiteY21" fmla="*/ 54185 h 363203"/>
                <a:gd name="connsiteX22" fmla="*/ 393964 w 429219"/>
                <a:gd name="connsiteY22" fmla="*/ 83288 h 363203"/>
                <a:gd name="connsiteX23" fmla="*/ 393964 w 429219"/>
                <a:gd name="connsiteY23" fmla="*/ 83288 h 363203"/>
                <a:gd name="connsiteX24" fmla="*/ 423067 w 429219"/>
                <a:gd name="connsiteY24" fmla="*/ 97722 h 363203"/>
                <a:gd name="connsiteX25" fmla="*/ 424724 w 429219"/>
                <a:gd name="connsiteY25" fmla="*/ 97722 h 363203"/>
                <a:gd name="connsiteX26" fmla="*/ 424724 w 429219"/>
                <a:gd name="connsiteY26" fmla="*/ 98195 h 363203"/>
                <a:gd name="connsiteX27" fmla="*/ 425670 w 429219"/>
                <a:gd name="connsiteY27" fmla="*/ 98195 h 363203"/>
                <a:gd name="connsiteX28" fmla="*/ 425670 w 429219"/>
                <a:gd name="connsiteY28" fmla="*/ 98668 h 363203"/>
                <a:gd name="connsiteX29" fmla="*/ 426380 w 429219"/>
                <a:gd name="connsiteY29" fmla="*/ 98668 h 363203"/>
                <a:gd name="connsiteX30" fmla="*/ 426380 w 429219"/>
                <a:gd name="connsiteY30" fmla="*/ 99142 h 363203"/>
                <a:gd name="connsiteX31" fmla="*/ 427090 w 429219"/>
                <a:gd name="connsiteY31" fmla="*/ 99142 h 363203"/>
                <a:gd name="connsiteX32" fmla="*/ 427090 w 429219"/>
                <a:gd name="connsiteY32" fmla="*/ 99615 h 363203"/>
                <a:gd name="connsiteX33" fmla="*/ 427563 w 429219"/>
                <a:gd name="connsiteY33" fmla="*/ 99615 h 363203"/>
                <a:gd name="connsiteX34" fmla="*/ 427563 w 429219"/>
                <a:gd name="connsiteY34" fmla="*/ 100088 h 363203"/>
                <a:gd name="connsiteX35" fmla="*/ 428036 w 429219"/>
                <a:gd name="connsiteY35" fmla="*/ 100088 h 363203"/>
                <a:gd name="connsiteX36" fmla="*/ 428036 w 429219"/>
                <a:gd name="connsiteY36" fmla="*/ 100561 h 363203"/>
                <a:gd name="connsiteX37" fmla="*/ 428510 w 429219"/>
                <a:gd name="connsiteY37" fmla="*/ 100561 h 363203"/>
                <a:gd name="connsiteX38" fmla="*/ 428510 w 429219"/>
                <a:gd name="connsiteY38" fmla="*/ 101035 h 363203"/>
                <a:gd name="connsiteX39" fmla="*/ 428746 w 429219"/>
                <a:gd name="connsiteY39" fmla="*/ 101035 h 363203"/>
                <a:gd name="connsiteX40" fmla="*/ 428746 w 429219"/>
                <a:gd name="connsiteY40" fmla="*/ 101508 h 363203"/>
                <a:gd name="connsiteX41" fmla="*/ 428746 w 429219"/>
                <a:gd name="connsiteY41" fmla="*/ 101508 h 363203"/>
                <a:gd name="connsiteX42" fmla="*/ 428746 w 429219"/>
                <a:gd name="connsiteY42" fmla="*/ 101981 h 363203"/>
                <a:gd name="connsiteX43" fmla="*/ 429219 w 429219"/>
                <a:gd name="connsiteY43" fmla="*/ 101981 h 363203"/>
                <a:gd name="connsiteX44" fmla="*/ 429219 w 429219"/>
                <a:gd name="connsiteY44" fmla="*/ 102454 h 363203"/>
                <a:gd name="connsiteX45" fmla="*/ 429219 w 429219"/>
                <a:gd name="connsiteY45" fmla="*/ 102454 h 363203"/>
                <a:gd name="connsiteX46" fmla="*/ 429219 w 429219"/>
                <a:gd name="connsiteY46" fmla="*/ 102927 h 363203"/>
                <a:gd name="connsiteX47" fmla="*/ 429219 w 429219"/>
                <a:gd name="connsiteY47" fmla="*/ 102927 h 363203"/>
                <a:gd name="connsiteX48" fmla="*/ 429219 w 429219"/>
                <a:gd name="connsiteY48" fmla="*/ 103401 h 363203"/>
                <a:gd name="connsiteX49" fmla="*/ 429219 w 429219"/>
                <a:gd name="connsiteY49" fmla="*/ 103401 h 363203"/>
                <a:gd name="connsiteX50" fmla="*/ 429219 w 429219"/>
                <a:gd name="connsiteY50" fmla="*/ 103874 h 363203"/>
                <a:gd name="connsiteX51" fmla="*/ 429219 w 429219"/>
                <a:gd name="connsiteY51" fmla="*/ 103874 h 363203"/>
                <a:gd name="connsiteX52" fmla="*/ 429219 w 429219"/>
                <a:gd name="connsiteY52" fmla="*/ 104347 h 363203"/>
                <a:gd name="connsiteX53" fmla="*/ 429219 w 429219"/>
                <a:gd name="connsiteY53" fmla="*/ 104347 h 363203"/>
                <a:gd name="connsiteX54" fmla="*/ 429219 w 429219"/>
                <a:gd name="connsiteY54" fmla="*/ 104820 h 363203"/>
                <a:gd name="connsiteX55" fmla="*/ 429219 w 429219"/>
                <a:gd name="connsiteY55" fmla="*/ 104820 h 363203"/>
                <a:gd name="connsiteX56" fmla="*/ 429219 w 429219"/>
                <a:gd name="connsiteY56" fmla="*/ 105530 h 363203"/>
                <a:gd name="connsiteX57" fmla="*/ 429219 w 429219"/>
                <a:gd name="connsiteY57" fmla="*/ 105530 h 363203"/>
                <a:gd name="connsiteX58" fmla="*/ 429219 w 429219"/>
                <a:gd name="connsiteY58" fmla="*/ 106003 h 363203"/>
                <a:gd name="connsiteX59" fmla="*/ 429219 w 429219"/>
                <a:gd name="connsiteY59" fmla="*/ 106003 h 363203"/>
                <a:gd name="connsiteX60" fmla="*/ 429219 w 429219"/>
                <a:gd name="connsiteY60" fmla="*/ 106477 h 363203"/>
                <a:gd name="connsiteX61" fmla="*/ 429219 w 429219"/>
                <a:gd name="connsiteY61" fmla="*/ 106477 h 363203"/>
                <a:gd name="connsiteX62" fmla="*/ 429219 w 429219"/>
                <a:gd name="connsiteY62" fmla="*/ 106950 h 363203"/>
                <a:gd name="connsiteX63" fmla="*/ 429219 w 429219"/>
                <a:gd name="connsiteY63" fmla="*/ 106950 h 363203"/>
                <a:gd name="connsiteX64" fmla="*/ 429219 w 429219"/>
                <a:gd name="connsiteY64" fmla="*/ 107423 h 363203"/>
                <a:gd name="connsiteX65" fmla="*/ 429219 w 429219"/>
                <a:gd name="connsiteY65" fmla="*/ 107423 h 363203"/>
                <a:gd name="connsiteX66" fmla="*/ 429219 w 429219"/>
                <a:gd name="connsiteY66" fmla="*/ 107896 h 363203"/>
                <a:gd name="connsiteX67" fmla="*/ 429219 w 429219"/>
                <a:gd name="connsiteY67" fmla="*/ 107896 h 363203"/>
                <a:gd name="connsiteX68" fmla="*/ 429219 w 429219"/>
                <a:gd name="connsiteY68" fmla="*/ 108370 h 363203"/>
                <a:gd name="connsiteX69" fmla="*/ 429219 w 429219"/>
                <a:gd name="connsiteY69" fmla="*/ 108370 h 363203"/>
                <a:gd name="connsiteX70" fmla="*/ 429219 w 429219"/>
                <a:gd name="connsiteY70" fmla="*/ 108843 h 363203"/>
                <a:gd name="connsiteX71" fmla="*/ 429219 w 429219"/>
                <a:gd name="connsiteY71" fmla="*/ 108843 h 363203"/>
                <a:gd name="connsiteX72" fmla="*/ 429219 w 429219"/>
                <a:gd name="connsiteY72" fmla="*/ 109316 h 363203"/>
                <a:gd name="connsiteX73" fmla="*/ 429219 w 429219"/>
                <a:gd name="connsiteY73" fmla="*/ 109316 h 363203"/>
                <a:gd name="connsiteX74" fmla="*/ 429219 w 429219"/>
                <a:gd name="connsiteY74" fmla="*/ 109789 h 363203"/>
                <a:gd name="connsiteX75" fmla="*/ 429219 w 429219"/>
                <a:gd name="connsiteY75" fmla="*/ 109789 h 363203"/>
                <a:gd name="connsiteX76" fmla="*/ 429219 w 429219"/>
                <a:gd name="connsiteY76" fmla="*/ 110262 h 363203"/>
                <a:gd name="connsiteX77" fmla="*/ 429219 w 429219"/>
                <a:gd name="connsiteY77" fmla="*/ 110262 h 363203"/>
                <a:gd name="connsiteX78" fmla="*/ 429219 w 429219"/>
                <a:gd name="connsiteY78" fmla="*/ 110736 h 363203"/>
                <a:gd name="connsiteX79" fmla="*/ 429219 w 429219"/>
                <a:gd name="connsiteY79" fmla="*/ 110736 h 363203"/>
                <a:gd name="connsiteX80" fmla="*/ 429219 w 429219"/>
                <a:gd name="connsiteY80" fmla="*/ 111209 h 363203"/>
                <a:gd name="connsiteX81" fmla="*/ 429219 w 429219"/>
                <a:gd name="connsiteY81" fmla="*/ 111209 h 363203"/>
                <a:gd name="connsiteX82" fmla="*/ 429219 w 429219"/>
                <a:gd name="connsiteY82" fmla="*/ 111919 h 363203"/>
                <a:gd name="connsiteX83" fmla="*/ 428746 w 429219"/>
                <a:gd name="connsiteY83" fmla="*/ 111919 h 363203"/>
                <a:gd name="connsiteX84" fmla="*/ 428746 w 429219"/>
                <a:gd name="connsiteY84" fmla="*/ 112392 h 363203"/>
                <a:gd name="connsiteX85" fmla="*/ 428510 w 429219"/>
                <a:gd name="connsiteY85" fmla="*/ 112392 h 363203"/>
                <a:gd name="connsiteX86" fmla="*/ 428510 w 429219"/>
                <a:gd name="connsiteY86" fmla="*/ 112865 h 363203"/>
                <a:gd name="connsiteX87" fmla="*/ 428036 w 429219"/>
                <a:gd name="connsiteY87" fmla="*/ 112865 h 363203"/>
                <a:gd name="connsiteX88" fmla="*/ 428036 w 429219"/>
                <a:gd name="connsiteY88" fmla="*/ 113339 h 363203"/>
                <a:gd name="connsiteX89" fmla="*/ 427563 w 429219"/>
                <a:gd name="connsiteY89" fmla="*/ 113339 h 363203"/>
                <a:gd name="connsiteX90" fmla="*/ 427563 w 429219"/>
                <a:gd name="connsiteY90" fmla="*/ 113812 h 363203"/>
                <a:gd name="connsiteX91" fmla="*/ 427090 w 429219"/>
                <a:gd name="connsiteY91" fmla="*/ 113812 h 363203"/>
                <a:gd name="connsiteX92" fmla="*/ 427090 w 429219"/>
                <a:gd name="connsiteY92" fmla="*/ 114285 h 363203"/>
                <a:gd name="connsiteX93" fmla="*/ 426853 w 429219"/>
                <a:gd name="connsiteY93" fmla="*/ 114285 h 363203"/>
                <a:gd name="connsiteX94" fmla="*/ 426853 w 429219"/>
                <a:gd name="connsiteY94" fmla="*/ 114758 h 363203"/>
                <a:gd name="connsiteX95" fmla="*/ 425907 w 429219"/>
                <a:gd name="connsiteY95" fmla="*/ 114758 h 363203"/>
                <a:gd name="connsiteX96" fmla="*/ 425907 w 429219"/>
                <a:gd name="connsiteY96" fmla="*/ 115231 h 363203"/>
                <a:gd name="connsiteX97" fmla="*/ 424960 w 429219"/>
                <a:gd name="connsiteY97" fmla="*/ 115231 h 363203"/>
                <a:gd name="connsiteX98" fmla="*/ 424960 w 429219"/>
                <a:gd name="connsiteY98" fmla="*/ 115705 h 363203"/>
                <a:gd name="connsiteX99" fmla="*/ 423304 w 429219"/>
                <a:gd name="connsiteY99" fmla="*/ 115705 h 363203"/>
                <a:gd name="connsiteX100" fmla="*/ 423304 w 429219"/>
                <a:gd name="connsiteY100" fmla="*/ 116178 h 363203"/>
                <a:gd name="connsiteX101" fmla="*/ 423067 w 429219"/>
                <a:gd name="connsiteY101" fmla="*/ 116178 h 363203"/>
                <a:gd name="connsiteX102" fmla="*/ 394437 w 429219"/>
                <a:gd name="connsiteY102" fmla="*/ 130138 h 363203"/>
                <a:gd name="connsiteX103" fmla="*/ 393964 w 429219"/>
                <a:gd name="connsiteY103" fmla="*/ 130611 h 363203"/>
                <a:gd name="connsiteX104" fmla="*/ 379530 w 429219"/>
                <a:gd name="connsiteY104" fmla="*/ 159715 h 363203"/>
                <a:gd name="connsiteX105" fmla="*/ 379530 w 429219"/>
                <a:gd name="connsiteY105" fmla="*/ 159715 h 363203"/>
                <a:gd name="connsiteX106" fmla="*/ 379530 w 429219"/>
                <a:gd name="connsiteY106" fmla="*/ 160188 h 363203"/>
                <a:gd name="connsiteX107" fmla="*/ 379530 w 429219"/>
                <a:gd name="connsiteY107" fmla="*/ 160188 h 363203"/>
                <a:gd name="connsiteX108" fmla="*/ 379530 w 429219"/>
                <a:gd name="connsiteY108" fmla="*/ 160661 h 363203"/>
                <a:gd name="connsiteX109" fmla="*/ 379530 w 429219"/>
                <a:gd name="connsiteY109" fmla="*/ 160661 h 363203"/>
                <a:gd name="connsiteX110" fmla="*/ 379530 w 429219"/>
                <a:gd name="connsiteY110" fmla="*/ 161135 h 363203"/>
                <a:gd name="connsiteX111" fmla="*/ 379530 w 429219"/>
                <a:gd name="connsiteY111" fmla="*/ 161135 h 363203"/>
                <a:gd name="connsiteX112" fmla="*/ 379530 w 429219"/>
                <a:gd name="connsiteY112" fmla="*/ 161608 h 363203"/>
                <a:gd name="connsiteX113" fmla="*/ 379530 w 429219"/>
                <a:gd name="connsiteY113" fmla="*/ 161608 h 363203"/>
                <a:gd name="connsiteX114" fmla="*/ 379530 w 429219"/>
                <a:gd name="connsiteY114" fmla="*/ 162081 h 363203"/>
                <a:gd name="connsiteX115" fmla="*/ 379294 w 429219"/>
                <a:gd name="connsiteY115" fmla="*/ 162081 h 363203"/>
                <a:gd name="connsiteX116" fmla="*/ 379294 w 429219"/>
                <a:gd name="connsiteY116" fmla="*/ 162554 h 363203"/>
                <a:gd name="connsiteX117" fmla="*/ 379294 w 429219"/>
                <a:gd name="connsiteY117" fmla="*/ 162554 h 363203"/>
                <a:gd name="connsiteX118" fmla="*/ 379294 w 429219"/>
                <a:gd name="connsiteY118" fmla="*/ 163028 h 363203"/>
                <a:gd name="connsiteX119" fmla="*/ 379294 w 429219"/>
                <a:gd name="connsiteY119" fmla="*/ 163028 h 363203"/>
                <a:gd name="connsiteX120" fmla="*/ 379294 w 429219"/>
                <a:gd name="connsiteY120" fmla="*/ 163501 h 363203"/>
                <a:gd name="connsiteX121" fmla="*/ 378820 w 429219"/>
                <a:gd name="connsiteY121" fmla="*/ 163501 h 363203"/>
                <a:gd name="connsiteX122" fmla="*/ 378820 w 429219"/>
                <a:gd name="connsiteY122" fmla="*/ 163974 h 363203"/>
                <a:gd name="connsiteX123" fmla="*/ 378347 w 429219"/>
                <a:gd name="connsiteY123" fmla="*/ 163974 h 363203"/>
                <a:gd name="connsiteX124" fmla="*/ 378347 w 429219"/>
                <a:gd name="connsiteY124" fmla="*/ 164447 h 363203"/>
                <a:gd name="connsiteX125" fmla="*/ 377874 w 429219"/>
                <a:gd name="connsiteY125" fmla="*/ 164447 h 363203"/>
                <a:gd name="connsiteX126" fmla="*/ 377874 w 429219"/>
                <a:gd name="connsiteY126" fmla="*/ 164921 h 363203"/>
                <a:gd name="connsiteX127" fmla="*/ 377401 w 429219"/>
                <a:gd name="connsiteY127" fmla="*/ 164921 h 363203"/>
                <a:gd name="connsiteX128" fmla="*/ 377401 w 429219"/>
                <a:gd name="connsiteY128" fmla="*/ 165394 h 363203"/>
                <a:gd name="connsiteX129" fmla="*/ 376928 w 429219"/>
                <a:gd name="connsiteY129" fmla="*/ 165394 h 363203"/>
                <a:gd name="connsiteX130" fmla="*/ 376928 w 429219"/>
                <a:gd name="connsiteY130" fmla="*/ 165867 h 363203"/>
                <a:gd name="connsiteX131" fmla="*/ 376454 w 429219"/>
                <a:gd name="connsiteY131" fmla="*/ 165867 h 363203"/>
                <a:gd name="connsiteX132" fmla="*/ 376454 w 429219"/>
                <a:gd name="connsiteY132" fmla="*/ 166340 h 363203"/>
                <a:gd name="connsiteX133" fmla="*/ 375508 w 429219"/>
                <a:gd name="connsiteY133" fmla="*/ 166340 h 363203"/>
                <a:gd name="connsiteX134" fmla="*/ 375508 w 429219"/>
                <a:gd name="connsiteY134" fmla="*/ 166814 h 363203"/>
                <a:gd name="connsiteX135" fmla="*/ 374561 w 429219"/>
                <a:gd name="connsiteY135" fmla="*/ 166814 h 363203"/>
                <a:gd name="connsiteX136" fmla="*/ 374561 w 429219"/>
                <a:gd name="connsiteY136" fmla="*/ 167287 h 363203"/>
                <a:gd name="connsiteX137" fmla="*/ 372905 w 429219"/>
                <a:gd name="connsiteY137" fmla="*/ 167287 h 363203"/>
                <a:gd name="connsiteX138" fmla="*/ 372905 w 429219"/>
                <a:gd name="connsiteY138" fmla="*/ 167760 h 363203"/>
                <a:gd name="connsiteX139" fmla="*/ 369593 w 429219"/>
                <a:gd name="connsiteY139" fmla="*/ 167760 h 363203"/>
                <a:gd name="connsiteX140" fmla="*/ 369593 w 429219"/>
                <a:gd name="connsiteY140" fmla="*/ 167287 h 363203"/>
                <a:gd name="connsiteX141" fmla="*/ 368646 w 429219"/>
                <a:gd name="connsiteY141" fmla="*/ 167287 h 363203"/>
                <a:gd name="connsiteX142" fmla="*/ 368646 w 429219"/>
                <a:gd name="connsiteY142" fmla="*/ 166814 h 363203"/>
                <a:gd name="connsiteX143" fmla="*/ 367936 w 429219"/>
                <a:gd name="connsiteY143" fmla="*/ 166814 h 363203"/>
                <a:gd name="connsiteX144" fmla="*/ 367936 w 429219"/>
                <a:gd name="connsiteY144" fmla="*/ 166340 h 363203"/>
                <a:gd name="connsiteX145" fmla="*/ 367463 w 429219"/>
                <a:gd name="connsiteY145" fmla="*/ 166340 h 363203"/>
                <a:gd name="connsiteX146" fmla="*/ 367463 w 429219"/>
                <a:gd name="connsiteY146" fmla="*/ 165867 h 363203"/>
                <a:gd name="connsiteX147" fmla="*/ 366753 w 429219"/>
                <a:gd name="connsiteY147" fmla="*/ 165867 h 363203"/>
                <a:gd name="connsiteX148" fmla="*/ 366753 w 429219"/>
                <a:gd name="connsiteY148" fmla="*/ 165394 h 363203"/>
                <a:gd name="connsiteX149" fmla="*/ 366516 w 429219"/>
                <a:gd name="connsiteY149" fmla="*/ 165394 h 363203"/>
                <a:gd name="connsiteX150" fmla="*/ 366516 w 429219"/>
                <a:gd name="connsiteY150" fmla="*/ 164921 h 363203"/>
                <a:gd name="connsiteX151" fmla="*/ 366043 w 429219"/>
                <a:gd name="connsiteY151" fmla="*/ 164921 h 363203"/>
                <a:gd name="connsiteX152" fmla="*/ 366043 w 429219"/>
                <a:gd name="connsiteY152" fmla="*/ 164447 h 363203"/>
                <a:gd name="connsiteX153" fmla="*/ 365807 w 429219"/>
                <a:gd name="connsiteY153" fmla="*/ 164447 h 363203"/>
                <a:gd name="connsiteX154" fmla="*/ 365807 w 429219"/>
                <a:gd name="connsiteY154" fmla="*/ 163974 h 363203"/>
                <a:gd name="connsiteX155" fmla="*/ 365333 w 429219"/>
                <a:gd name="connsiteY155" fmla="*/ 163974 h 363203"/>
                <a:gd name="connsiteX156" fmla="*/ 365333 w 429219"/>
                <a:gd name="connsiteY156" fmla="*/ 163501 h 363203"/>
                <a:gd name="connsiteX157" fmla="*/ 365333 w 429219"/>
                <a:gd name="connsiteY157" fmla="*/ 163501 h 363203"/>
                <a:gd name="connsiteX158" fmla="*/ 365333 w 429219"/>
                <a:gd name="connsiteY158" fmla="*/ 163028 h 363203"/>
                <a:gd name="connsiteX159" fmla="*/ 365333 w 429219"/>
                <a:gd name="connsiteY159" fmla="*/ 163028 h 363203"/>
                <a:gd name="connsiteX160" fmla="*/ 365333 w 429219"/>
                <a:gd name="connsiteY160" fmla="*/ 162554 h 363203"/>
                <a:gd name="connsiteX161" fmla="*/ 365333 w 429219"/>
                <a:gd name="connsiteY161" fmla="*/ 162554 h 363203"/>
                <a:gd name="connsiteX162" fmla="*/ 365333 w 429219"/>
                <a:gd name="connsiteY162" fmla="*/ 162081 h 363203"/>
                <a:gd name="connsiteX163" fmla="*/ 365333 w 429219"/>
                <a:gd name="connsiteY163" fmla="*/ 162081 h 363203"/>
                <a:gd name="connsiteX164" fmla="*/ 365333 w 429219"/>
                <a:gd name="connsiteY164" fmla="*/ 161608 h 363203"/>
                <a:gd name="connsiteX165" fmla="*/ 365333 w 429219"/>
                <a:gd name="connsiteY165" fmla="*/ 161608 h 363203"/>
                <a:gd name="connsiteX166" fmla="*/ 365333 w 429219"/>
                <a:gd name="connsiteY166" fmla="*/ 161135 h 363203"/>
                <a:gd name="connsiteX167" fmla="*/ 365333 w 429219"/>
                <a:gd name="connsiteY167" fmla="*/ 161135 h 363203"/>
                <a:gd name="connsiteX168" fmla="*/ 365333 w 429219"/>
                <a:gd name="connsiteY168" fmla="*/ 160661 h 363203"/>
                <a:gd name="connsiteX169" fmla="*/ 365333 w 429219"/>
                <a:gd name="connsiteY169" fmla="*/ 160661 h 363203"/>
                <a:gd name="connsiteX170" fmla="*/ 365333 w 429219"/>
                <a:gd name="connsiteY170" fmla="*/ 160188 h 363203"/>
                <a:gd name="connsiteX171" fmla="*/ 365333 w 429219"/>
                <a:gd name="connsiteY171" fmla="*/ 160188 h 363203"/>
                <a:gd name="connsiteX172" fmla="*/ 365333 w 429219"/>
                <a:gd name="connsiteY172" fmla="*/ 159478 h 363203"/>
                <a:gd name="connsiteX173" fmla="*/ 365333 w 429219"/>
                <a:gd name="connsiteY173" fmla="*/ 159478 h 363203"/>
                <a:gd name="connsiteX174" fmla="*/ 350900 w 429219"/>
                <a:gd name="connsiteY174" fmla="*/ 130138 h 363203"/>
                <a:gd name="connsiteX175" fmla="*/ 321796 w 429219"/>
                <a:gd name="connsiteY175" fmla="*/ 115705 h 363203"/>
                <a:gd name="connsiteX176" fmla="*/ 320377 w 429219"/>
                <a:gd name="connsiteY176" fmla="*/ 115705 h 363203"/>
                <a:gd name="connsiteX177" fmla="*/ 320377 w 429219"/>
                <a:gd name="connsiteY177" fmla="*/ 115231 h 363203"/>
                <a:gd name="connsiteX178" fmla="*/ 319430 w 429219"/>
                <a:gd name="connsiteY178" fmla="*/ 115231 h 363203"/>
                <a:gd name="connsiteX179" fmla="*/ 319430 w 429219"/>
                <a:gd name="connsiteY179" fmla="*/ 114758 h 363203"/>
                <a:gd name="connsiteX180" fmla="*/ 318720 w 429219"/>
                <a:gd name="connsiteY180" fmla="*/ 114758 h 363203"/>
                <a:gd name="connsiteX181" fmla="*/ 318720 w 429219"/>
                <a:gd name="connsiteY181" fmla="*/ 114285 h 363203"/>
                <a:gd name="connsiteX182" fmla="*/ 318247 w 429219"/>
                <a:gd name="connsiteY182" fmla="*/ 114285 h 363203"/>
                <a:gd name="connsiteX183" fmla="*/ 318247 w 429219"/>
                <a:gd name="connsiteY183" fmla="*/ 113812 h 363203"/>
                <a:gd name="connsiteX184" fmla="*/ 317774 w 429219"/>
                <a:gd name="connsiteY184" fmla="*/ 113812 h 363203"/>
                <a:gd name="connsiteX185" fmla="*/ 317774 w 429219"/>
                <a:gd name="connsiteY185" fmla="*/ 113339 h 363203"/>
                <a:gd name="connsiteX186" fmla="*/ 317301 w 429219"/>
                <a:gd name="connsiteY186" fmla="*/ 113339 h 363203"/>
                <a:gd name="connsiteX187" fmla="*/ 317301 w 429219"/>
                <a:gd name="connsiteY187" fmla="*/ 112865 h 363203"/>
                <a:gd name="connsiteX188" fmla="*/ 316827 w 429219"/>
                <a:gd name="connsiteY188" fmla="*/ 112865 h 363203"/>
                <a:gd name="connsiteX189" fmla="*/ 316827 w 429219"/>
                <a:gd name="connsiteY189" fmla="*/ 112392 h 363203"/>
                <a:gd name="connsiteX190" fmla="*/ 316354 w 429219"/>
                <a:gd name="connsiteY190" fmla="*/ 112392 h 363203"/>
                <a:gd name="connsiteX191" fmla="*/ 316354 w 429219"/>
                <a:gd name="connsiteY191" fmla="*/ 111919 h 363203"/>
                <a:gd name="connsiteX192" fmla="*/ 316118 w 429219"/>
                <a:gd name="connsiteY192" fmla="*/ 111919 h 363203"/>
                <a:gd name="connsiteX193" fmla="*/ 316118 w 429219"/>
                <a:gd name="connsiteY193" fmla="*/ 111446 h 363203"/>
                <a:gd name="connsiteX194" fmla="*/ 316118 w 429219"/>
                <a:gd name="connsiteY194" fmla="*/ 111446 h 363203"/>
                <a:gd name="connsiteX195" fmla="*/ 316118 w 429219"/>
                <a:gd name="connsiteY195" fmla="*/ 110972 h 363203"/>
                <a:gd name="connsiteX196" fmla="*/ 315881 w 429219"/>
                <a:gd name="connsiteY196" fmla="*/ 110972 h 363203"/>
                <a:gd name="connsiteX197" fmla="*/ 315881 w 429219"/>
                <a:gd name="connsiteY197" fmla="*/ 110499 h 363203"/>
                <a:gd name="connsiteX198" fmla="*/ 315644 w 429219"/>
                <a:gd name="connsiteY198" fmla="*/ 110499 h 363203"/>
                <a:gd name="connsiteX199" fmla="*/ 315644 w 429219"/>
                <a:gd name="connsiteY199" fmla="*/ 110026 h 363203"/>
                <a:gd name="connsiteX200" fmla="*/ 315644 w 429219"/>
                <a:gd name="connsiteY200" fmla="*/ 110026 h 363203"/>
                <a:gd name="connsiteX201" fmla="*/ 315644 w 429219"/>
                <a:gd name="connsiteY201" fmla="*/ 109553 h 363203"/>
                <a:gd name="connsiteX202" fmla="*/ 315644 w 429219"/>
                <a:gd name="connsiteY202" fmla="*/ 109553 h 363203"/>
                <a:gd name="connsiteX203" fmla="*/ 315644 w 429219"/>
                <a:gd name="connsiteY203" fmla="*/ 109079 h 363203"/>
                <a:gd name="connsiteX204" fmla="*/ 315644 w 429219"/>
                <a:gd name="connsiteY204" fmla="*/ 109079 h 363203"/>
                <a:gd name="connsiteX205" fmla="*/ 315644 w 429219"/>
                <a:gd name="connsiteY205" fmla="*/ 108606 h 363203"/>
                <a:gd name="connsiteX206" fmla="*/ 315644 w 429219"/>
                <a:gd name="connsiteY206" fmla="*/ 108606 h 363203"/>
                <a:gd name="connsiteX207" fmla="*/ 315644 w 429219"/>
                <a:gd name="connsiteY207" fmla="*/ 108133 h 363203"/>
                <a:gd name="connsiteX208" fmla="*/ 315644 w 429219"/>
                <a:gd name="connsiteY208" fmla="*/ 108133 h 363203"/>
                <a:gd name="connsiteX209" fmla="*/ 315644 w 429219"/>
                <a:gd name="connsiteY209" fmla="*/ 107423 h 363203"/>
                <a:gd name="connsiteX210" fmla="*/ 315644 w 429219"/>
                <a:gd name="connsiteY210" fmla="*/ 107423 h 363203"/>
                <a:gd name="connsiteX211" fmla="*/ 315644 w 429219"/>
                <a:gd name="connsiteY211" fmla="*/ 106950 h 363203"/>
                <a:gd name="connsiteX212" fmla="*/ 315644 w 429219"/>
                <a:gd name="connsiteY212" fmla="*/ 106950 h 363203"/>
                <a:gd name="connsiteX213" fmla="*/ 315644 w 429219"/>
                <a:gd name="connsiteY213" fmla="*/ 106477 h 363203"/>
                <a:gd name="connsiteX214" fmla="*/ 315644 w 429219"/>
                <a:gd name="connsiteY214" fmla="*/ 106477 h 363203"/>
                <a:gd name="connsiteX215" fmla="*/ 315644 w 429219"/>
                <a:gd name="connsiteY215" fmla="*/ 106003 h 363203"/>
                <a:gd name="connsiteX216" fmla="*/ 315644 w 429219"/>
                <a:gd name="connsiteY216" fmla="*/ 106003 h 363203"/>
                <a:gd name="connsiteX217" fmla="*/ 315644 w 429219"/>
                <a:gd name="connsiteY217" fmla="*/ 105530 h 363203"/>
                <a:gd name="connsiteX218" fmla="*/ 315644 w 429219"/>
                <a:gd name="connsiteY218" fmla="*/ 105530 h 363203"/>
                <a:gd name="connsiteX219" fmla="*/ 315644 w 429219"/>
                <a:gd name="connsiteY219" fmla="*/ 105057 h 363203"/>
                <a:gd name="connsiteX220" fmla="*/ 315644 w 429219"/>
                <a:gd name="connsiteY220" fmla="*/ 105057 h 363203"/>
                <a:gd name="connsiteX221" fmla="*/ 315644 w 429219"/>
                <a:gd name="connsiteY221" fmla="*/ 104584 h 363203"/>
                <a:gd name="connsiteX222" fmla="*/ 315644 w 429219"/>
                <a:gd name="connsiteY222" fmla="*/ 104584 h 363203"/>
                <a:gd name="connsiteX223" fmla="*/ 315644 w 429219"/>
                <a:gd name="connsiteY223" fmla="*/ 104111 h 363203"/>
                <a:gd name="connsiteX224" fmla="*/ 315644 w 429219"/>
                <a:gd name="connsiteY224" fmla="*/ 104111 h 363203"/>
                <a:gd name="connsiteX225" fmla="*/ 315644 w 429219"/>
                <a:gd name="connsiteY225" fmla="*/ 103637 h 363203"/>
                <a:gd name="connsiteX226" fmla="*/ 315644 w 429219"/>
                <a:gd name="connsiteY226" fmla="*/ 103637 h 363203"/>
                <a:gd name="connsiteX227" fmla="*/ 315644 w 429219"/>
                <a:gd name="connsiteY227" fmla="*/ 103164 h 363203"/>
                <a:gd name="connsiteX228" fmla="*/ 315644 w 429219"/>
                <a:gd name="connsiteY228" fmla="*/ 103164 h 363203"/>
                <a:gd name="connsiteX229" fmla="*/ 315644 w 429219"/>
                <a:gd name="connsiteY229" fmla="*/ 102691 h 363203"/>
                <a:gd name="connsiteX230" fmla="*/ 315644 w 429219"/>
                <a:gd name="connsiteY230" fmla="*/ 102691 h 363203"/>
                <a:gd name="connsiteX231" fmla="*/ 315644 w 429219"/>
                <a:gd name="connsiteY231" fmla="*/ 102218 h 363203"/>
                <a:gd name="connsiteX232" fmla="*/ 315881 w 429219"/>
                <a:gd name="connsiteY232" fmla="*/ 102218 h 363203"/>
                <a:gd name="connsiteX233" fmla="*/ 315881 w 429219"/>
                <a:gd name="connsiteY233" fmla="*/ 101744 h 363203"/>
                <a:gd name="connsiteX234" fmla="*/ 315881 w 429219"/>
                <a:gd name="connsiteY234" fmla="*/ 101744 h 363203"/>
                <a:gd name="connsiteX235" fmla="*/ 315881 w 429219"/>
                <a:gd name="connsiteY235" fmla="*/ 101271 h 363203"/>
                <a:gd name="connsiteX236" fmla="*/ 316354 w 429219"/>
                <a:gd name="connsiteY236" fmla="*/ 101271 h 363203"/>
                <a:gd name="connsiteX237" fmla="*/ 316354 w 429219"/>
                <a:gd name="connsiteY237" fmla="*/ 100798 h 363203"/>
                <a:gd name="connsiteX238" fmla="*/ 316827 w 429219"/>
                <a:gd name="connsiteY238" fmla="*/ 100798 h 363203"/>
                <a:gd name="connsiteX239" fmla="*/ 316827 w 429219"/>
                <a:gd name="connsiteY239" fmla="*/ 100325 h 363203"/>
                <a:gd name="connsiteX240" fmla="*/ 317301 w 429219"/>
                <a:gd name="connsiteY240" fmla="*/ 100325 h 363203"/>
                <a:gd name="connsiteX241" fmla="*/ 317301 w 429219"/>
                <a:gd name="connsiteY241" fmla="*/ 99851 h 363203"/>
                <a:gd name="connsiteX242" fmla="*/ 317774 w 429219"/>
                <a:gd name="connsiteY242" fmla="*/ 99851 h 363203"/>
                <a:gd name="connsiteX243" fmla="*/ 317774 w 429219"/>
                <a:gd name="connsiteY243" fmla="*/ 99378 h 363203"/>
                <a:gd name="connsiteX244" fmla="*/ 318247 w 429219"/>
                <a:gd name="connsiteY244" fmla="*/ 99378 h 363203"/>
                <a:gd name="connsiteX245" fmla="*/ 318247 w 429219"/>
                <a:gd name="connsiteY245" fmla="*/ 98905 h 363203"/>
                <a:gd name="connsiteX246" fmla="*/ 318484 w 429219"/>
                <a:gd name="connsiteY246" fmla="*/ 98905 h 363203"/>
                <a:gd name="connsiteX247" fmla="*/ 318484 w 429219"/>
                <a:gd name="connsiteY247" fmla="*/ 98432 h 363203"/>
                <a:gd name="connsiteX248" fmla="*/ 319430 w 429219"/>
                <a:gd name="connsiteY248" fmla="*/ 98432 h 363203"/>
                <a:gd name="connsiteX249" fmla="*/ 319430 w 429219"/>
                <a:gd name="connsiteY249" fmla="*/ 97959 h 363203"/>
                <a:gd name="connsiteX250" fmla="*/ 320377 w 429219"/>
                <a:gd name="connsiteY250" fmla="*/ 97959 h 363203"/>
                <a:gd name="connsiteX251" fmla="*/ 320377 w 429219"/>
                <a:gd name="connsiteY251" fmla="*/ 97485 h 363203"/>
                <a:gd name="connsiteX252" fmla="*/ 322033 w 429219"/>
                <a:gd name="connsiteY252" fmla="*/ 97485 h 363203"/>
                <a:gd name="connsiteX253" fmla="*/ 351137 w 429219"/>
                <a:gd name="connsiteY253" fmla="*/ 82815 h 363203"/>
                <a:gd name="connsiteX254" fmla="*/ 351137 w 429219"/>
                <a:gd name="connsiteY254" fmla="*/ 82815 h 363203"/>
                <a:gd name="connsiteX255" fmla="*/ 365570 w 429219"/>
                <a:gd name="connsiteY255" fmla="*/ 53712 h 363203"/>
                <a:gd name="connsiteX256" fmla="*/ 365570 w 429219"/>
                <a:gd name="connsiteY256" fmla="*/ 53712 h 363203"/>
                <a:gd name="connsiteX257" fmla="*/ 365570 w 429219"/>
                <a:gd name="connsiteY257" fmla="*/ 53238 h 363203"/>
                <a:gd name="connsiteX258" fmla="*/ 365570 w 429219"/>
                <a:gd name="connsiteY258" fmla="*/ 53238 h 363203"/>
                <a:gd name="connsiteX259" fmla="*/ 365570 w 429219"/>
                <a:gd name="connsiteY259" fmla="*/ 52765 h 363203"/>
                <a:gd name="connsiteX260" fmla="*/ 365570 w 429219"/>
                <a:gd name="connsiteY260" fmla="*/ 52765 h 363203"/>
                <a:gd name="connsiteX261" fmla="*/ 365570 w 429219"/>
                <a:gd name="connsiteY261" fmla="*/ 52292 h 363203"/>
                <a:gd name="connsiteX262" fmla="*/ 365570 w 429219"/>
                <a:gd name="connsiteY262" fmla="*/ 52292 h 363203"/>
                <a:gd name="connsiteX263" fmla="*/ 365570 w 429219"/>
                <a:gd name="connsiteY263" fmla="*/ 51819 h 363203"/>
                <a:gd name="connsiteX264" fmla="*/ 365570 w 429219"/>
                <a:gd name="connsiteY264" fmla="*/ 51819 h 363203"/>
                <a:gd name="connsiteX265" fmla="*/ 365570 w 429219"/>
                <a:gd name="connsiteY265" fmla="*/ 51345 h 363203"/>
                <a:gd name="connsiteX266" fmla="*/ 365570 w 429219"/>
                <a:gd name="connsiteY266" fmla="*/ 51345 h 363203"/>
                <a:gd name="connsiteX267" fmla="*/ 365570 w 429219"/>
                <a:gd name="connsiteY267" fmla="*/ 50872 h 363203"/>
                <a:gd name="connsiteX268" fmla="*/ 365807 w 429219"/>
                <a:gd name="connsiteY268" fmla="*/ 50872 h 363203"/>
                <a:gd name="connsiteX269" fmla="*/ 365807 w 429219"/>
                <a:gd name="connsiteY269" fmla="*/ 50399 h 363203"/>
                <a:gd name="connsiteX270" fmla="*/ 365807 w 429219"/>
                <a:gd name="connsiteY270" fmla="*/ 50399 h 363203"/>
                <a:gd name="connsiteX271" fmla="*/ 365807 w 429219"/>
                <a:gd name="connsiteY271" fmla="*/ 49926 h 363203"/>
                <a:gd name="connsiteX272" fmla="*/ 366280 w 429219"/>
                <a:gd name="connsiteY272" fmla="*/ 49926 h 363203"/>
                <a:gd name="connsiteX273" fmla="*/ 366280 w 429219"/>
                <a:gd name="connsiteY273" fmla="*/ 49453 h 363203"/>
                <a:gd name="connsiteX274" fmla="*/ 366753 w 429219"/>
                <a:gd name="connsiteY274" fmla="*/ 49453 h 363203"/>
                <a:gd name="connsiteX275" fmla="*/ 366753 w 429219"/>
                <a:gd name="connsiteY275" fmla="*/ 48979 h 363203"/>
                <a:gd name="connsiteX276" fmla="*/ 367226 w 429219"/>
                <a:gd name="connsiteY276" fmla="*/ 48979 h 363203"/>
                <a:gd name="connsiteX277" fmla="*/ 367226 w 429219"/>
                <a:gd name="connsiteY277" fmla="*/ 48506 h 363203"/>
                <a:gd name="connsiteX278" fmla="*/ 367700 w 429219"/>
                <a:gd name="connsiteY278" fmla="*/ 48506 h 363203"/>
                <a:gd name="connsiteX279" fmla="*/ 367700 w 429219"/>
                <a:gd name="connsiteY279" fmla="*/ 48033 h 363203"/>
                <a:gd name="connsiteX280" fmla="*/ 368409 w 429219"/>
                <a:gd name="connsiteY280" fmla="*/ 48033 h 363203"/>
                <a:gd name="connsiteX281" fmla="*/ 368409 w 429219"/>
                <a:gd name="connsiteY281" fmla="*/ 47560 h 363203"/>
                <a:gd name="connsiteX282" fmla="*/ 368646 w 429219"/>
                <a:gd name="connsiteY282" fmla="*/ 47560 h 363203"/>
                <a:gd name="connsiteX283" fmla="*/ 368646 w 429219"/>
                <a:gd name="connsiteY283" fmla="*/ 47086 h 363203"/>
                <a:gd name="connsiteX284" fmla="*/ 369593 w 429219"/>
                <a:gd name="connsiteY284" fmla="*/ 47086 h 363203"/>
                <a:gd name="connsiteX285" fmla="*/ 369593 w 429219"/>
                <a:gd name="connsiteY285" fmla="*/ 46613 h 363203"/>
                <a:gd name="connsiteX286" fmla="*/ 370539 w 429219"/>
                <a:gd name="connsiteY286" fmla="*/ 46613 h 363203"/>
                <a:gd name="connsiteX287" fmla="*/ 370539 w 429219"/>
                <a:gd name="connsiteY287" fmla="*/ 46140 h 363203"/>
                <a:gd name="connsiteX288" fmla="*/ 372195 w 429219"/>
                <a:gd name="connsiteY288" fmla="*/ 46140 h 363203"/>
                <a:gd name="connsiteX289" fmla="*/ 372195 w 429219"/>
                <a:gd name="connsiteY289" fmla="*/ 45667 h 363203"/>
                <a:gd name="connsiteX290" fmla="*/ 375744 w 429219"/>
                <a:gd name="connsiteY290" fmla="*/ 45667 h 363203"/>
                <a:gd name="connsiteX291" fmla="*/ 375744 w 429219"/>
                <a:gd name="connsiteY291" fmla="*/ 46140 h 363203"/>
                <a:gd name="connsiteX292" fmla="*/ 376691 w 429219"/>
                <a:gd name="connsiteY292" fmla="*/ 46140 h 363203"/>
                <a:gd name="connsiteX293" fmla="*/ 376691 w 429219"/>
                <a:gd name="connsiteY293" fmla="*/ 46613 h 363203"/>
                <a:gd name="connsiteX294" fmla="*/ 377401 w 429219"/>
                <a:gd name="connsiteY294" fmla="*/ 46613 h 363203"/>
                <a:gd name="connsiteX295" fmla="*/ 377401 w 429219"/>
                <a:gd name="connsiteY295" fmla="*/ 47086 h 363203"/>
                <a:gd name="connsiteX296" fmla="*/ 377874 w 429219"/>
                <a:gd name="connsiteY296" fmla="*/ 47086 h 363203"/>
                <a:gd name="connsiteX297" fmla="*/ 377874 w 429219"/>
                <a:gd name="connsiteY297" fmla="*/ 47560 h 363203"/>
                <a:gd name="connsiteX298" fmla="*/ 378347 w 429219"/>
                <a:gd name="connsiteY298" fmla="*/ 47560 h 363203"/>
                <a:gd name="connsiteX299" fmla="*/ 378347 w 429219"/>
                <a:gd name="connsiteY299" fmla="*/ 48033 h 363203"/>
                <a:gd name="connsiteX300" fmla="*/ 378820 w 429219"/>
                <a:gd name="connsiteY300" fmla="*/ 48033 h 363203"/>
                <a:gd name="connsiteX301" fmla="*/ 378820 w 429219"/>
                <a:gd name="connsiteY301" fmla="*/ 48506 h 363203"/>
                <a:gd name="connsiteX302" fmla="*/ 379294 w 429219"/>
                <a:gd name="connsiteY302" fmla="*/ 48506 h 363203"/>
                <a:gd name="connsiteX303" fmla="*/ 379294 w 429219"/>
                <a:gd name="connsiteY303" fmla="*/ 48979 h 363203"/>
                <a:gd name="connsiteX304" fmla="*/ 379767 w 429219"/>
                <a:gd name="connsiteY304" fmla="*/ 48979 h 363203"/>
                <a:gd name="connsiteX305" fmla="*/ 379767 w 429219"/>
                <a:gd name="connsiteY305" fmla="*/ 49453 h 363203"/>
                <a:gd name="connsiteX306" fmla="*/ 380003 w 429219"/>
                <a:gd name="connsiteY306" fmla="*/ 49453 h 363203"/>
                <a:gd name="connsiteX307" fmla="*/ 380003 w 429219"/>
                <a:gd name="connsiteY307" fmla="*/ 49926 h 363203"/>
                <a:gd name="connsiteX308" fmla="*/ 380240 w 429219"/>
                <a:gd name="connsiteY308" fmla="*/ 49926 h 363203"/>
                <a:gd name="connsiteX309" fmla="*/ 380240 w 429219"/>
                <a:gd name="connsiteY309" fmla="*/ 50399 h 363203"/>
                <a:gd name="connsiteX310" fmla="*/ 380240 w 429219"/>
                <a:gd name="connsiteY310" fmla="*/ 50399 h 363203"/>
                <a:gd name="connsiteX311" fmla="*/ 380240 w 429219"/>
                <a:gd name="connsiteY311" fmla="*/ 50872 h 363203"/>
                <a:gd name="connsiteX312" fmla="*/ 380240 w 429219"/>
                <a:gd name="connsiteY312" fmla="*/ 50872 h 363203"/>
                <a:gd name="connsiteX313" fmla="*/ 380240 w 429219"/>
                <a:gd name="connsiteY313" fmla="*/ 51345 h 363203"/>
                <a:gd name="connsiteX314" fmla="*/ 380240 w 429219"/>
                <a:gd name="connsiteY314" fmla="*/ 51345 h 363203"/>
                <a:gd name="connsiteX315" fmla="*/ 380240 w 429219"/>
                <a:gd name="connsiteY315" fmla="*/ 51819 h 363203"/>
                <a:gd name="connsiteX316" fmla="*/ 380240 w 429219"/>
                <a:gd name="connsiteY316" fmla="*/ 51819 h 363203"/>
                <a:gd name="connsiteX317" fmla="*/ 380240 w 429219"/>
                <a:gd name="connsiteY317" fmla="*/ 52292 h 363203"/>
                <a:gd name="connsiteX318" fmla="*/ 380240 w 429219"/>
                <a:gd name="connsiteY318" fmla="*/ 52292 h 363203"/>
                <a:gd name="connsiteX319" fmla="*/ 380240 w 429219"/>
                <a:gd name="connsiteY319" fmla="*/ 52765 h 363203"/>
                <a:gd name="connsiteX320" fmla="*/ 380240 w 429219"/>
                <a:gd name="connsiteY320" fmla="*/ 52765 h 363203"/>
                <a:gd name="connsiteX321" fmla="*/ 380240 w 429219"/>
                <a:gd name="connsiteY321" fmla="*/ 53238 h 363203"/>
                <a:gd name="connsiteX322" fmla="*/ 380240 w 429219"/>
                <a:gd name="connsiteY322" fmla="*/ 53238 h 363203"/>
                <a:gd name="connsiteX323" fmla="*/ 380240 w 429219"/>
                <a:gd name="connsiteY323" fmla="*/ 53948 h 363203"/>
                <a:gd name="connsiteX324" fmla="*/ 380240 w 429219"/>
                <a:gd name="connsiteY324" fmla="*/ 53948 h 363203"/>
                <a:gd name="connsiteX325" fmla="*/ 81159 w 429219"/>
                <a:gd name="connsiteY325" fmla="*/ 59864 h 363203"/>
                <a:gd name="connsiteX326" fmla="*/ 66725 w 429219"/>
                <a:gd name="connsiteY326" fmla="*/ 48743 h 363203"/>
                <a:gd name="connsiteX327" fmla="*/ 66725 w 429219"/>
                <a:gd name="connsiteY327" fmla="*/ 48743 h 363203"/>
                <a:gd name="connsiteX328" fmla="*/ 55841 w 429219"/>
                <a:gd name="connsiteY328" fmla="*/ 34073 h 363203"/>
                <a:gd name="connsiteX329" fmla="*/ 44720 w 429219"/>
                <a:gd name="connsiteY329" fmla="*/ 48743 h 363203"/>
                <a:gd name="connsiteX330" fmla="*/ 30050 w 429219"/>
                <a:gd name="connsiteY330" fmla="*/ 59864 h 363203"/>
                <a:gd name="connsiteX331" fmla="*/ 44010 w 429219"/>
                <a:gd name="connsiteY331" fmla="*/ 70511 h 363203"/>
                <a:gd name="connsiteX332" fmla="*/ 44484 w 429219"/>
                <a:gd name="connsiteY332" fmla="*/ 70984 h 363203"/>
                <a:gd name="connsiteX333" fmla="*/ 55604 w 429219"/>
                <a:gd name="connsiteY333" fmla="*/ 85655 h 363203"/>
                <a:gd name="connsiteX334" fmla="*/ 66725 w 429219"/>
                <a:gd name="connsiteY334" fmla="*/ 70984 h 363203"/>
                <a:gd name="connsiteX335" fmla="*/ 81159 w 429219"/>
                <a:gd name="connsiteY335" fmla="*/ 59864 h 363203"/>
                <a:gd name="connsiteX336" fmla="*/ 63649 w 429219"/>
                <a:gd name="connsiteY336" fmla="*/ 8282 h 363203"/>
                <a:gd name="connsiteX337" fmla="*/ 78083 w 429219"/>
                <a:gd name="connsiteY337" fmla="*/ 37385 h 363203"/>
                <a:gd name="connsiteX338" fmla="*/ 78083 w 429219"/>
                <a:gd name="connsiteY338" fmla="*/ 37385 h 363203"/>
                <a:gd name="connsiteX339" fmla="*/ 107187 w 429219"/>
                <a:gd name="connsiteY339" fmla="*/ 51819 h 363203"/>
                <a:gd name="connsiteX340" fmla="*/ 108606 w 429219"/>
                <a:gd name="connsiteY340" fmla="*/ 51819 h 363203"/>
                <a:gd name="connsiteX341" fmla="*/ 108606 w 429219"/>
                <a:gd name="connsiteY341" fmla="*/ 52292 h 363203"/>
                <a:gd name="connsiteX342" fmla="*/ 109316 w 429219"/>
                <a:gd name="connsiteY342" fmla="*/ 52292 h 363203"/>
                <a:gd name="connsiteX343" fmla="*/ 109316 w 429219"/>
                <a:gd name="connsiteY343" fmla="*/ 52765 h 363203"/>
                <a:gd name="connsiteX344" fmla="*/ 110263 w 429219"/>
                <a:gd name="connsiteY344" fmla="*/ 52765 h 363203"/>
                <a:gd name="connsiteX345" fmla="*/ 110263 w 429219"/>
                <a:gd name="connsiteY345" fmla="*/ 53238 h 363203"/>
                <a:gd name="connsiteX346" fmla="*/ 110972 w 429219"/>
                <a:gd name="connsiteY346" fmla="*/ 53238 h 363203"/>
                <a:gd name="connsiteX347" fmla="*/ 110972 w 429219"/>
                <a:gd name="connsiteY347" fmla="*/ 53712 h 363203"/>
                <a:gd name="connsiteX348" fmla="*/ 111446 w 429219"/>
                <a:gd name="connsiteY348" fmla="*/ 53712 h 363203"/>
                <a:gd name="connsiteX349" fmla="*/ 111446 w 429219"/>
                <a:gd name="connsiteY349" fmla="*/ 54185 h 363203"/>
                <a:gd name="connsiteX350" fmla="*/ 111919 w 429219"/>
                <a:gd name="connsiteY350" fmla="*/ 54185 h 363203"/>
                <a:gd name="connsiteX351" fmla="*/ 111919 w 429219"/>
                <a:gd name="connsiteY351" fmla="*/ 54658 h 363203"/>
                <a:gd name="connsiteX352" fmla="*/ 112392 w 429219"/>
                <a:gd name="connsiteY352" fmla="*/ 54658 h 363203"/>
                <a:gd name="connsiteX353" fmla="*/ 112392 w 429219"/>
                <a:gd name="connsiteY353" fmla="*/ 55131 h 363203"/>
                <a:gd name="connsiteX354" fmla="*/ 112865 w 429219"/>
                <a:gd name="connsiteY354" fmla="*/ 55131 h 363203"/>
                <a:gd name="connsiteX355" fmla="*/ 112865 w 429219"/>
                <a:gd name="connsiteY355" fmla="*/ 55605 h 363203"/>
                <a:gd name="connsiteX356" fmla="*/ 112865 w 429219"/>
                <a:gd name="connsiteY356" fmla="*/ 55605 h 363203"/>
                <a:gd name="connsiteX357" fmla="*/ 112865 w 429219"/>
                <a:gd name="connsiteY357" fmla="*/ 56078 h 363203"/>
                <a:gd name="connsiteX358" fmla="*/ 113339 w 429219"/>
                <a:gd name="connsiteY358" fmla="*/ 56078 h 363203"/>
                <a:gd name="connsiteX359" fmla="*/ 113339 w 429219"/>
                <a:gd name="connsiteY359" fmla="*/ 56551 h 363203"/>
                <a:gd name="connsiteX360" fmla="*/ 113339 w 429219"/>
                <a:gd name="connsiteY360" fmla="*/ 56551 h 363203"/>
                <a:gd name="connsiteX361" fmla="*/ 113339 w 429219"/>
                <a:gd name="connsiteY361" fmla="*/ 57024 h 363203"/>
                <a:gd name="connsiteX362" fmla="*/ 113339 w 429219"/>
                <a:gd name="connsiteY362" fmla="*/ 57024 h 363203"/>
                <a:gd name="connsiteX363" fmla="*/ 113339 w 429219"/>
                <a:gd name="connsiteY363" fmla="*/ 57497 h 363203"/>
                <a:gd name="connsiteX364" fmla="*/ 113339 w 429219"/>
                <a:gd name="connsiteY364" fmla="*/ 57497 h 363203"/>
                <a:gd name="connsiteX365" fmla="*/ 113339 w 429219"/>
                <a:gd name="connsiteY365" fmla="*/ 57971 h 363203"/>
                <a:gd name="connsiteX366" fmla="*/ 113339 w 429219"/>
                <a:gd name="connsiteY366" fmla="*/ 57971 h 363203"/>
                <a:gd name="connsiteX367" fmla="*/ 113339 w 429219"/>
                <a:gd name="connsiteY367" fmla="*/ 58444 h 363203"/>
                <a:gd name="connsiteX368" fmla="*/ 113339 w 429219"/>
                <a:gd name="connsiteY368" fmla="*/ 58444 h 363203"/>
                <a:gd name="connsiteX369" fmla="*/ 113339 w 429219"/>
                <a:gd name="connsiteY369" fmla="*/ 58917 h 363203"/>
                <a:gd name="connsiteX370" fmla="*/ 113339 w 429219"/>
                <a:gd name="connsiteY370" fmla="*/ 58917 h 363203"/>
                <a:gd name="connsiteX371" fmla="*/ 113339 w 429219"/>
                <a:gd name="connsiteY371" fmla="*/ 59627 h 363203"/>
                <a:gd name="connsiteX372" fmla="*/ 113339 w 429219"/>
                <a:gd name="connsiteY372" fmla="*/ 59627 h 363203"/>
                <a:gd name="connsiteX373" fmla="*/ 113339 w 429219"/>
                <a:gd name="connsiteY373" fmla="*/ 60100 h 363203"/>
                <a:gd name="connsiteX374" fmla="*/ 113339 w 429219"/>
                <a:gd name="connsiteY374" fmla="*/ 60100 h 363203"/>
                <a:gd name="connsiteX375" fmla="*/ 113339 w 429219"/>
                <a:gd name="connsiteY375" fmla="*/ 60573 h 363203"/>
                <a:gd name="connsiteX376" fmla="*/ 113339 w 429219"/>
                <a:gd name="connsiteY376" fmla="*/ 60573 h 363203"/>
                <a:gd name="connsiteX377" fmla="*/ 113339 w 429219"/>
                <a:gd name="connsiteY377" fmla="*/ 61047 h 363203"/>
                <a:gd name="connsiteX378" fmla="*/ 113339 w 429219"/>
                <a:gd name="connsiteY378" fmla="*/ 61047 h 363203"/>
                <a:gd name="connsiteX379" fmla="*/ 113339 w 429219"/>
                <a:gd name="connsiteY379" fmla="*/ 61520 h 363203"/>
                <a:gd name="connsiteX380" fmla="*/ 113339 w 429219"/>
                <a:gd name="connsiteY380" fmla="*/ 61520 h 363203"/>
                <a:gd name="connsiteX381" fmla="*/ 113339 w 429219"/>
                <a:gd name="connsiteY381" fmla="*/ 61993 h 363203"/>
                <a:gd name="connsiteX382" fmla="*/ 113339 w 429219"/>
                <a:gd name="connsiteY382" fmla="*/ 61993 h 363203"/>
                <a:gd name="connsiteX383" fmla="*/ 113339 w 429219"/>
                <a:gd name="connsiteY383" fmla="*/ 62466 h 363203"/>
                <a:gd name="connsiteX384" fmla="*/ 113339 w 429219"/>
                <a:gd name="connsiteY384" fmla="*/ 62466 h 363203"/>
                <a:gd name="connsiteX385" fmla="*/ 113339 w 429219"/>
                <a:gd name="connsiteY385" fmla="*/ 62940 h 363203"/>
                <a:gd name="connsiteX386" fmla="*/ 113339 w 429219"/>
                <a:gd name="connsiteY386" fmla="*/ 62940 h 363203"/>
                <a:gd name="connsiteX387" fmla="*/ 113339 w 429219"/>
                <a:gd name="connsiteY387" fmla="*/ 63413 h 363203"/>
                <a:gd name="connsiteX388" fmla="*/ 113339 w 429219"/>
                <a:gd name="connsiteY388" fmla="*/ 63413 h 363203"/>
                <a:gd name="connsiteX389" fmla="*/ 113339 w 429219"/>
                <a:gd name="connsiteY389" fmla="*/ 63886 h 363203"/>
                <a:gd name="connsiteX390" fmla="*/ 113339 w 429219"/>
                <a:gd name="connsiteY390" fmla="*/ 63886 h 363203"/>
                <a:gd name="connsiteX391" fmla="*/ 113339 w 429219"/>
                <a:gd name="connsiteY391" fmla="*/ 64359 h 363203"/>
                <a:gd name="connsiteX392" fmla="*/ 113339 w 429219"/>
                <a:gd name="connsiteY392" fmla="*/ 64359 h 363203"/>
                <a:gd name="connsiteX393" fmla="*/ 113339 w 429219"/>
                <a:gd name="connsiteY393" fmla="*/ 64832 h 363203"/>
                <a:gd name="connsiteX394" fmla="*/ 113339 w 429219"/>
                <a:gd name="connsiteY394" fmla="*/ 64832 h 363203"/>
                <a:gd name="connsiteX395" fmla="*/ 113339 w 429219"/>
                <a:gd name="connsiteY395" fmla="*/ 65306 h 363203"/>
                <a:gd name="connsiteX396" fmla="*/ 113339 w 429219"/>
                <a:gd name="connsiteY396" fmla="*/ 65306 h 363203"/>
                <a:gd name="connsiteX397" fmla="*/ 113339 w 429219"/>
                <a:gd name="connsiteY397" fmla="*/ 65779 h 363203"/>
                <a:gd name="connsiteX398" fmla="*/ 113339 w 429219"/>
                <a:gd name="connsiteY398" fmla="*/ 65779 h 363203"/>
                <a:gd name="connsiteX399" fmla="*/ 113339 w 429219"/>
                <a:gd name="connsiteY399" fmla="*/ 66252 h 363203"/>
                <a:gd name="connsiteX400" fmla="*/ 113102 w 429219"/>
                <a:gd name="connsiteY400" fmla="*/ 66252 h 363203"/>
                <a:gd name="connsiteX401" fmla="*/ 113102 w 429219"/>
                <a:gd name="connsiteY401" fmla="*/ 66725 h 363203"/>
                <a:gd name="connsiteX402" fmla="*/ 112629 w 429219"/>
                <a:gd name="connsiteY402" fmla="*/ 66725 h 363203"/>
                <a:gd name="connsiteX403" fmla="*/ 112629 w 429219"/>
                <a:gd name="connsiteY403" fmla="*/ 67199 h 363203"/>
                <a:gd name="connsiteX404" fmla="*/ 112155 w 429219"/>
                <a:gd name="connsiteY404" fmla="*/ 67199 h 363203"/>
                <a:gd name="connsiteX405" fmla="*/ 112155 w 429219"/>
                <a:gd name="connsiteY405" fmla="*/ 67672 h 363203"/>
                <a:gd name="connsiteX406" fmla="*/ 111682 w 429219"/>
                <a:gd name="connsiteY406" fmla="*/ 67672 h 363203"/>
                <a:gd name="connsiteX407" fmla="*/ 111682 w 429219"/>
                <a:gd name="connsiteY407" fmla="*/ 68145 h 363203"/>
                <a:gd name="connsiteX408" fmla="*/ 111209 w 429219"/>
                <a:gd name="connsiteY408" fmla="*/ 68145 h 363203"/>
                <a:gd name="connsiteX409" fmla="*/ 111209 w 429219"/>
                <a:gd name="connsiteY409" fmla="*/ 68618 h 363203"/>
                <a:gd name="connsiteX410" fmla="*/ 110499 w 429219"/>
                <a:gd name="connsiteY410" fmla="*/ 68618 h 363203"/>
                <a:gd name="connsiteX411" fmla="*/ 110499 w 429219"/>
                <a:gd name="connsiteY411" fmla="*/ 69092 h 363203"/>
                <a:gd name="connsiteX412" fmla="*/ 109553 w 429219"/>
                <a:gd name="connsiteY412" fmla="*/ 69092 h 363203"/>
                <a:gd name="connsiteX413" fmla="*/ 109553 w 429219"/>
                <a:gd name="connsiteY413" fmla="*/ 69565 h 363203"/>
                <a:gd name="connsiteX414" fmla="*/ 108606 w 429219"/>
                <a:gd name="connsiteY414" fmla="*/ 69565 h 363203"/>
                <a:gd name="connsiteX415" fmla="*/ 108606 w 429219"/>
                <a:gd name="connsiteY415" fmla="*/ 70038 h 363203"/>
                <a:gd name="connsiteX416" fmla="*/ 107187 w 429219"/>
                <a:gd name="connsiteY416" fmla="*/ 70038 h 363203"/>
                <a:gd name="connsiteX417" fmla="*/ 78083 w 429219"/>
                <a:gd name="connsiteY417" fmla="*/ 84708 h 363203"/>
                <a:gd name="connsiteX418" fmla="*/ 63649 w 429219"/>
                <a:gd name="connsiteY418" fmla="*/ 113812 h 363203"/>
                <a:gd name="connsiteX419" fmla="*/ 63649 w 429219"/>
                <a:gd name="connsiteY419" fmla="*/ 113812 h 363203"/>
                <a:gd name="connsiteX420" fmla="*/ 63649 w 429219"/>
                <a:gd name="connsiteY420" fmla="*/ 114285 h 363203"/>
                <a:gd name="connsiteX421" fmla="*/ 63649 w 429219"/>
                <a:gd name="connsiteY421" fmla="*/ 114285 h 363203"/>
                <a:gd name="connsiteX422" fmla="*/ 63649 w 429219"/>
                <a:gd name="connsiteY422" fmla="*/ 114758 h 363203"/>
                <a:gd name="connsiteX423" fmla="*/ 63649 w 429219"/>
                <a:gd name="connsiteY423" fmla="*/ 114758 h 363203"/>
                <a:gd name="connsiteX424" fmla="*/ 63649 w 429219"/>
                <a:gd name="connsiteY424" fmla="*/ 115231 h 363203"/>
                <a:gd name="connsiteX425" fmla="*/ 63649 w 429219"/>
                <a:gd name="connsiteY425" fmla="*/ 115231 h 363203"/>
                <a:gd name="connsiteX426" fmla="*/ 63649 w 429219"/>
                <a:gd name="connsiteY426" fmla="*/ 115705 h 363203"/>
                <a:gd name="connsiteX427" fmla="*/ 63649 w 429219"/>
                <a:gd name="connsiteY427" fmla="*/ 115705 h 363203"/>
                <a:gd name="connsiteX428" fmla="*/ 63649 w 429219"/>
                <a:gd name="connsiteY428" fmla="*/ 116178 h 363203"/>
                <a:gd name="connsiteX429" fmla="*/ 63649 w 429219"/>
                <a:gd name="connsiteY429" fmla="*/ 116178 h 363203"/>
                <a:gd name="connsiteX430" fmla="*/ 63649 w 429219"/>
                <a:gd name="connsiteY430" fmla="*/ 116651 h 363203"/>
                <a:gd name="connsiteX431" fmla="*/ 63649 w 429219"/>
                <a:gd name="connsiteY431" fmla="*/ 116651 h 363203"/>
                <a:gd name="connsiteX432" fmla="*/ 63649 w 429219"/>
                <a:gd name="connsiteY432" fmla="*/ 117124 h 363203"/>
                <a:gd name="connsiteX433" fmla="*/ 63649 w 429219"/>
                <a:gd name="connsiteY433" fmla="*/ 117124 h 363203"/>
                <a:gd name="connsiteX434" fmla="*/ 63649 w 429219"/>
                <a:gd name="connsiteY434" fmla="*/ 117598 h 363203"/>
                <a:gd name="connsiteX435" fmla="*/ 63413 w 429219"/>
                <a:gd name="connsiteY435" fmla="*/ 117598 h 363203"/>
                <a:gd name="connsiteX436" fmla="*/ 63413 w 429219"/>
                <a:gd name="connsiteY436" fmla="*/ 118071 h 363203"/>
                <a:gd name="connsiteX437" fmla="*/ 63176 w 429219"/>
                <a:gd name="connsiteY437" fmla="*/ 118071 h 363203"/>
                <a:gd name="connsiteX438" fmla="*/ 63176 w 429219"/>
                <a:gd name="connsiteY438" fmla="*/ 118544 h 363203"/>
                <a:gd name="connsiteX439" fmla="*/ 62940 w 429219"/>
                <a:gd name="connsiteY439" fmla="*/ 118544 h 363203"/>
                <a:gd name="connsiteX440" fmla="*/ 62940 w 429219"/>
                <a:gd name="connsiteY440" fmla="*/ 119017 h 363203"/>
                <a:gd name="connsiteX441" fmla="*/ 62466 w 429219"/>
                <a:gd name="connsiteY441" fmla="*/ 119017 h 363203"/>
                <a:gd name="connsiteX442" fmla="*/ 62466 w 429219"/>
                <a:gd name="connsiteY442" fmla="*/ 119491 h 363203"/>
                <a:gd name="connsiteX443" fmla="*/ 61993 w 429219"/>
                <a:gd name="connsiteY443" fmla="*/ 119491 h 363203"/>
                <a:gd name="connsiteX444" fmla="*/ 61993 w 429219"/>
                <a:gd name="connsiteY444" fmla="*/ 119964 h 363203"/>
                <a:gd name="connsiteX445" fmla="*/ 61520 w 429219"/>
                <a:gd name="connsiteY445" fmla="*/ 119964 h 363203"/>
                <a:gd name="connsiteX446" fmla="*/ 61520 w 429219"/>
                <a:gd name="connsiteY446" fmla="*/ 120437 h 363203"/>
                <a:gd name="connsiteX447" fmla="*/ 60810 w 429219"/>
                <a:gd name="connsiteY447" fmla="*/ 120437 h 363203"/>
                <a:gd name="connsiteX448" fmla="*/ 60810 w 429219"/>
                <a:gd name="connsiteY448" fmla="*/ 120910 h 363203"/>
                <a:gd name="connsiteX449" fmla="*/ 59864 w 429219"/>
                <a:gd name="connsiteY449" fmla="*/ 120910 h 363203"/>
                <a:gd name="connsiteX450" fmla="*/ 59864 w 429219"/>
                <a:gd name="connsiteY450" fmla="*/ 121383 h 363203"/>
                <a:gd name="connsiteX451" fmla="*/ 58917 w 429219"/>
                <a:gd name="connsiteY451" fmla="*/ 121383 h 363203"/>
                <a:gd name="connsiteX452" fmla="*/ 58917 w 429219"/>
                <a:gd name="connsiteY452" fmla="*/ 121857 h 363203"/>
                <a:gd name="connsiteX453" fmla="*/ 53475 w 429219"/>
                <a:gd name="connsiteY453" fmla="*/ 121857 h 363203"/>
                <a:gd name="connsiteX454" fmla="*/ 53475 w 429219"/>
                <a:gd name="connsiteY454" fmla="*/ 121383 h 363203"/>
                <a:gd name="connsiteX455" fmla="*/ 52765 w 429219"/>
                <a:gd name="connsiteY455" fmla="*/ 121383 h 363203"/>
                <a:gd name="connsiteX456" fmla="*/ 52765 w 429219"/>
                <a:gd name="connsiteY456" fmla="*/ 120910 h 363203"/>
                <a:gd name="connsiteX457" fmla="*/ 52055 w 429219"/>
                <a:gd name="connsiteY457" fmla="*/ 120910 h 363203"/>
                <a:gd name="connsiteX458" fmla="*/ 52055 w 429219"/>
                <a:gd name="connsiteY458" fmla="*/ 120437 h 363203"/>
                <a:gd name="connsiteX459" fmla="*/ 51345 w 429219"/>
                <a:gd name="connsiteY459" fmla="*/ 120437 h 363203"/>
                <a:gd name="connsiteX460" fmla="*/ 51345 w 429219"/>
                <a:gd name="connsiteY460" fmla="*/ 119964 h 363203"/>
                <a:gd name="connsiteX461" fmla="*/ 50872 w 429219"/>
                <a:gd name="connsiteY461" fmla="*/ 119964 h 363203"/>
                <a:gd name="connsiteX462" fmla="*/ 50872 w 429219"/>
                <a:gd name="connsiteY462" fmla="*/ 119491 h 363203"/>
                <a:gd name="connsiteX463" fmla="*/ 50636 w 429219"/>
                <a:gd name="connsiteY463" fmla="*/ 119491 h 363203"/>
                <a:gd name="connsiteX464" fmla="*/ 50636 w 429219"/>
                <a:gd name="connsiteY464" fmla="*/ 119017 h 363203"/>
                <a:gd name="connsiteX465" fmla="*/ 50162 w 429219"/>
                <a:gd name="connsiteY465" fmla="*/ 119017 h 363203"/>
                <a:gd name="connsiteX466" fmla="*/ 50162 w 429219"/>
                <a:gd name="connsiteY466" fmla="*/ 118544 h 363203"/>
                <a:gd name="connsiteX467" fmla="*/ 49926 w 429219"/>
                <a:gd name="connsiteY467" fmla="*/ 118544 h 363203"/>
                <a:gd name="connsiteX468" fmla="*/ 49926 w 429219"/>
                <a:gd name="connsiteY468" fmla="*/ 118071 h 363203"/>
                <a:gd name="connsiteX469" fmla="*/ 49926 w 429219"/>
                <a:gd name="connsiteY469" fmla="*/ 118071 h 363203"/>
                <a:gd name="connsiteX470" fmla="*/ 49926 w 429219"/>
                <a:gd name="connsiteY470" fmla="*/ 117361 h 363203"/>
                <a:gd name="connsiteX471" fmla="*/ 49453 w 429219"/>
                <a:gd name="connsiteY471" fmla="*/ 117361 h 363203"/>
                <a:gd name="connsiteX472" fmla="*/ 49453 w 429219"/>
                <a:gd name="connsiteY472" fmla="*/ 116888 h 363203"/>
                <a:gd name="connsiteX473" fmla="*/ 49453 w 429219"/>
                <a:gd name="connsiteY473" fmla="*/ 116888 h 363203"/>
                <a:gd name="connsiteX474" fmla="*/ 49453 w 429219"/>
                <a:gd name="connsiteY474" fmla="*/ 116415 h 363203"/>
                <a:gd name="connsiteX475" fmla="*/ 49453 w 429219"/>
                <a:gd name="connsiteY475" fmla="*/ 116415 h 363203"/>
                <a:gd name="connsiteX476" fmla="*/ 49453 w 429219"/>
                <a:gd name="connsiteY476" fmla="*/ 115941 h 363203"/>
                <a:gd name="connsiteX477" fmla="*/ 49453 w 429219"/>
                <a:gd name="connsiteY477" fmla="*/ 115941 h 363203"/>
                <a:gd name="connsiteX478" fmla="*/ 49453 w 429219"/>
                <a:gd name="connsiteY478" fmla="*/ 115468 h 363203"/>
                <a:gd name="connsiteX479" fmla="*/ 49453 w 429219"/>
                <a:gd name="connsiteY479" fmla="*/ 115468 h 363203"/>
                <a:gd name="connsiteX480" fmla="*/ 49453 w 429219"/>
                <a:gd name="connsiteY480" fmla="*/ 114995 h 363203"/>
                <a:gd name="connsiteX481" fmla="*/ 49453 w 429219"/>
                <a:gd name="connsiteY481" fmla="*/ 114995 h 363203"/>
                <a:gd name="connsiteX482" fmla="*/ 49453 w 429219"/>
                <a:gd name="connsiteY482" fmla="*/ 114522 h 363203"/>
                <a:gd name="connsiteX483" fmla="*/ 49453 w 429219"/>
                <a:gd name="connsiteY483" fmla="*/ 114522 h 363203"/>
                <a:gd name="connsiteX484" fmla="*/ 49453 w 429219"/>
                <a:gd name="connsiteY484" fmla="*/ 113575 h 363203"/>
                <a:gd name="connsiteX485" fmla="*/ 49453 w 429219"/>
                <a:gd name="connsiteY485" fmla="*/ 113575 h 363203"/>
                <a:gd name="connsiteX486" fmla="*/ 35019 w 429219"/>
                <a:gd name="connsiteY486" fmla="*/ 84472 h 363203"/>
                <a:gd name="connsiteX487" fmla="*/ 35019 w 429219"/>
                <a:gd name="connsiteY487" fmla="*/ 83998 h 363203"/>
                <a:gd name="connsiteX488" fmla="*/ 6152 w 429219"/>
                <a:gd name="connsiteY488" fmla="*/ 70038 h 363203"/>
                <a:gd name="connsiteX489" fmla="*/ 4496 w 429219"/>
                <a:gd name="connsiteY489" fmla="*/ 70038 h 363203"/>
                <a:gd name="connsiteX490" fmla="*/ 4496 w 429219"/>
                <a:gd name="connsiteY490" fmla="*/ 69565 h 363203"/>
                <a:gd name="connsiteX491" fmla="*/ 3549 w 429219"/>
                <a:gd name="connsiteY491" fmla="*/ 69565 h 363203"/>
                <a:gd name="connsiteX492" fmla="*/ 3549 w 429219"/>
                <a:gd name="connsiteY492" fmla="*/ 69092 h 363203"/>
                <a:gd name="connsiteX493" fmla="*/ 2839 w 429219"/>
                <a:gd name="connsiteY493" fmla="*/ 69092 h 363203"/>
                <a:gd name="connsiteX494" fmla="*/ 2839 w 429219"/>
                <a:gd name="connsiteY494" fmla="*/ 68618 h 363203"/>
                <a:gd name="connsiteX495" fmla="*/ 2130 w 429219"/>
                <a:gd name="connsiteY495" fmla="*/ 68618 h 363203"/>
                <a:gd name="connsiteX496" fmla="*/ 2130 w 429219"/>
                <a:gd name="connsiteY496" fmla="*/ 68145 h 363203"/>
                <a:gd name="connsiteX497" fmla="*/ 1656 w 429219"/>
                <a:gd name="connsiteY497" fmla="*/ 68145 h 363203"/>
                <a:gd name="connsiteX498" fmla="*/ 1656 w 429219"/>
                <a:gd name="connsiteY498" fmla="*/ 67672 h 363203"/>
                <a:gd name="connsiteX499" fmla="*/ 1183 w 429219"/>
                <a:gd name="connsiteY499" fmla="*/ 67672 h 363203"/>
                <a:gd name="connsiteX500" fmla="*/ 1183 w 429219"/>
                <a:gd name="connsiteY500" fmla="*/ 67199 h 363203"/>
                <a:gd name="connsiteX501" fmla="*/ 710 w 429219"/>
                <a:gd name="connsiteY501" fmla="*/ 67199 h 363203"/>
                <a:gd name="connsiteX502" fmla="*/ 710 w 429219"/>
                <a:gd name="connsiteY502" fmla="*/ 66725 h 363203"/>
                <a:gd name="connsiteX503" fmla="*/ 473 w 429219"/>
                <a:gd name="connsiteY503" fmla="*/ 66725 h 363203"/>
                <a:gd name="connsiteX504" fmla="*/ 473 w 429219"/>
                <a:gd name="connsiteY504" fmla="*/ 66252 h 363203"/>
                <a:gd name="connsiteX505" fmla="*/ 473 w 429219"/>
                <a:gd name="connsiteY505" fmla="*/ 66252 h 363203"/>
                <a:gd name="connsiteX506" fmla="*/ 473 w 429219"/>
                <a:gd name="connsiteY506" fmla="*/ 65779 h 363203"/>
                <a:gd name="connsiteX507" fmla="*/ 0 w 429219"/>
                <a:gd name="connsiteY507" fmla="*/ 65779 h 363203"/>
                <a:gd name="connsiteX508" fmla="*/ 0 w 429219"/>
                <a:gd name="connsiteY508" fmla="*/ 65306 h 363203"/>
                <a:gd name="connsiteX509" fmla="*/ 0 w 429219"/>
                <a:gd name="connsiteY509" fmla="*/ 65306 h 363203"/>
                <a:gd name="connsiteX510" fmla="*/ 0 w 429219"/>
                <a:gd name="connsiteY510" fmla="*/ 64832 h 363203"/>
                <a:gd name="connsiteX511" fmla="*/ 0 w 429219"/>
                <a:gd name="connsiteY511" fmla="*/ 64832 h 363203"/>
                <a:gd name="connsiteX512" fmla="*/ 0 w 429219"/>
                <a:gd name="connsiteY512" fmla="*/ 64359 h 363203"/>
                <a:gd name="connsiteX513" fmla="*/ 0 w 429219"/>
                <a:gd name="connsiteY513" fmla="*/ 64359 h 363203"/>
                <a:gd name="connsiteX514" fmla="*/ 0 w 429219"/>
                <a:gd name="connsiteY514" fmla="*/ 63886 h 363203"/>
                <a:gd name="connsiteX515" fmla="*/ 0 w 429219"/>
                <a:gd name="connsiteY515" fmla="*/ 63886 h 363203"/>
                <a:gd name="connsiteX516" fmla="*/ 0 w 429219"/>
                <a:gd name="connsiteY516" fmla="*/ 63413 h 363203"/>
                <a:gd name="connsiteX517" fmla="*/ 0 w 429219"/>
                <a:gd name="connsiteY517" fmla="*/ 63413 h 363203"/>
                <a:gd name="connsiteX518" fmla="*/ 0 w 429219"/>
                <a:gd name="connsiteY518" fmla="*/ 62940 h 363203"/>
                <a:gd name="connsiteX519" fmla="*/ 0 w 429219"/>
                <a:gd name="connsiteY519" fmla="*/ 62940 h 363203"/>
                <a:gd name="connsiteX520" fmla="*/ 0 w 429219"/>
                <a:gd name="connsiteY520" fmla="*/ 62230 h 363203"/>
                <a:gd name="connsiteX521" fmla="*/ 0 w 429219"/>
                <a:gd name="connsiteY521" fmla="*/ 62230 h 363203"/>
                <a:gd name="connsiteX522" fmla="*/ 0 w 429219"/>
                <a:gd name="connsiteY522" fmla="*/ 61756 h 363203"/>
                <a:gd name="connsiteX523" fmla="*/ 0 w 429219"/>
                <a:gd name="connsiteY523" fmla="*/ 61756 h 363203"/>
                <a:gd name="connsiteX524" fmla="*/ 0 w 429219"/>
                <a:gd name="connsiteY524" fmla="*/ 61283 h 363203"/>
                <a:gd name="connsiteX525" fmla="*/ 0 w 429219"/>
                <a:gd name="connsiteY525" fmla="*/ 61283 h 363203"/>
                <a:gd name="connsiteX526" fmla="*/ 0 w 429219"/>
                <a:gd name="connsiteY526" fmla="*/ 60810 h 363203"/>
                <a:gd name="connsiteX527" fmla="*/ 0 w 429219"/>
                <a:gd name="connsiteY527" fmla="*/ 60810 h 363203"/>
                <a:gd name="connsiteX528" fmla="*/ 0 w 429219"/>
                <a:gd name="connsiteY528" fmla="*/ 60337 h 363203"/>
                <a:gd name="connsiteX529" fmla="*/ 0 w 429219"/>
                <a:gd name="connsiteY529" fmla="*/ 60337 h 363203"/>
                <a:gd name="connsiteX530" fmla="*/ 0 w 429219"/>
                <a:gd name="connsiteY530" fmla="*/ 59864 h 363203"/>
                <a:gd name="connsiteX531" fmla="*/ 0 w 429219"/>
                <a:gd name="connsiteY531" fmla="*/ 59864 h 363203"/>
                <a:gd name="connsiteX532" fmla="*/ 0 w 429219"/>
                <a:gd name="connsiteY532" fmla="*/ 59390 h 363203"/>
                <a:gd name="connsiteX533" fmla="*/ 0 w 429219"/>
                <a:gd name="connsiteY533" fmla="*/ 59390 h 363203"/>
                <a:gd name="connsiteX534" fmla="*/ 0 w 429219"/>
                <a:gd name="connsiteY534" fmla="*/ 58917 h 363203"/>
                <a:gd name="connsiteX535" fmla="*/ 0 w 429219"/>
                <a:gd name="connsiteY535" fmla="*/ 58917 h 363203"/>
                <a:gd name="connsiteX536" fmla="*/ 0 w 429219"/>
                <a:gd name="connsiteY536" fmla="*/ 58444 h 363203"/>
                <a:gd name="connsiteX537" fmla="*/ 0 w 429219"/>
                <a:gd name="connsiteY537" fmla="*/ 58444 h 363203"/>
                <a:gd name="connsiteX538" fmla="*/ 0 w 429219"/>
                <a:gd name="connsiteY538" fmla="*/ 57971 h 363203"/>
                <a:gd name="connsiteX539" fmla="*/ 0 w 429219"/>
                <a:gd name="connsiteY539" fmla="*/ 57971 h 363203"/>
                <a:gd name="connsiteX540" fmla="*/ 0 w 429219"/>
                <a:gd name="connsiteY540" fmla="*/ 57497 h 363203"/>
                <a:gd name="connsiteX541" fmla="*/ 0 w 429219"/>
                <a:gd name="connsiteY541" fmla="*/ 57497 h 363203"/>
                <a:gd name="connsiteX542" fmla="*/ 0 w 429219"/>
                <a:gd name="connsiteY542" fmla="*/ 57024 h 363203"/>
                <a:gd name="connsiteX543" fmla="*/ 0 w 429219"/>
                <a:gd name="connsiteY543" fmla="*/ 57024 h 363203"/>
                <a:gd name="connsiteX544" fmla="*/ 0 w 429219"/>
                <a:gd name="connsiteY544" fmla="*/ 56551 h 363203"/>
                <a:gd name="connsiteX545" fmla="*/ 0 w 429219"/>
                <a:gd name="connsiteY545" fmla="*/ 56551 h 363203"/>
                <a:gd name="connsiteX546" fmla="*/ 0 w 429219"/>
                <a:gd name="connsiteY546" fmla="*/ 55841 h 363203"/>
                <a:gd name="connsiteX547" fmla="*/ 473 w 429219"/>
                <a:gd name="connsiteY547" fmla="*/ 55841 h 363203"/>
                <a:gd name="connsiteX548" fmla="*/ 473 w 429219"/>
                <a:gd name="connsiteY548" fmla="*/ 55368 h 363203"/>
                <a:gd name="connsiteX549" fmla="*/ 946 w 429219"/>
                <a:gd name="connsiteY549" fmla="*/ 55368 h 363203"/>
                <a:gd name="connsiteX550" fmla="*/ 946 w 429219"/>
                <a:gd name="connsiteY550" fmla="*/ 54895 h 363203"/>
                <a:gd name="connsiteX551" fmla="*/ 1420 w 429219"/>
                <a:gd name="connsiteY551" fmla="*/ 54895 h 363203"/>
                <a:gd name="connsiteX552" fmla="*/ 1420 w 429219"/>
                <a:gd name="connsiteY552" fmla="*/ 54421 h 363203"/>
                <a:gd name="connsiteX553" fmla="*/ 1893 w 429219"/>
                <a:gd name="connsiteY553" fmla="*/ 54421 h 363203"/>
                <a:gd name="connsiteX554" fmla="*/ 1893 w 429219"/>
                <a:gd name="connsiteY554" fmla="*/ 53948 h 363203"/>
                <a:gd name="connsiteX555" fmla="*/ 2366 w 429219"/>
                <a:gd name="connsiteY555" fmla="*/ 53948 h 363203"/>
                <a:gd name="connsiteX556" fmla="*/ 2366 w 429219"/>
                <a:gd name="connsiteY556" fmla="*/ 53475 h 363203"/>
                <a:gd name="connsiteX557" fmla="*/ 2603 w 429219"/>
                <a:gd name="connsiteY557" fmla="*/ 53475 h 363203"/>
                <a:gd name="connsiteX558" fmla="*/ 2603 w 429219"/>
                <a:gd name="connsiteY558" fmla="*/ 53002 h 363203"/>
                <a:gd name="connsiteX559" fmla="*/ 3549 w 429219"/>
                <a:gd name="connsiteY559" fmla="*/ 53002 h 363203"/>
                <a:gd name="connsiteX560" fmla="*/ 3549 w 429219"/>
                <a:gd name="connsiteY560" fmla="*/ 52528 h 363203"/>
                <a:gd name="connsiteX561" fmla="*/ 4496 w 429219"/>
                <a:gd name="connsiteY561" fmla="*/ 52528 h 363203"/>
                <a:gd name="connsiteX562" fmla="*/ 4496 w 429219"/>
                <a:gd name="connsiteY562" fmla="*/ 52055 h 363203"/>
                <a:gd name="connsiteX563" fmla="*/ 5915 w 429219"/>
                <a:gd name="connsiteY563" fmla="*/ 52055 h 363203"/>
                <a:gd name="connsiteX564" fmla="*/ 35019 w 429219"/>
                <a:gd name="connsiteY564" fmla="*/ 37385 h 363203"/>
                <a:gd name="connsiteX565" fmla="*/ 49453 w 429219"/>
                <a:gd name="connsiteY565" fmla="*/ 8282 h 363203"/>
                <a:gd name="connsiteX566" fmla="*/ 49453 w 429219"/>
                <a:gd name="connsiteY566" fmla="*/ 8282 h 363203"/>
                <a:gd name="connsiteX567" fmla="*/ 49453 w 429219"/>
                <a:gd name="connsiteY567" fmla="*/ 7808 h 363203"/>
                <a:gd name="connsiteX568" fmla="*/ 49453 w 429219"/>
                <a:gd name="connsiteY568" fmla="*/ 7808 h 363203"/>
                <a:gd name="connsiteX569" fmla="*/ 49453 w 429219"/>
                <a:gd name="connsiteY569" fmla="*/ 7335 h 363203"/>
                <a:gd name="connsiteX570" fmla="*/ 49453 w 429219"/>
                <a:gd name="connsiteY570" fmla="*/ 7335 h 363203"/>
                <a:gd name="connsiteX571" fmla="*/ 49453 w 429219"/>
                <a:gd name="connsiteY571" fmla="*/ 6862 h 363203"/>
                <a:gd name="connsiteX572" fmla="*/ 49453 w 429219"/>
                <a:gd name="connsiteY572" fmla="*/ 6862 h 363203"/>
                <a:gd name="connsiteX573" fmla="*/ 49453 w 429219"/>
                <a:gd name="connsiteY573" fmla="*/ 6389 h 363203"/>
                <a:gd name="connsiteX574" fmla="*/ 49453 w 429219"/>
                <a:gd name="connsiteY574" fmla="*/ 6389 h 363203"/>
                <a:gd name="connsiteX575" fmla="*/ 49453 w 429219"/>
                <a:gd name="connsiteY575" fmla="*/ 5915 h 363203"/>
                <a:gd name="connsiteX576" fmla="*/ 49453 w 429219"/>
                <a:gd name="connsiteY576" fmla="*/ 5915 h 363203"/>
                <a:gd name="connsiteX577" fmla="*/ 49453 w 429219"/>
                <a:gd name="connsiteY577" fmla="*/ 5442 h 363203"/>
                <a:gd name="connsiteX578" fmla="*/ 49453 w 429219"/>
                <a:gd name="connsiteY578" fmla="*/ 5442 h 363203"/>
                <a:gd name="connsiteX579" fmla="*/ 49453 w 429219"/>
                <a:gd name="connsiteY579" fmla="*/ 4969 h 363203"/>
                <a:gd name="connsiteX580" fmla="*/ 49453 w 429219"/>
                <a:gd name="connsiteY580" fmla="*/ 4969 h 363203"/>
                <a:gd name="connsiteX581" fmla="*/ 49453 w 429219"/>
                <a:gd name="connsiteY581" fmla="*/ 4259 h 363203"/>
                <a:gd name="connsiteX582" fmla="*/ 49926 w 429219"/>
                <a:gd name="connsiteY582" fmla="*/ 4259 h 363203"/>
                <a:gd name="connsiteX583" fmla="*/ 49926 w 429219"/>
                <a:gd name="connsiteY583" fmla="*/ 3786 h 363203"/>
                <a:gd name="connsiteX584" fmla="*/ 50162 w 429219"/>
                <a:gd name="connsiteY584" fmla="*/ 3786 h 363203"/>
                <a:gd name="connsiteX585" fmla="*/ 50162 w 429219"/>
                <a:gd name="connsiteY585" fmla="*/ 3313 h 363203"/>
                <a:gd name="connsiteX586" fmla="*/ 50636 w 429219"/>
                <a:gd name="connsiteY586" fmla="*/ 3313 h 363203"/>
                <a:gd name="connsiteX587" fmla="*/ 50636 w 429219"/>
                <a:gd name="connsiteY587" fmla="*/ 2839 h 363203"/>
                <a:gd name="connsiteX588" fmla="*/ 51109 w 429219"/>
                <a:gd name="connsiteY588" fmla="*/ 2839 h 363203"/>
                <a:gd name="connsiteX589" fmla="*/ 51109 w 429219"/>
                <a:gd name="connsiteY589" fmla="*/ 2366 h 363203"/>
                <a:gd name="connsiteX590" fmla="*/ 51582 w 429219"/>
                <a:gd name="connsiteY590" fmla="*/ 2366 h 363203"/>
                <a:gd name="connsiteX591" fmla="*/ 51582 w 429219"/>
                <a:gd name="connsiteY591" fmla="*/ 1893 h 363203"/>
                <a:gd name="connsiteX592" fmla="*/ 51819 w 429219"/>
                <a:gd name="connsiteY592" fmla="*/ 1893 h 363203"/>
                <a:gd name="connsiteX593" fmla="*/ 51819 w 429219"/>
                <a:gd name="connsiteY593" fmla="*/ 1420 h 363203"/>
                <a:gd name="connsiteX594" fmla="*/ 52765 w 429219"/>
                <a:gd name="connsiteY594" fmla="*/ 1420 h 363203"/>
                <a:gd name="connsiteX595" fmla="*/ 52765 w 429219"/>
                <a:gd name="connsiteY595" fmla="*/ 946 h 363203"/>
                <a:gd name="connsiteX596" fmla="*/ 53711 w 429219"/>
                <a:gd name="connsiteY596" fmla="*/ 946 h 363203"/>
                <a:gd name="connsiteX597" fmla="*/ 53711 w 429219"/>
                <a:gd name="connsiteY597" fmla="*/ 473 h 363203"/>
                <a:gd name="connsiteX598" fmla="*/ 55604 w 429219"/>
                <a:gd name="connsiteY598" fmla="*/ 473 h 363203"/>
                <a:gd name="connsiteX599" fmla="*/ 55604 w 429219"/>
                <a:gd name="connsiteY599" fmla="*/ 0 h 363203"/>
                <a:gd name="connsiteX600" fmla="*/ 58917 w 429219"/>
                <a:gd name="connsiteY600" fmla="*/ 0 h 363203"/>
                <a:gd name="connsiteX601" fmla="*/ 58917 w 429219"/>
                <a:gd name="connsiteY601" fmla="*/ 473 h 363203"/>
                <a:gd name="connsiteX602" fmla="*/ 59864 w 429219"/>
                <a:gd name="connsiteY602" fmla="*/ 473 h 363203"/>
                <a:gd name="connsiteX603" fmla="*/ 59864 w 429219"/>
                <a:gd name="connsiteY603" fmla="*/ 946 h 363203"/>
                <a:gd name="connsiteX604" fmla="*/ 60573 w 429219"/>
                <a:gd name="connsiteY604" fmla="*/ 946 h 363203"/>
                <a:gd name="connsiteX605" fmla="*/ 60573 w 429219"/>
                <a:gd name="connsiteY605" fmla="*/ 1420 h 363203"/>
                <a:gd name="connsiteX606" fmla="*/ 61047 w 429219"/>
                <a:gd name="connsiteY606" fmla="*/ 1420 h 363203"/>
                <a:gd name="connsiteX607" fmla="*/ 61047 w 429219"/>
                <a:gd name="connsiteY607" fmla="*/ 1893 h 363203"/>
                <a:gd name="connsiteX608" fmla="*/ 61520 w 429219"/>
                <a:gd name="connsiteY608" fmla="*/ 1893 h 363203"/>
                <a:gd name="connsiteX609" fmla="*/ 61520 w 429219"/>
                <a:gd name="connsiteY609" fmla="*/ 2366 h 363203"/>
                <a:gd name="connsiteX610" fmla="*/ 61993 w 429219"/>
                <a:gd name="connsiteY610" fmla="*/ 2366 h 363203"/>
                <a:gd name="connsiteX611" fmla="*/ 61993 w 429219"/>
                <a:gd name="connsiteY611" fmla="*/ 2839 h 363203"/>
                <a:gd name="connsiteX612" fmla="*/ 62466 w 429219"/>
                <a:gd name="connsiteY612" fmla="*/ 2839 h 363203"/>
                <a:gd name="connsiteX613" fmla="*/ 62466 w 429219"/>
                <a:gd name="connsiteY613" fmla="*/ 3313 h 363203"/>
                <a:gd name="connsiteX614" fmla="*/ 62940 w 429219"/>
                <a:gd name="connsiteY614" fmla="*/ 3313 h 363203"/>
                <a:gd name="connsiteX615" fmla="*/ 62940 w 429219"/>
                <a:gd name="connsiteY615" fmla="*/ 3786 h 363203"/>
                <a:gd name="connsiteX616" fmla="*/ 63176 w 429219"/>
                <a:gd name="connsiteY616" fmla="*/ 3786 h 363203"/>
                <a:gd name="connsiteX617" fmla="*/ 63176 w 429219"/>
                <a:gd name="connsiteY617" fmla="*/ 4259 h 363203"/>
                <a:gd name="connsiteX618" fmla="*/ 63413 w 429219"/>
                <a:gd name="connsiteY618" fmla="*/ 4259 h 363203"/>
                <a:gd name="connsiteX619" fmla="*/ 63413 w 429219"/>
                <a:gd name="connsiteY619" fmla="*/ 4732 h 363203"/>
                <a:gd name="connsiteX620" fmla="*/ 63413 w 429219"/>
                <a:gd name="connsiteY620" fmla="*/ 4732 h 363203"/>
                <a:gd name="connsiteX621" fmla="*/ 63413 w 429219"/>
                <a:gd name="connsiteY621" fmla="*/ 5206 h 363203"/>
                <a:gd name="connsiteX622" fmla="*/ 63413 w 429219"/>
                <a:gd name="connsiteY622" fmla="*/ 5206 h 363203"/>
                <a:gd name="connsiteX623" fmla="*/ 63413 w 429219"/>
                <a:gd name="connsiteY623" fmla="*/ 5679 h 363203"/>
                <a:gd name="connsiteX624" fmla="*/ 63413 w 429219"/>
                <a:gd name="connsiteY624" fmla="*/ 5679 h 363203"/>
                <a:gd name="connsiteX625" fmla="*/ 63413 w 429219"/>
                <a:gd name="connsiteY625" fmla="*/ 6152 h 363203"/>
                <a:gd name="connsiteX626" fmla="*/ 63413 w 429219"/>
                <a:gd name="connsiteY626" fmla="*/ 6152 h 363203"/>
                <a:gd name="connsiteX627" fmla="*/ 63413 w 429219"/>
                <a:gd name="connsiteY627" fmla="*/ 6625 h 363203"/>
                <a:gd name="connsiteX628" fmla="*/ 63413 w 429219"/>
                <a:gd name="connsiteY628" fmla="*/ 6625 h 363203"/>
                <a:gd name="connsiteX629" fmla="*/ 63413 w 429219"/>
                <a:gd name="connsiteY629" fmla="*/ 7098 h 363203"/>
                <a:gd name="connsiteX630" fmla="*/ 63413 w 429219"/>
                <a:gd name="connsiteY630" fmla="*/ 7098 h 363203"/>
                <a:gd name="connsiteX631" fmla="*/ 63413 w 429219"/>
                <a:gd name="connsiteY631" fmla="*/ 7572 h 363203"/>
                <a:gd name="connsiteX632" fmla="*/ 63413 w 429219"/>
                <a:gd name="connsiteY632" fmla="*/ 7572 h 363203"/>
                <a:gd name="connsiteX633" fmla="*/ 63413 w 429219"/>
                <a:gd name="connsiteY633" fmla="*/ 8282 h 363203"/>
                <a:gd name="connsiteX634" fmla="*/ 63413 w 429219"/>
                <a:gd name="connsiteY634" fmla="*/ 8282 h 363203"/>
                <a:gd name="connsiteX635" fmla="*/ 247026 w 429219"/>
                <a:gd name="connsiteY635" fmla="*/ 352320 h 363203"/>
                <a:gd name="connsiteX636" fmla="*/ 247026 w 429219"/>
                <a:gd name="connsiteY636" fmla="*/ 352320 h 363203"/>
                <a:gd name="connsiteX637" fmla="*/ 247026 w 429219"/>
                <a:gd name="connsiteY637" fmla="*/ 352793 h 363203"/>
                <a:gd name="connsiteX638" fmla="*/ 247026 w 429219"/>
                <a:gd name="connsiteY638" fmla="*/ 352793 h 363203"/>
                <a:gd name="connsiteX639" fmla="*/ 247026 w 429219"/>
                <a:gd name="connsiteY639" fmla="*/ 353266 h 363203"/>
                <a:gd name="connsiteX640" fmla="*/ 247026 w 429219"/>
                <a:gd name="connsiteY640" fmla="*/ 353266 h 363203"/>
                <a:gd name="connsiteX641" fmla="*/ 247026 w 429219"/>
                <a:gd name="connsiteY641" fmla="*/ 353739 h 363203"/>
                <a:gd name="connsiteX642" fmla="*/ 247026 w 429219"/>
                <a:gd name="connsiteY642" fmla="*/ 353739 h 363203"/>
                <a:gd name="connsiteX643" fmla="*/ 247026 w 429219"/>
                <a:gd name="connsiteY643" fmla="*/ 354449 h 363203"/>
                <a:gd name="connsiteX644" fmla="*/ 246789 w 429219"/>
                <a:gd name="connsiteY644" fmla="*/ 354449 h 363203"/>
                <a:gd name="connsiteX645" fmla="*/ 246789 w 429219"/>
                <a:gd name="connsiteY645" fmla="*/ 354922 h 363203"/>
                <a:gd name="connsiteX646" fmla="*/ 246789 w 429219"/>
                <a:gd name="connsiteY646" fmla="*/ 354922 h 363203"/>
                <a:gd name="connsiteX647" fmla="*/ 246789 w 429219"/>
                <a:gd name="connsiteY647" fmla="*/ 355396 h 363203"/>
                <a:gd name="connsiteX648" fmla="*/ 246789 w 429219"/>
                <a:gd name="connsiteY648" fmla="*/ 355396 h 363203"/>
                <a:gd name="connsiteX649" fmla="*/ 246789 w 429219"/>
                <a:gd name="connsiteY649" fmla="*/ 355869 h 363203"/>
                <a:gd name="connsiteX650" fmla="*/ 246553 w 429219"/>
                <a:gd name="connsiteY650" fmla="*/ 355869 h 363203"/>
                <a:gd name="connsiteX651" fmla="*/ 246553 w 429219"/>
                <a:gd name="connsiteY651" fmla="*/ 356342 h 363203"/>
                <a:gd name="connsiteX652" fmla="*/ 246316 w 429219"/>
                <a:gd name="connsiteY652" fmla="*/ 356342 h 363203"/>
                <a:gd name="connsiteX653" fmla="*/ 246316 w 429219"/>
                <a:gd name="connsiteY653" fmla="*/ 356815 h 363203"/>
                <a:gd name="connsiteX654" fmla="*/ 246080 w 429219"/>
                <a:gd name="connsiteY654" fmla="*/ 356815 h 363203"/>
                <a:gd name="connsiteX655" fmla="*/ 246080 w 429219"/>
                <a:gd name="connsiteY655" fmla="*/ 357288 h 363203"/>
                <a:gd name="connsiteX656" fmla="*/ 245843 w 429219"/>
                <a:gd name="connsiteY656" fmla="*/ 357288 h 363203"/>
                <a:gd name="connsiteX657" fmla="*/ 245843 w 429219"/>
                <a:gd name="connsiteY657" fmla="*/ 357998 h 363203"/>
                <a:gd name="connsiteX658" fmla="*/ 245370 w 429219"/>
                <a:gd name="connsiteY658" fmla="*/ 357998 h 363203"/>
                <a:gd name="connsiteX659" fmla="*/ 245370 w 429219"/>
                <a:gd name="connsiteY659" fmla="*/ 358472 h 363203"/>
                <a:gd name="connsiteX660" fmla="*/ 244896 w 429219"/>
                <a:gd name="connsiteY660" fmla="*/ 358472 h 363203"/>
                <a:gd name="connsiteX661" fmla="*/ 244896 w 429219"/>
                <a:gd name="connsiteY661" fmla="*/ 358945 h 363203"/>
                <a:gd name="connsiteX662" fmla="*/ 244660 w 429219"/>
                <a:gd name="connsiteY662" fmla="*/ 358945 h 363203"/>
                <a:gd name="connsiteX663" fmla="*/ 244660 w 429219"/>
                <a:gd name="connsiteY663" fmla="*/ 359418 h 363203"/>
                <a:gd name="connsiteX664" fmla="*/ 244187 w 429219"/>
                <a:gd name="connsiteY664" fmla="*/ 359418 h 363203"/>
                <a:gd name="connsiteX665" fmla="*/ 244187 w 429219"/>
                <a:gd name="connsiteY665" fmla="*/ 359891 h 363203"/>
                <a:gd name="connsiteX666" fmla="*/ 243713 w 429219"/>
                <a:gd name="connsiteY666" fmla="*/ 359891 h 363203"/>
                <a:gd name="connsiteX667" fmla="*/ 243713 w 429219"/>
                <a:gd name="connsiteY667" fmla="*/ 360364 h 363203"/>
                <a:gd name="connsiteX668" fmla="*/ 243003 w 429219"/>
                <a:gd name="connsiteY668" fmla="*/ 360364 h 363203"/>
                <a:gd name="connsiteX669" fmla="*/ 243003 w 429219"/>
                <a:gd name="connsiteY669" fmla="*/ 360838 h 363203"/>
                <a:gd name="connsiteX670" fmla="*/ 242530 w 429219"/>
                <a:gd name="connsiteY670" fmla="*/ 360838 h 363203"/>
                <a:gd name="connsiteX671" fmla="*/ 242530 w 429219"/>
                <a:gd name="connsiteY671" fmla="*/ 361311 h 363203"/>
                <a:gd name="connsiteX672" fmla="*/ 241820 w 429219"/>
                <a:gd name="connsiteY672" fmla="*/ 361311 h 363203"/>
                <a:gd name="connsiteX673" fmla="*/ 241820 w 429219"/>
                <a:gd name="connsiteY673" fmla="*/ 361784 h 363203"/>
                <a:gd name="connsiteX674" fmla="*/ 240874 w 429219"/>
                <a:gd name="connsiteY674" fmla="*/ 361784 h 363203"/>
                <a:gd name="connsiteX675" fmla="*/ 240874 w 429219"/>
                <a:gd name="connsiteY675" fmla="*/ 362257 h 363203"/>
                <a:gd name="connsiteX676" fmla="*/ 239927 w 429219"/>
                <a:gd name="connsiteY676" fmla="*/ 362257 h 363203"/>
                <a:gd name="connsiteX677" fmla="*/ 239454 w 429219"/>
                <a:gd name="connsiteY677" fmla="*/ 362731 h 363203"/>
                <a:gd name="connsiteX678" fmla="*/ 237088 w 429219"/>
                <a:gd name="connsiteY678" fmla="*/ 362731 h 363203"/>
                <a:gd name="connsiteX679" fmla="*/ 237088 w 429219"/>
                <a:gd name="connsiteY679" fmla="*/ 363204 h 363203"/>
                <a:gd name="connsiteX680" fmla="*/ 233775 w 429219"/>
                <a:gd name="connsiteY680" fmla="*/ 363204 h 363203"/>
                <a:gd name="connsiteX681" fmla="*/ 233775 w 429219"/>
                <a:gd name="connsiteY681" fmla="*/ 362731 h 363203"/>
                <a:gd name="connsiteX682" fmla="*/ 232592 w 429219"/>
                <a:gd name="connsiteY682" fmla="*/ 362731 h 363203"/>
                <a:gd name="connsiteX683" fmla="*/ 232592 w 429219"/>
                <a:gd name="connsiteY683" fmla="*/ 362257 h 363203"/>
                <a:gd name="connsiteX684" fmla="*/ 231646 w 429219"/>
                <a:gd name="connsiteY684" fmla="*/ 362257 h 363203"/>
                <a:gd name="connsiteX685" fmla="*/ 231646 w 429219"/>
                <a:gd name="connsiteY685" fmla="*/ 361784 h 363203"/>
                <a:gd name="connsiteX686" fmla="*/ 230936 w 429219"/>
                <a:gd name="connsiteY686" fmla="*/ 361784 h 363203"/>
                <a:gd name="connsiteX687" fmla="*/ 230936 w 429219"/>
                <a:gd name="connsiteY687" fmla="*/ 361311 h 363203"/>
                <a:gd name="connsiteX688" fmla="*/ 230226 w 429219"/>
                <a:gd name="connsiteY688" fmla="*/ 361311 h 363203"/>
                <a:gd name="connsiteX689" fmla="*/ 230226 w 429219"/>
                <a:gd name="connsiteY689" fmla="*/ 360838 h 363203"/>
                <a:gd name="connsiteX690" fmla="*/ 229990 w 429219"/>
                <a:gd name="connsiteY690" fmla="*/ 360838 h 363203"/>
                <a:gd name="connsiteX691" fmla="*/ 229516 w 429219"/>
                <a:gd name="connsiteY691" fmla="*/ 360364 h 363203"/>
                <a:gd name="connsiteX692" fmla="*/ 229043 w 429219"/>
                <a:gd name="connsiteY692" fmla="*/ 360364 h 363203"/>
                <a:gd name="connsiteX693" fmla="*/ 229043 w 429219"/>
                <a:gd name="connsiteY693" fmla="*/ 359891 h 363203"/>
                <a:gd name="connsiteX694" fmla="*/ 228570 w 429219"/>
                <a:gd name="connsiteY694" fmla="*/ 359891 h 363203"/>
                <a:gd name="connsiteX695" fmla="*/ 228570 w 429219"/>
                <a:gd name="connsiteY695" fmla="*/ 359418 h 363203"/>
                <a:gd name="connsiteX696" fmla="*/ 228097 w 429219"/>
                <a:gd name="connsiteY696" fmla="*/ 359418 h 363203"/>
                <a:gd name="connsiteX697" fmla="*/ 228097 w 429219"/>
                <a:gd name="connsiteY697" fmla="*/ 358945 h 363203"/>
                <a:gd name="connsiteX698" fmla="*/ 227860 w 429219"/>
                <a:gd name="connsiteY698" fmla="*/ 358945 h 363203"/>
                <a:gd name="connsiteX699" fmla="*/ 227860 w 429219"/>
                <a:gd name="connsiteY699" fmla="*/ 358472 h 363203"/>
                <a:gd name="connsiteX700" fmla="*/ 227387 w 429219"/>
                <a:gd name="connsiteY700" fmla="*/ 358472 h 363203"/>
                <a:gd name="connsiteX701" fmla="*/ 227387 w 429219"/>
                <a:gd name="connsiteY701" fmla="*/ 357998 h 363203"/>
                <a:gd name="connsiteX702" fmla="*/ 226914 w 429219"/>
                <a:gd name="connsiteY702" fmla="*/ 357525 h 363203"/>
                <a:gd name="connsiteX703" fmla="*/ 226914 w 429219"/>
                <a:gd name="connsiteY703" fmla="*/ 357525 h 363203"/>
                <a:gd name="connsiteX704" fmla="*/ 226914 w 429219"/>
                <a:gd name="connsiteY704" fmla="*/ 357052 h 363203"/>
                <a:gd name="connsiteX705" fmla="*/ 226677 w 429219"/>
                <a:gd name="connsiteY705" fmla="*/ 357052 h 363203"/>
                <a:gd name="connsiteX706" fmla="*/ 226677 w 429219"/>
                <a:gd name="connsiteY706" fmla="*/ 356579 h 363203"/>
                <a:gd name="connsiteX707" fmla="*/ 226677 w 429219"/>
                <a:gd name="connsiteY707" fmla="*/ 356579 h 363203"/>
                <a:gd name="connsiteX708" fmla="*/ 226677 w 429219"/>
                <a:gd name="connsiteY708" fmla="*/ 356105 h 363203"/>
                <a:gd name="connsiteX709" fmla="*/ 226677 w 429219"/>
                <a:gd name="connsiteY709" fmla="*/ 356105 h 363203"/>
                <a:gd name="connsiteX710" fmla="*/ 226677 w 429219"/>
                <a:gd name="connsiteY710" fmla="*/ 355396 h 363203"/>
                <a:gd name="connsiteX711" fmla="*/ 226204 w 429219"/>
                <a:gd name="connsiteY711" fmla="*/ 355396 h 363203"/>
                <a:gd name="connsiteX712" fmla="*/ 226204 w 429219"/>
                <a:gd name="connsiteY712" fmla="*/ 354922 h 363203"/>
                <a:gd name="connsiteX713" fmla="*/ 226204 w 429219"/>
                <a:gd name="connsiteY713" fmla="*/ 354922 h 363203"/>
                <a:gd name="connsiteX714" fmla="*/ 226204 w 429219"/>
                <a:gd name="connsiteY714" fmla="*/ 353976 h 363203"/>
                <a:gd name="connsiteX715" fmla="*/ 225967 w 429219"/>
                <a:gd name="connsiteY715" fmla="*/ 353976 h 363203"/>
                <a:gd name="connsiteX716" fmla="*/ 225967 w 429219"/>
                <a:gd name="connsiteY716" fmla="*/ 353503 h 363203"/>
                <a:gd name="connsiteX717" fmla="*/ 225967 w 429219"/>
                <a:gd name="connsiteY717" fmla="*/ 353503 h 363203"/>
                <a:gd name="connsiteX718" fmla="*/ 225967 w 429219"/>
                <a:gd name="connsiteY718" fmla="*/ 353029 h 363203"/>
                <a:gd name="connsiteX719" fmla="*/ 225967 w 429219"/>
                <a:gd name="connsiteY719" fmla="*/ 353029 h 363203"/>
                <a:gd name="connsiteX720" fmla="*/ 225967 w 429219"/>
                <a:gd name="connsiteY720" fmla="*/ 352556 h 363203"/>
                <a:gd name="connsiteX721" fmla="*/ 225967 w 429219"/>
                <a:gd name="connsiteY721" fmla="*/ 352556 h 363203"/>
                <a:gd name="connsiteX722" fmla="*/ 195680 w 429219"/>
                <a:gd name="connsiteY722" fmla="*/ 291273 h 363203"/>
                <a:gd name="connsiteX723" fmla="*/ 134397 w 429219"/>
                <a:gd name="connsiteY723" fmla="*/ 260986 h 363203"/>
                <a:gd name="connsiteX724" fmla="*/ 132978 w 429219"/>
                <a:gd name="connsiteY724" fmla="*/ 260986 h 363203"/>
                <a:gd name="connsiteX725" fmla="*/ 132504 w 429219"/>
                <a:gd name="connsiteY725" fmla="*/ 260513 h 363203"/>
                <a:gd name="connsiteX726" fmla="*/ 131558 w 429219"/>
                <a:gd name="connsiteY726" fmla="*/ 260513 h 363203"/>
                <a:gd name="connsiteX727" fmla="*/ 131085 w 429219"/>
                <a:gd name="connsiteY727" fmla="*/ 260040 h 363203"/>
                <a:gd name="connsiteX728" fmla="*/ 130375 w 429219"/>
                <a:gd name="connsiteY728" fmla="*/ 260040 h 363203"/>
                <a:gd name="connsiteX729" fmla="*/ 130375 w 429219"/>
                <a:gd name="connsiteY729" fmla="*/ 259566 h 363203"/>
                <a:gd name="connsiteX730" fmla="*/ 129902 w 429219"/>
                <a:gd name="connsiteY730" fmla="*/ 259566 h 363203"/>
                <a:gd name="connsiteX731" fmla="*/ 129902 w 429219"/>
                <a:gd name="connsiteY731" fmla="*/ 259093 h 363203"/>
                <a:gd name="connsiteX732" fmla="*/ 129428 w 429219"/>
                <a:gd name="connsiteY732" fmla="*/ 259093 h 363203"/>
                <a:gd name="connsiteX733" fmla="*/ 128955 w 429219"/>
                <a:gd name="connsiteY733" fmla="*/ 258620 h 363203"/>
                <a:gd name="connsiteX734" fmla="*/ 128482 w 429219"/>
                <a:gd name="connsiteY734" fmla="*/ 258620 h 363203"/>
                <a:gd name="connsiteX735" fmla="*/ 128482 w 429219"/>
                <a:gd name="connsiteY735" fmla="*/ 258147 h 363203"/>
                <a:gd name="connsiteX736" fmla="*/ 128009 w 429219"/>
                <a:gd name="connsiteY736" fmla="*/ 258147 h 363203"/>
                <a:gd name="connsiteX737" fmla="*/ 128009 w 429219"/>
                <a:gd name="connsiteY737" fmla="*/ 257674 h 363203"/>
                <a:gd name="connsiteX738" fmla="*/ 127535 w 429219"/>
                <a:gd name="connsiteY738" fmla="*/ 257674 h 363203"/>
                <a:gd name="connsiteX739" fmla="*/ 127535 w 429219"/>
                <a:gd name="connsiteY739" fmla="*/ 257200 h 363203"/>
                <a:gd name="connsiteX740" fmla="*/ 127299 w 429219"/>
                <a:gd name="connsiteY740" fmla="*/ 257200 h 363203"/>
                <a:gd name="connsiteX741" fmla="*/ 127299 w 429219"/>
                <a:gd name="connsiteY741" fmla="*/ 256727 h 363203"/>
                <a:gd name="connsiteX742" fmla="*/ 127062 w 429219"/>
                <a:gd name="connsiteY742" fmla="*/ 256727 h 363203"/>
                <a:gd name="connsiteX743" fmla="*/ 127062 w 429219"/>
                <a:gd name="connsiteY743" fmla="*/ 256254 h 363203"/>
                <a:gd name="connsiteX744" fmla="*/ 126589 w 429219"/>
                <a:gd name="connsiteY744" fmla="*/ 255781 h 363203"/>
                <a:gd name="connsiteX745" fmla="*/ 126589 w 429219"/>
                <a:gd name="connsiteY745" fmla="*/ 255781 h 363203"/>
                <a:gd name="connsiteX746" fmla="*/ 126589 w 429219"/>
                <a:gd name="connsiteY746" fmla="*/ 255307 h 363203"/>
                <a:gd name="connsiteX747" fmla="*/ 126352 w 429219"/>
                <a:gd name="connsiteY747" fmla="*/ 255307 h 363203"/>
                <a:gd name="connsiteX748" fmla="*/ 126352 w 429219"/>
                <a:gd name="connsiteY748" fmla="*/ 254834 h 363203"/>
                <a:gd name="connsiteX749" fmla="*/ 126352 w 429219"/>
                <a:gd name="connsiteY749" fmla="*/ 254834 h 363203"/>
                <a:gd name="connsiteX750" fmla="*/ 126352 w 429219"/>
                <a:gd name="connsiteY750" fmla="*/ 254361 h 363203"/>
                <a:gd name="connsiteX751" fmla="*/ 126352 w 429219"/>
                <a:gd name="connsiteY751" fmla="*/ 254361 h 363203"/>
                <a:gd name="connsiteX752" fmla="*/ 126352 w 429219"/>
                <a:gd name="connsiteY752" fmla="*/ 253651 h 363203"/>
                <a:gd name="connsiteX753" fmla="*/ 126116 w 429219"/>
                <a:gd name="connsiteY753" fmla="*/ 253651 h 363203"/>
                <a:gd name="connsiteX754" fmla="*/ 126116 w 429219"/>
                <a:gd name="connsiteY754" fmla="*/ 253178 h 363203"/>
                <a:gd name="connsiteX755" fmla="*/ 126116 w 429219"/>
                <a:gd name="connsiteY755" fmla="*/ 253178 h 363203"/>
                <a:gd name="connsiteX756" fmla="*/ 126116 w 429219"/>
                <a:gd name="connsiteY756" fmla="*/ 252705 h 363203"/>
                <a:gd name="connsiteX757" fmla="*/ 126116 w 429219"/>
                <a:gd name="connsiteY757" fmla="*/ 252705 h 363203"/>
                <a:gd name="connsiteX758" fmla="*/ 126116 w 429219"/>
                <a:gd name="connsiteY758" fmla="*/ 251995 h 363203"/>
                <a:gd name="connsiteX759" fmla="*/ 126116 w 429219"/>
                <a:gd name="connsiteY759" fmla="*/ 251995 h 363203"/>
                <a:gd name="connsiteX760" fmla="*/ 126116 w 429219"/>
                <a:gd name="connsiteY760" fmla="*/ 251522 h 363203"/>
                <a:gd name="connsiteX761" fmla="*/ 126116 w 429219"/>
                <a:gd name="connsiteY761" fmla="*/ 251522 h 363203"/>
                <a:gd name="connsiteX762" fmla="*/ 126116 w 429219"/>
                <a:gd name="connsiteY762" fmla="*/ 251048 h 363203"/>
                <a:gd name="connsiteX763" fmla="*/ 126116 w 429219"/>
                <a:gd name="connsiteY763" fmla="*/ 251048 h 363203"/>
                <a:gd name="connsiteX764" fmla="*/ 126116 w 429219"/>
                <a:gd name="connsiteY764" fmla="*/ 250102 h 363203"/>
                <a:gd name="connsiteX765" fmla="*/ 126116 w 429219"/>
                <a:gd name="connsiteY765" fmla="*/ 250102 h 363203"/>
                <a:gd name="connsiteX766" fmla="*/ 126116 w 429219"/>
                <a:gd name="connsiteY766" fmla="*/ 249629 h 363203"/>
                <a:gd name="connsiteX767" fmla="*/ 126116 w 429219"/>
                <a:gd name="connsiteY767" fmla="*/ 249629 h 363203"/>
                <a:gd name="connsiteX768" fmla="*/ 126116 w 429219"/>
                <a:gd name="connsiteY768" fmla="*/ 249155 h 363203"/>
                <a:gd name="connsiteX769" fmla="*/ 126116 w 429219"/>
                <a:gd name="connsiteY769" fmla="*/ 249155 h 363203"/>
                <a:gd name="connsiteX770" fmla="*/ 126116 w 429219"/>
                <a:gd name="connsiteY770" fmla="*/ 248682 h 363203"/>
                <a:gd name="connsiteX771" fmla="*/ 126116 w 429219"/>
                <a:gd name="connsiteY771" fmla="*/ 248682 h 363203"/>
                <a:gd name="connsiteX772" fmla="*/ 126116 w 429219"/>
                <a:gd name="connsiteY772" fmla="*/ 247972 h 363203"/>
                <a:gd name="connsiteX773" fmla="*/ 126116 w 429219"/>
                <a:gd name="connsiteY773" fmla="*/ 247972 h 363203"/>
                <a:gd name="connsiteX774" fmla="*/ 126116 w 429219"/>
                <a:gd name="connsiteY774" fmla="*/ 247499 h 363203"/>
                <a:gd name="connsiteX775" fmla="*/ 126116 w 429219"/>
                <a:gd name="connsiteY775" fmla="*/ 247499 h 363203"/>
                <a:gd name="connsiteX776" fmla="*/ 126116 w 429219"/>
                <a:gd name="connsiteY776" fmla="*/ 247026 h 363203"/>
                <a:gd name="connsiteX777" fmla="*/ 126116 w 429219"/>
                <a:gd name="connsiteY777" fmla="*/ 247026 h 363203"/>
                <a:gd name="connsiteX778" fmla="*/ 126116 w 429219"/>
                <a:gd name="connsiteY778" fmla="*/ 246553 h 363203"/>
                <a:gd name="connsiteX779" fmla="*/ 126116 w 429219"/>
                <a:gd name="connsiteY779" fmla="*/ 246553 h 363203"/>
                <a:gd name="connsiteX780" fmla="*/ 126116 w 429219"/>
                <a:gd name="connsiteY780" fmla="*/ 245843 h 363203"/>
                <a:gd name="connsiteX781" fmla="*/ 126116 w 429219"/>
                <a:gd name="connsiteY781" fmla="*/ 245843 h 363203"/>
                <a:gd name="connsiteX782" fmla="*/ 126116 w 429219"/>
                <a:gd name="connsiteY782" fmla="*/ 245370 h 363203"/>
                <a:gd name="connsiteX783" fmla="*/ 126116 w 429219"/>
                <a:gd name="connsiteY783" fmla="*/ 245370 h 363203"/>
                <a:gd name="connsiteX784" fmla="*/ 126116 w 429219"/>
                <a:gd name="connsiteY784" fmla="*/ 244896 h 363203"/>
                <a:gd name="connsiteX785" fmla="*/ 126116 w 429219"/>
                <a:gd name="connsiteY785" fmla="*/ 244896 h 363203"/>
                <a:gd name="connsiteX786" fmla="*/ 126116 w 429219"/>
                <a:gd name="connsiteY786" fmla="*/ 244423 h 363203"/>
                <a:gd name="connsiteX787" fmla="*/ 126352 w 429219"/>
                <a:gd name="connsiteY787" fmla="*/ 244423 h 363203"/>
                <a:gd name="connsiteX788" fmla="*/ 126352 w 429219"/>
                <a:gd name="connsiteY788" fmla="*/ 243950 h 363203"/>
                <a:gd name="connsiteX789" fmla="*/ 126589 w 429219"/>
                <a:gd name="connsiteY789" fmla="*/ 243950 h 363203"/>
                <a:gd name="connsiteX790" fmla="*/ 126589 w 429219"/>
                <a:gd name="connsiteY790" fmla="*/ 243477 h 363203"/>
                <a:gd name="connsiteX791" fmla="*/ 126826 w 429219"/>
                <a:gd name="connsiteY791" fmla="*/ 243477 h 363203"/>
                <a:gd name="connsiteX792" fmla="*/ 126826 w 429219"/>
                <a:gd name="connsiteY792" fmla="*/ 243003 h 363203"/>
                <a:gd name="connsiteX793" fmla="*/ 127062 w 429219"/>
                <a:gd name="connsiteY793" fmla="*/ 243003 h 363203"/>
                <a:gd name="connsiteX794" fmla="*/ 127062 w 429219"/>
                <a:gd name="connsiteY794" fmla="*/ 242294 h 363203"/>
                <a:gd name="connsiteX795" fmla="*/ 127535 w 429219"/>
                <a:gd name="connsiteY795" fmla="*/ 242294 h 363203"/>
                <a:gd name="connsiteX796" fmla="*/ 127535 w 429219"/>
                <a:gd name="connsiteY796" fmla="*/ 241820 h 363203"/>
                <a:gd name="connsiteX797" fmla="*/ 127772 w 429219"/>
                <a:gd name="connsiteY797" fmla="*/ 241820 h 363203"/>
                <a:gd name="connsiteX798" fmla="*/ 127772 w 429219"/>
                <a:gd name="connsiteY798" fmla="*/ 241347 h 363203"/>
                <a:gd name="connsiteX799" fmla="*/ 128009 w 429219"/>
                <a:gd name="connsiteY799" fmla="*/ 241347 h 363203"/>
                <a:gd name="connsiteX800" fmla="*/ 128009 w 429219"/>
                <a:gd name="connsiteY800" fmla="*/ 240874 h 363203"/>
                <a:gd name="connsiteX801" fmla="*/ 128482 w 429219"/>
                <a:gd name="connsiteY801" fmla="*/ 240874 h 363203"/>
                <a:gd name="connsiteX802" fmla="*/ 128482 w 429219"/>
                <a:gd name="connsiteY802" fmla="*/ 240401 h 363203"/>
                <a:gd name="connsiteX803" fmla="*/ 128955 w 429219"/>
                <a:gd name="connsiteY803" fmla="*/ 240401 h 363203"/>
                <a:gd name="connsiteX804" fmla="*/ 128955 w 429219"/>
                <a:gd name="connsiteY804" fmla="*/ 239928 h 363203"/>
                <a:gd name="connsiteX805" fmla="*/ 128955 w 429219"/>
                <a:gd name="connsiteY805" fmla="*/ 239928 h 363203"/>
                <a:gd name="connsiteX806" fmla="*/ 129428 w 429219"/>
                <a:gd name="connsiteY806" fmla="*/ 239454 h 363203"/>
                <a:gd name="connsiteX807" fmla="*/ 129902 w 429219"/>
                <a:gd name="connsiteY807" fmla="*/ 239454 h 363203"/>
                <a:gd name="connsiteX808" fmla="*/ 129902 w 429219"/>
                <a:gd name="connsiteY808" fmla="*/ 238981 h 363203"/>
                <a:gd name="connsiteX809" fmla="*/ 130611 w 429219"/>
                <a:gd name="connsiteY809" fmla="*/ 238981 h 363203"/>
                <a:gd name="connsiteX810" fmla="*/ 130611 w 429219"/>
                <a:gd name="connsiteY810" fmla="*/ 238508 h 363203"/>
                <a:gd name="connsiteX811" fmla="*/ 131558 w 429219"/>
                <a:gd name="connsiteY811" fmla="*/ 238508 h 363203"/>
                <a:gd name="connsiteX812" fmla="*/ 131558 w 429219"/>
                <a:gd name="connsiteY812" fmla="*/ 238035 h 363203"/>
                <a:gd name="connsiteX813" fmla="*/ 132504 w 429219"/>
                <a:gd name="connsiteY813" fmla="*/ 238035 h 363203"/>
                <a:gd name="connsiteX814" fmla="*/ 132978 w 429219"/>
                <a:gd name="connsiteY814" fmla="*/ 237561 h 363203"/>
                <a:gd name="connsiteX815" fmla="*/ 134397 w 429219"/>
                <a:gd name="connsiteY815" fmla="*/ 237561 h 363203"/>
                <a:gd name="connsiteX816" fmla="*/ 195680 w 429219"/>
                <a:gd name="connsiteY816" fmla="*/ 207038 h 363203"/>
                <a:gd name="connsiteX817" fmla="*/ 225967 w 429219"/>
                <a:gd name="connsiteY817" fmla="*/ 145755 h 363203"/>
                <a:gd name="connsiteX818" fmla="*/ 225967 w 429219"/>
                <a:gd name="connsiteY818" fmla="*/ 145755 h 363203"/>
                <a:gd name="connsiteX819" fmla="*/ 225967 w 429219"/>
                <a:gd name="connsiteY819" fmla="*/ 145282 h 363203"/>
                <a:gd name="connsiteX820" fmla="*/ 225967 w 429219"/>
                <a:gd name="connsiteY820" fmla="*/ 145282 h 363203"/>
                <a:gd name="connsiteX821" fmla="*/ 225967 w 429219"/>
                <a:gd name="connsiteY821" fmla="*/ 144808 h 363203"/>
                <a:gd name="connsiteX822" fmla="*/ 225967 w 429219"/>
                <a:gd name="connsiteY822" fmla="*/ 144808 h 363203"/>
                <a:gd name="connsiteX823" fmla="*/ 225967 w 429219"/>
                <a:gd name="connsiteY823" fmla="*/ 144335 h 363203"/>
                <a:gd name="connsiteX824" fmla="*/ 225967 w 429219"/>
                <a:gd name="connsiteY824" fmla="*/ 144335 h 363203"/>
                <a:gd name="connsiteX825" fmla="*/ 225967 w 429219"/>
                <a:gd name="connsiteY825" fmla="*/ 143625 h 363203"/>
                <a:gd name="connsiteX826" fmla="*/ 226204 w 429219"/>
                <a:gd name="connsiteY826" fmla="*/ 143625 h 363203"/>
                <a:gd name="connsiteX827" fmla="*/ 226204 w 429219"/>
                <a:gd name="connsiteY827" fmla="*/ 143152 h 363203"/>
                <a:gd name="connsiteX828" fmla="*/ 226204 w 429219"/>
                <a:gd name="connsiteY828" fmla="*/ 143152 h 363203"/>
                <a:gd name="connsiteX829" fmla="*/ 226204 w 429219"/>
                <a:gd name="connsiteY829" fmla="*/ 142679 h 363203"/>
                <a:gd name="connsiteX830" fmla="*/ 226204 w 429219"/>
                <a:gd name="connsiteY830" fmla="*/ 142679 h 363203"/>
                <a:gd name="connsiteX831" fmla="*/ 226204 w 429219"/>
                <a:gd name="connsiteY831" fmla="*/ 142206 h 363203"/>
                <a:gd name="connsiteX832" fmla="*/ 226440 w 429219"/>
                <a:gd name="connsiteY832" fmla="*/ 142206 h 363203"/>
                <a:gd name="connsiteX833" fmla="*/ 226440 w 429219"/>
                <a:gd name="connsiteY833" fmla="*/ 141732 h 363203"/>
                <a:gd name="connsiteX834" fmla="*/ 226677 w 429219"/>
                <a:gd name="connsiteY834" fmla="*/ 141732 h 363203"/>
                <a:gd name="connsiteX835" fmla="*/ 226677 w 429219"/>
                <a:gd name="connsiteY835" fmla="*/ 141259 h 363203"/>
                <a:gd name="connsiteX836" fmla="*/ 226914 w 429219"/>
                <a:gd name="connsiteY836" fmla="*/ 141259 h 363203"/>
                <a:gd name="connsiteX837" fmla="*/ 226914 w 429219"/>
                <a:gd name="connsiteY837" fmla="*/ 140786 h 363203"/>
                <a:gd name="connsiteX838" fmla="*/ 227150 w 429219"/>
                <a:gd name="connsiteY838" fmla="*/ 140786 h 363203"/>
                <a:gd name="connsiteX839" fmla="*/ 227150 w 429219"/>
                <a:gd name="connsiteY839" fmla="*/ 140076 h 363203"/>
                <a:gd name="connsiteX840" fmla="*/ 227624 w 429219"/>
                <a:gd name="connsiteY840" fmla="*/ 140076 h 363203"/>
                <a:gd name="connsiteX841" fmla="*/ 227624 w 429219"/>
                <a:gd name="connsiteY841" fmla="*/ 139603 h 363203"/>
                <a:gd name="connsiteX842" fmla="*/ 227860 w 429219"/>
                <a:gd name="connsiteY842" fmla="*/ 139603 h 363203"/>
                <a:gd name="connsiteX843" fmla="*/ 227860 w 429219"/>
                <a:gd name="connsiteY843" fmla="*/ 139130 h 363203"/>
                <a:gd name="connsiteX844" fmla="*/ 228097 w 429219"/>
                <a:gd name="connsiteY844" fmla="*/ 139130 h 363203"/>
                <a:gd name="connsiteX845" fmla="*/ 228097 w 429219"/>
                <a:gd name="connsiteY845" fmla="*/ 138656 h 363203"/>
                <a:gd name="connsiteX846" fmla="*/ 228570 w 429219"/>
                <a:gd name="connsiteY846" fmla="*/ 138656 h 363203"/>
                <a:gd name="connsiteX847" fmla="*/ 228570 w 429219"/>
                <a:gd name="connsiteY847" fmla="*/ 138183 h 363203"/>
                <a:gd name="connsiteX848" fmla="*/ 229043 w 429219"/>
                <a:gd name="connsiteY848" fmla="*/ 138183 h 363203"/>
                <a:gd name="connsiteX849" fmla="*/ 229043 w 429219"/>
                <a:gd name="connsiteY849" fmla="*/ 137710 h 363203"/>
                <a:gd name="connsiteX850" fmla="*/ 229043 w 429219"/>
                <a:gd name="connsiteY850" fmla="*/ 137710 h 363203"/>
                <a:gd name="connsiteX851" fmla="*/ 229516 w 429219"/>
                <a:gd name="connsiteY851" fmla="*/ 137237 h 363203"/>
                <a:gd name="connsiteX852" fmla="*/ 229990 w 429219"/>
                <a:gd name="connsiteY852" fmla="*/ 137237 h 363203"/>
                <a:gd name="connsiteX853" fmla="*/ 229990 w 429219"/>
                <a:gd name="connsiteY853" fmla="*/ 136763 h 363203"/>
                <a:gd name="connsiteX854" fmla="*/ 230700 w 429219"/>
                <a:gd name="connsiteY854" fmla="*/ 136763 h 363203"/>
                <a:gd name="connsiteX855" fmla="*/ 230700 w 429219"/>
                <a:gd name="connsiteY855" fmla="*/ 136290 h 363203"/>
                <a:gd name="connsiteX856" fmla="*/ 231646 w 429219"/>
                <a:gd name="connsiteY856" fmla="*/ 136290 h 363203"/>
                <a:gd name="connsiteX857" fmla="*/ 231646 w 429219"/>
                <a:gd name="connsiteY857" fmla="*/ 135817 h 363203"/>
                <a:gd name="connsiteX858" fmla="*/ 232592 w 429219"/>
                <a:gd name="connsiteY858" fmla="*/ 135817 h 363203"/>
                <a:gd name="connsiteX859" fmla="*/ 233066 w 429219"/>
                <a:gd name="connsiteY859" fmla="*/ 135344 h 363203"/>
                <a:gd name="connsiteX860" fmla="*/ 235432 w 429219"/>
                <a:gd name="connsiteY860" fmla="*/ 135344 h 363203"/>
                <a:gd name="connsiteX861" fmla="*/ 235432 w 429219"/>
                <a:gd name="connsiteY861" fmla="*/ 134870 h 363203"/>
                <a:gd name="connsiteX862" fmla="*/ 238745 w 429219"/>
                <a:gd name="connsiteY862" fmla="*/ 134870 h 363203"/>
                <a:gd name="connsiteX863" fmla="*/ 238745 w 429219"/>
                <a:gd name="connsiteY863" fmla="*/ 135344 h 363203"/>
                <a:gd name="connsiteX864" fmla="*/ 239927 w 429219"/>
                <a:gd name="connsiteY864" fmla="*/ 135344 h 363203"/>
                <a:gd name="connsiteX865" fmla="*/ 239927 w 429219"/>
                <a:gd name="connsiteY865" fmla="*/ 135817 h 363203"/>
                <a:gd name="connsiteX866" fmla="*/ 240874 w 429219"/>
                <a:gd name="connsiteY866" fmla="*/ 135817 h 363203"/>
                <a:gd name="connsiteX867" fmla="*/ 240874 w 429219"/>
                <a:gd name="connsiteY867" fmla="*/ 136290 h 363203"/>
                <a:gd name="connsiteX868" fmla="*/ 241584 w 429219"/>
                <a:gd name="connsiteY868" fmla="*/ 136290 h 363203"/>
                <a:gd name="connsiteX869" fmla="*/ 241584 w 429219"/>
                <a:gd name="connsiteY869" fmla="*/ 136763 h 363203"/>
                <a:gd name="connsiteX870" fmla="*/ 242294 w 429219"/>
                <a:gd name="connsiteY870" fmla="*/ 136763 h 363203"/>
                <a:gd name="connsiteX871" fmla="*/ 242294 w 429219"/>
                <a:gd name="connsiteY871" fmla="*/ 137237 h 363203"/>
                <a:gd name="connsiteX872" fmla="*/ 243003 w 429219"/>
                <a:gd name="connsiteY872" fmla="*/ 137237 h 363203"/>
                <a:gd name="connsiteX873" fmla="*/ 243003 w 429219"/>
                <a:gd name="connsiteY873" fmla="*/ 137710 h 363203"/>
                <a:gd name="connsiteX874" fmla="*/ 243477 w 429219"/>
                <a:gd name="connsiteY874" fmla="*/ 137710 h 363203"/>
                <a:gd name="connsiteX875" fmla="*/ 243477 w 429219"/>
                <a:gd name="connsiteY875" fmla="*/ 138183 h 363203"/>
                <a:gd name="connsiteX876" fmla="*/ 243950 w 429219"/>
                <a:gd name="connsiteY876" fmla="*/ 138183 h 363203"/>
                <a:gd name="connsiteX877" fmla="*/ 243950 w 429219"/>
                <a:gd name="connsiteY877" fmla="*/ 138656 h 363203"/>
                <a:gd name="connsiteX878" fmla="*/ 244423 w 429219"/>
                <a:gd name="connsiteY878" fmla="*/ 138656 h 363203"/>
                <a:gd name="connsiteX879" fmla="*/ 244423 w 429219"/>
                <a:gd name="connsiteY879" fmla="*/ 139130 h 363203"/>
                <a:gd name="connsiteX880" fmla="*/ 244896 w 429219"/>
                <a:gd name="connsiteY880" fmla="*/ 139130 h 363203"/>
                <a:gd name="connsiteX881" fmla="*/ 244896 w 429219"/>
                <a:gd name="connsiteY881" fmla="*/ 139603 h 363203"/>
                <a:gd name="connsiteX882" fmla="*/ 244896 w 429219"/>
                <a:gd name="connsiteY882" fmla="*/ 139603 h 363203"/>
                <a:gd name="connsiteX883" fmla="*/ 244896 w 429219"/>
                <a:gd name="connsiteY883" fmla="*/ 140076 h 363203"/>
                <a:gd name="connsiteX884" fmla="*/ 245370 w 429219"/>
                <a:gd name="connsiteY884" fmla="*/ 140549 h 363203"/>
                <a:gd name="connsiteX885" fmla="*/ 245370 w 429219"/>
                <a:gd name="connsiteY885" fmla="*/ 140549 h 363203"/>
                <a:gd name="connsiteX886" fmla="*/ 245370 w 429219"/>
                <a:gd name="connsiteY886" fmla="*/ 141022 h 363203"/>
                <a:gd name="connsiteX887" fmla="*/ 245606 w 429219"/>
                <a:gd name="connsiteY887" fmla="*/ 141022 h 363203"/>
                <a:gd name="connsiteX888" fmla="*/ 245606 w 429219"/>
                <a:gd name="connsiteY888" fmla="*/ 141496 h 363203"/>
                <a:gd name="connsiteX889" fmla="*/ 245606 w 429219"/>
                <a:gd name="connsiteY889" fmla="*/ 141496 h 363203"/>
                <a:gd name="connsiteX890" fmla="*/ 245606 w 429219"/>
                <a:gd name="connsiteY890" fmla="*/ 141969 h 363203"/>
                <a:gd name="connsiteX891" fmla="*/ 245606 w 429219"/>
                <a:gd name="connsiteY891" fmla="*/ 141969 h 363203"/>
                <a:gd name="connsiteX892" fmla="*/ 245606 w 429219"/>
                <a:gd name="connsiteY892" fmla="*/ 142679 h 363203"/>
                <a:gd name="connsiteX893" fmla="*/ 246080 w 429219"/>
                <a:gd name="connsiteY893" fmla="*/ 142679 h 363203"/>
                <a:gd name="connsiteX894" fmla="*/ 246080 w 429219"/>
                <a:gd name="connsiteY894" fmla="*/ 143152 h 363203"/>
                <a:gd name="connsiteX895" fmla="*/ 246080 w 429219"/>
                <a:gd name="connsiteY895" fmla="*/ 143152 h 363203"/>
                <a:gd name="connsiteX896" fmla="*/ 246080 w 429219"/>
                <a:gd name="connsiteY896" fmla="*/ 144098 h 363203"/>
                <a:gd name="connsiteX897" fmla="*/ 246316 w 429219"/>
                <a:gd name="connsiteY897" fmla="*/ 144098 h 363203"/>
                <a:gd name="connsiteX898" fmla="*/ 246316 w 429219"/>
                <a:gd name="connsiteY898" fmla="*/ 144572 h 363203"/>
                <a:gd name="connsiteX899" fmla="*/ 246316 w 429219"/>
                <a:gd name="connsiteY899" fmla="*/ 144572 h 363203"/>
                <a:gd name="connsiteX900" fmla="*/ 246316 w 429219"/>
                <a:gd name="connsiteY900" fmla="*/ 145045 h 363203"/>
                <a:gd name="connsiteX901" fmla="*/ 246316 w 429219"/>
                <a:gd name="connsiteY901" fmla="*/ 145045 h 363203"/>
                <a:gd name="connsiteX902" fmla="*/ 246316 w 429219"/>
                <a:gd name="connsiteY902" fmla="*/ 145518 h 363203"/>
                <a:gd name="connsiteX903" fmla="*/ 246316 w 429219"/>
                <a:gd name="connsiteY903" fmla="*/ 145518 h 363203"/>
                <a:gd name="connsiteX904" fmla="*/ 276603 w 429219"/>
                <a:gd name="connsiteY904" fmla="*/ 206801 h 363203"/>
                <a:gd name="connsiteX905" fmla="*/ 337886 w 429219"/>
                <a:gd name="connsiteY905" fmla="*/ 237088 h 363203"/>
                <a:gd name="connsiteX906" fmla="*/ 339306 w 429219"/>
                <a:gd name="connsiteY906" fmla="*/ 237088 h 363203"/>
                <a:gd name="connsiteX907" fmla="*/ 339779 w 429219"/>
                <a:gd name="connsiteY907" fmla="*/ 237561 h 363203"/>
                <a:gd name="connsiteX908" fmla="*/ 340725 w 429219"/>
                <a:gd name="connsiteY908" fmla="*/ 237561 h 363203"/>
                <a:gd name="connsiteX909" fmla="*/ 341199 w 429219"/>
                <a:gd name="connsiteY909" fmla="*/ 238035 h 363203"/>
                <a:gd name="connsiteX910" fmla="*/ 341908 w 429219"/>
                <a:gd name="connsiteY910" fmla="*/ 238035 h 363203"/>
                <a:gd name="connsiteX911" fmla="*/ 341908 w 429219"/>
                <a:gd name="connsiteY911" fmla="*/ 238508 h 363203"/>
                <a:gd name="connsiteX912" fmla="*/ 342618 w 429219"/>
                <a:gd name="connsiteY912" fmla="*/ 238508 h 363203"/>
                <a:gd name="connsiteX913" fmla="*/ 342618 w 429219"/>
                <a:gd name="connsiteY913" fmla="*/ 238981 h 363203"/>
                <a:gd name="connsiteX914" fmla="*/ 343328 w 429219"/>
                <a:gd name="connsiteY914" fmla="*/ 238981 h 363203"/>
                <a:gd name="connsiteX915" fmla="*/ 343328 w 429219"/>
                <a:gd name="connsiteY915" fmla="*/ 239454 h 363203"/>
                <a:gd name="connsiteX916" fmla="*/ 343801 w 429219"/>
                <a:gd name="connsiteY916" fmla="*/ 239454 h 363203"/>
                <a:gd name="connsiteX917" fmla="*/ 343801 w 429219"/>
                <a:gd name="connsiteY917" fmla="*/ 239928 h 363203"/>
                <a:gd name="connsiteX918" fmla="*/ 344275 w 429219"/>
                <a:gd name="connsiteY918" fmla="*/ 239928 h 363203"/>
                <a:gd name="connsiteX919" fmla="*/ 344275 w 429219"/>
                <a:gd name="connsiteY919" fmla="*/ 240401 h 363203"/>
                <a:gd name="connsiteX920" fmla="*/ 344748 w 429219"/>
                <a:gd name="connsiteY920" fmla="*/ 240401 h 363203"/>
                <a:gd name="connsiteX921" fmla="*/ 344748 w 429219"/>
                <a:gd name="connsiteY921" fmla="*/ 240874 h 363203"/>
                <a:gd name="connsiteX922" fmla="*/ 344985 w 429219"/>
                <a:gd name="connsiteY922" fmla="*/ 240874 h 363203"/>
                <a:gd name="connsiteX923" fmla="*/ 344985 w 429219"/>
                <a:gd name="connsiteY923" fmla="*/ 241347 h 363203"/>
                <a:gd name="connsiteX924" fmla="*/ 344985 w 429219"/>
                <a:gd name="connsiteY924" fmla="*/ 241347 h 363203"/>
                <a:gd name="connsiteX925" fmla="*/ 344985 w 429219"/>
                <a:gd name="connsiteY925" fmla="*/ 241820 h 363203"/>
                <a:gd name="connsiteX926" fmla="*/ 345458 w 429219"/>
                <a:gd name="connsiteY926" fmla="*/ 242294 h 363203"/>
                <a:gd name="connsiteX927" fmla="*/ 345458 w 429219"/>
                <a:gd name="connsiteY927" fmla="*/ 242294 h 363203"/>
                <a:gd name="connsiteX928" fmla="*/ 345458 w 429219"/>
                <a:gd name="connsiteY928" fmla="*/ 242767 h 363203"/>
                <a:gd name="connsiteX929" fmla="*/ 345694 w 429219"/>
                <a:gd name="connsiteY929" fmla="*/ 242767 h 363203"/>
                <a:gd name="connsiteX930" fmla="*/ 345694 w 429219"/>
                <a:gd name="connsiteY930" fmla="*/ 243240 h 363203"/>
                <a:gd name="connsiteX931" fmla="*/ 345694 w 429219"/>
                <a:gd name="connsiteY931" fmla="*/ 243240 h 363203"/>
                <a:gd name="connsiteX932" fmla="*/ 345694 w 429219"/>
                <a:gd name="connsiteY932" fmla="*/ 243713 h 363203"/>
                <a:gd name="connsiteX933" fmla="*/ 345694 w 429219"/>
                <a:gd name="connsiteY933" fmla="*/ 243713 h 363203"/>
                <a:gd name="connsiteX934" fmla="*/ 345694 w 429219"/>
                <a:gd name="connsiteY934" fmla="*/ 244423 h 363203"/>
                <a:gd name="connsiteX935" fmla="*/ 346168 w 429219"/>
                <a:gd name="connsiteY935" fmla="*/ 244423 h 363203"/>
                <a:gd name="connsiteX936" fmla="*/ 346168 w 429219"/>
                <a:gd name="connsiteY936" fmla="*/ 244896 h 363203"/>
                <a:gd name="connsiteX937" fmla="*/ 346168 w 429219"/>
                <a:gd name="connsiteY937" fmla="*/ 244896 h 363203"/>
                <a:gd name="connsiteX938" fmla="*/ 346168 w 429219"/>
                <a:gd name="connsiteY938" fmla="*/ 245843 h 363203"/>
                <a:gd name="connsiteX939" fmla="*/ 346168 w 429219"/>
                <a:gd name="connsiteY939" fmla="*/ 245843 h 363203"/>
                <a:gd name="connsiteX940" fmla="*/ 346168 w 429219"/>
                <a:gd name="connsiteY940" fmla="*/ 246316 h 363203"/>
                <a:gd name="connsiteX941" fmla="*/ 346168 w 429219"/>
                <a:gd name="connsiteY941" fmla="*/ 246316 h 363203"/>
                <a:gd name="connsiteX942" fmla="*/ 346168 w 429219"/>
                <a:gd name="connsiteY942" fmla="*/ 246789 h 363203"/>
                <a:gd name="connsiteX943" fmla="*/ 346168 w 429219"/>
                <a:gd name="connsiteY943" fmla="*/ 246789 h 363203"/>
                <a:gd name="connsiteX944" fmla="*/ 346168 w 429219"/>
                <a:gd name="connsiteY944" fmla="*/ 247736 h 363203"/>
                <a:gd name="connsiteX945" fmla="*/ 346168 w 429219"/>
                <a:gd name="connsiteY945" fmla="*/ 247736 h 363203"/>
                <a:gd name="connsiteX946" fmla="*/ 346168 w 429219"/>
                <a:gd name="connsiteY946" fmla="*/ 248209 h 363203"/>
                <a:gd name="connsiteX947" fmla="*/ 346168 w 429219"/>
                <a:gd name="connsiteY947" fmla="*/ 248209 h 363203"/>
                <a:gd name="connsiteX948" fmla="*/ 346168 w 429219"/>
                <a:gd name="connsiteY948" fmla="*/ 248682 h 363203"/>
                <a:gd name="connsiteX949" fmla="*/ 346168 w 429219"/>
                <a:gd name="connsiteY949" fmla="*/ 248682 h 363203"/>
                <a:gd name="connsiteX950" fmla="*/ 346168 w 429219"/>
                <a:gd name="connsiteY950" fmla="*/ 249155 h 363203"/>
                <a:gd name="connsiteX951" fmla="*/ 346168 w 429219"/>
                <a:gd name="connsiteY951" fmla="*/ 249155 h 363203"/>
                <a:gd name="connsiteX952" fmla="*/ 346168 w 429219"/>
                <a:gd name="connsiteY952" fmla="*/ 249865 h 363203"/>
                <a:gd name="connsiteX953" fmla="*/ 346168 w 429219"/>
                <a:gd name="connsiteY953" fmla="*/ 249865 h 363203"/>
                <a:gd name="connsiteX954" fmla="*/ 346168 w 429219"/>
                <a:gd name="connsiteY954" fmla="*/ 250339 h 363203"/>
                <a:gd name="connsiteX955" fmla="*/ 346168 w 429219"/>
                <a:gd name="connsiteY955" fmla="*/ 250339 h 363203"/>
                <a:gd name="connsiteX956" fmla="*/ 346168 w 429219"/>
                <a:gd name="connsiteY956" fmla="*/ 250812 h 363203"/>
                <a:gd name="connsiteX957" fmla="*/ 346168 w 429219"/>
                <a:gd name="connsiteY957" fmla="*/ 250812 h 363203"/>
                <a:gd name="connsiteX958" fmla="*/ 346168 w 429219"/>
                <a:gd name="connsiteY958" fmla="*/ 251285 h 363203"/>
                <a:gd name="connsiteX959" fmla="*/ 346168 w 429219"/>
                <a:gd name="connsiteY959" fmla="*/ 251285 h 363203"/>
                <a:gd name="connsiteX960" fmla="*/ 346168 w 429219"/>
                <a:gd name="connsiteY960" fmla="*/ 251995 h 363203"/>
                <a:gd name="connsiteX961" fmla="*/ 346168 w 429219"/>
                <a:gd name="connsiteY961" fmla="*/ 251995 h 363203"/>
                <a:gd name="connsiteX962" fmla="*/ 346168 w 429219"/>
                <a:gd name="connsiteY962" fmla="*/ 252468 h 363203"/>
                <a:gd name="connsiteX963" fmla="*/ 346168 w 429219"/>
                <a:gd name="connsiteY963" fmla="*/ 252468 h 363203"/>
                <a:gd name="connsiteX964" fmla="*/ 346168 w 429219"/>
                <a:gd name="connsiteY964" fmla="*/ 252941 h 363203"/>
                <a:gd name="connsiteX965" fmla="*/ 346168 w 429219"/>
                <a:gd name="connsiteY965" fmla="*/ 252941 h 363203"/>
                <a:gd name="connsiteX966" fmla="*/ 346168 w 429219"/>
                <a:gd name="connsiteY966" fmla="*/ 253415 h 363203"/>
                <a:gd name="connsiteX967" fmla="*/ 345931 w 429219"/>
                <a:gd name="connsiteY967" fmla="*/ 253415 h 363203"/>
                <a:gd name="connsiteX968" fmla="*/ 345931 w 429219"/>
                <a:gd name="connsiteY968" fmla="*/ 253888 h 363203"/>
                <a:gd name="connsiteX969" fmla="*/ 345694 w 429219"/>
                <a:gd name="connsiteY969" fmla="*/ 253888 h 363203"/>
                <a:gd name="connsiteX970" fmla="*/ 345694 w 429219"/>
                <a:gd name="connsiteY970" fmla="*/ 254361 h 363203"/>
                <a:gd name="connsiteX971" fmla="*/ 345694 w 429219"/>
                <a:gd name="connsiteY971" fmla="*/ 254361 h 363203"/>
                <a:gd name="connsiteX972" fmla="*/ 345694 w 429219"/>
                <a:gd name="connsiteY972" fmla="*/ 254834 h 363203"/>
                <a:gd name="connsiteX973" fmla="*/ 345458 w 429219"/>
                <a:gd name="connsiteY973" fmla="*/ 254834 h 363203"/>
                <a:gd name="connsiteX974" fmla="*/ 345458 w 429219"/>
                <a:gd name="connsiteY974" fmla="*/ 255544 h 363203"/>
                <a:gd name="connsiteX975" fmla="*/ 344985 w 429219"/>
                <a:gd name="connsiteY975" fmla="*/ 255544 h 363203"/>
                <a:gd name="connsiteX976" fmla="*/ 344985 w 429219"/>
                <a:gd name="connsiteY976" fmla="*/ 256017 h 363203"/>
                <a:gd name="connsiteX977" fmla="*/ 344748 w 429219"/>
                <a:gd name="connsiteY977" fmla="*/ 256017 h 363203"/>
                <a:gd name="connsiteX978" fmla="*/ 344748 w 429219"/>
                <a:gd name="connsiteY978" fmla="*/ 256490 h 363203"/>
                <a:gd name="connsiteX979" fmla="*/ 344275 w 429219"/>
                <a:gd name="connsiteY979" fmla="*/ 256490 h 363203"/>
                <a:gd name="connsiteX980" fmla="*/ 344275 w 429219"/>
                <a:gd name="connsiteY980" fmla="*/ 256964 h 363203"/>
                <a:gd name="connsiteX981" fmla="*/ 343801 w 429219"/>
                <a:gd name="connsiteY981" fmla="*/ 256964 h 363203"/>
                <a:gd name="connsiteX982" fmla="*/ 343801 w 429219"/>
                <a:gd name="connsiteY982" fmla="*/ 257437 h 363203"/>
                <a:gd name="connsiteX983" fmla="*/ 343328 w 429219"/>
                <a:gd name="connsiteY983" fmla="*/ 257437 h 363203"/>
                <a:gd name="connsiteX984" fmla="*/ 343328 w 429219"/>
                <a:gd name="connsiteY984" fmla="*/ 257910 h 363203"/>
                <a:gd name="connsiteX985" fmla="*/ 342618 w 429219"/>
                <a:gd name="connsiteY985" fmla="*/ 257910 h 363203"/>
                <a:gd name="connsiteX986" fmla="*/ 342618 w 429219"/>
                <a:gd name="connsiteY986" fmla="*/ 258383 h 363203"/>
                <a:gd name="connsiteX987" fmla="*/ 342145 w 429219"/>
                <a:gd name="connsiteY987" fmla="*/ 258383 h 363203"/>
                <a:gd name="connsiteX988" fmla="*/ 342145 w 429219"/>
                <a:gd name="connsiteY988" fmla="*/ 258857 h 363203"/>
                <a:gd name="connsiteX989" fmla="*/ 341435 w 429219"/>
                <a:gd name="connsiteY989" fmla="*/ 258857 h 363203"/>
                <a:gd name="connsiteX990" fmla="*/ 341435 w 429219"/>
                <a:gd name="connsiteY990" fmla="*/ 259330 h 363203"/>
                <a:gd name="connsiteX991" fmla="*/ 340489 w 429219"/>
                <a:gd name="connsiteY991" fmla="*/ 259330 h 363203"/>
                <a:gd name="connsiteX992" fmla="*/ 340489 w 429219"/>
                <a:gd name="connsiteY992" fmla="*/ 259803 h 363203"/>
                <a:gd name="connsiteX993" fmla="*/ 339542 w 429219"/>
                <a:gd name="connsiteY993" fmla="*/ 259803 h 363203"/>
                <a:gd name="connsiteX994" fmla="*/ 339069 w 429219"/>
                <a:gd name="connsiteY994" fmla="*/ 260276 h 363203"/>
                <a:gd name="connsiteX995" fmla="*/ 337649 w 429219"/>
                <a:gd name="connsiteY995" fmla="*/ 260276 h 363203"/>
                <a:gd name="connsiteX996" fmla="*/ 276366 w 429219"/>
                <a:gd name="connsiteY996" fmla="*/ 290800 h 363203"/>
                <a:gd name="connsiteX997" fmla="*/ 246080 w 429219"/>
                <a:gd name="connsiteY997" fmla="*/ 352083 h 363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</a:cxnLst>
              <a:rect l="l" t="t" r="r" b="b"/>
              <a:pathLst>
                <a:path w="429219" h="363203">
                  <a:moveTo>
                    <a:pt x="235905" y="187399"/>
                  </a:moveTo>
                  <a:cubicBezTo>
                    <a:pt x="229516" y="201123"/>
                    <a:pt x="220762" y="213427"/>
                    <a:pt x="210351" y="224074"/>
                  </a:cubicBezTo>
                  <a:cubicBezTo>
                    <a:pt x="199703" y="234485"/>
                    <a:pt x="187399" y="243240"/>
                    <a:pt x="173675" y="249629"/>
                  </a:cubicBezTo>
                  <a:cubicBezTo>
                    <a:pt x="187399" y="256017"/>
                    <a:pt x="199703" y="264772"/>
                    <a:pt x="210351" y="275183"/>
                  </a:cubicBezTo>
                  <a:cubicBezTo>
                    <a:pt x="220762" y="285594"/>
                    <a:pt x="229516" y="298135"/>
                    <a:pt x="235905" y="311622"/>
                  </a:cubicBezTo>
                  <a:cubicBezTo>
                    <a:pt x="242294" y="297898"/>
                    <a:pt x="251048" y="285594"/>
                    <a:pt x="261460" y="275183"/>
                  </a:cubicBezTo>
                  <a:cubicBezTo>
                    <a:pt x="271870" y="264535"/>
                    <a:pt x="284411" y="256017"/>
                    <a:pt x="297898" y="249629"/>
                  </a:cubicBezTo>
                  <a:cubicBezTo>
                    <a:pt x="284175" y="243240"/>
                    <a:pt x="271870" y="234485"/>
                    <a:pt x="261460" y="224074"/>
                  </a:cubicBezTo>
                  <a:cubicBezTo>
                    <a:pt x="250812" y="213663"/>
                    <a:pt x="242294" y="201123"/>
                    <a:pt x="235905" y="187399"/>
                  </a:cubicBezTo>
                  <a:moveTo>
                    <a:pt x="397040" y="105767"/>
                  </a:moveTo>
                  <a:cubicBezTo>
                    <a:pt x="391598" y="102691"/>
                    <a:pt x="386865" y="99142"/>
                    <a:pt x="382370" y="94646"/>
                  </a:cubicBezTo>
                  <a:lnTo>
                    <a:pt x="382370" y="94646"/>
                  </a:lnTo>
                  <a:cubicBezTo>
                    <a:pt x="378111" y="90387"/>
                    <a:pt x="374325" y="85418"/>
                    <a:pt x="371249" y="79976"/>
                  </a:cubicBezTo>
                  <a:cubicBezTo>
                    <a:pt x="368173" y="85418"/>
                    <a:pt x="364624" y="90150"/>
                    <a:pt x="360128" y="94646"/>
                  </a:cubicBezTo>
                  <a:lnTo>
                    <a:pt x="360128" y="94646"/>
                  </a:lnTo>
                  <a:cubicBezTo>
                    <a:pt x="355869" y="98905"/>
                    <a:pt x="350900" y="102691"/>
                    <a:pt x="345458" y="105767"/>
                  </a:cubicBezTo>
                  <a:cubicBezTo>
                    <a:pt x="350900" y="108843"/>
                    <a:pt x="355632" y="112392"/>
                    <a:pt x="360128" y="116888"/>
                  </a:cubicBezTo>
                  <a:cubicBezTo>
                    <a:pt x="364387" y="121147"/>
                    <a:pt x="368173" y="126116"/>
                    <a:pt x="371012" y="131558"/>
                  </a:cubicBezTo>
                  <a:cubicBezTo>
                    <a:pt x="374088" y="126116"/>
                    <a:pt x="377637" y="121383"/>
                    <a:pt x="382133" y="116888"/>
                  </a:cubicBezTo>
                  <a:lnTo>
                    <a:pt x="382606" y="116415"/>
                  </a:lnTo>
                  <a:cubicBezTo>
                    <a:pt x="386865" y="112392"/>
                    <a:pt x="391598" y="108843"/>
                    <a:pt x="396803" y="105767"/>
                  </a:cubicBezTo>
                  <a:close/>
                  <a:moveTo>
                    <a:pt x="379530" y="54185"/>
                  </a:moveTo>
                  <a:cubicBezTo>
                    <a:pt x="380950" y="65542"/>
                    <a:pt x="386392" y="75717"/>
                    <a:pt x="393964" y="83288"/>
                  </a:cubicBezTo>
                  <a:lnTo>
                    <a:pt x="393964" y="83288"/>
                  </a:lnTo>
                  <a:cubicBezTo>
                    <a:pt x="401772" y="90860"/>
                    <a:pt x="411710" y="96066"/>
                    <a:pt x="423067" y="97722"/>
                  </a:cubicBezTo>
                  <a:lnTo>
                    <a:pt x="424724" y="97722"/>
                  </a:lnTo>
                  <a:lnTo>
                    <a:pt x="424724" y="98195"/>
                  </a:lnTo>
                  <a:lnTo>
                    <a:pt x="425670" y="98195"/>
                  </a:lnTo>
                  <a:lnTo>
                    <a:pt x="425670" y="98668"/>
                  </a:lnTo>
                  <a:lnTo>
                    <a:pt x="426380" y="98668"/>
                  </a:lnTo>
                  <a:lnTo>
                    <a:pt x="426380" y="99142"/>
                  </a:lnTo>
                  <a:lnTo>
                    <a:pt x="427090" y="99142"/>
                  </a:lnTo>
                  <a:lnTo>
                    <a:pt x="427090" y="99615"/>
                  </a:lnTo>
                  <a:lnTo>
                    <a:pt x="427563" y="99615"/>
                  </a:lnTo>
                  <a:lnTo>
                    <a:pt x="427563" y="100088"/>
                  </a:lnTo>
                  <a:lnTo>
                    <a:pt x="428036" y="100088"/>
                  </a:lnTo>
                  <a:lnTo>
                    <a:pt x="428036" y="100561"/>
                  </a:lnTo>
                  <a:lnTo>
                    <a:pt x="428510" y="100561"/>
                  </a:lnTo>
                  <a:lnTo>
                    <a:pt x="428510" y="101035"/>
                  </a:lnTo>
                  <a:lnTo>
                    <a:pt x="428746" y="101035"/>
                  </a:lnTo>
                  <a:lnTo>
                    <a:pt x="428746" y="101508"/>
                  </a:lnTo>
                  <a:lnTo>
                    <a:pt x="428746" y="101508"/>
                  </a:lnTo>
                  <a:lnTo>
                    <a:pt x="428746" y="101981"/>
                  </a:lnTo>
                  <a:lnTo>
                    <a:pt x="429219" y="101981"/>
                  </a:lnTo>
                  <a:lnTo>
                    <a:pt x="429219" y="102454"/>
                  </a:lnTo>
                  <a:lnTo>
                    <a:pt x="429219" y="102454"/>
                  </a:lnTo>
                  <a:lnTo>
                    <a:pt x="429219" y="102927"/>
                  </a:lnTo>
                  <a:lnTo>
                    <a:pt x="429219" y="102927"/>
                  </a:lnTo>
                  <a:lnTo>
                    <a:pt x="429219" y="103401"/>
                  </a:lnTo>
                  <a:lnTo>
                    <a:pt x="429219" y="103401"/>
                  </a:lnTo>
                  <a:lnTo>
                    <a:pt x="429219" y="103874"/>
                  </a:lnTo>
                  <a:lnTo>
                    <a:pt x="429219" y="103874"/>
                  </a:lnTo>
                  <a:lnTo>
                    <a:pt x="429219" y="104347"/>
                  </a:lnTo>
                  <a:lnTo>
                    <a:pt x="429219" y="104347"/>
                  </a:lnTo>
                  <a:lnTo>
                    <a:pt x="429219" y="104820"/>
                  </a:lnTo>
                  <a:lnTo>
                    <a:pt x="429219" y="104820"/>
                  </a:lnTo>
                  <a:lnTo>
                    <a:pt x="429219" y="105530"/>
                  </a:lnTo>
                  <a:lnTo>
                    <a:pt x="429219" y="105530"/>
                  </a:lnTo>
                  <a:lnTo>
                    <a:pt x="429219" y="106003"/>
                  </a:lnTo>
                  <a:lnTo>
                    <a:pt x="429219" y="106003"/>
                  </a:lnTo>
                  <a:lnTo>
                    <a:pt x="429219" y="106477"/>
                  </a:lnTo>
                  <a:lnTo>
                    <a:pt x="429219" y="106477"/>
                  </a:lnTo>
                  <a:lnTo>
                    <a:pt x="429219" y="106950"/>
                  </a:lnTo>
                  <a:lnTo>
                    <a:pt x="429219" y="106950"/>
                  </a:lnTo>
                  <a:lnTo>
                    <a:pt x="429219" y="107423"/>
                  </a:lnTo>
                  <a:lnTo>
                    <a:pt x="429219" y="107423"/>
                  </a:lnTo>
                  <a:lnTo>
                    <a:pt x="429219" y="107896"/>
                  </a:lnTo>
                  <a:lnTo>
                    <a:pt x="429219" y="107896"/>
                  </a:lnTo>
                  <a:lnTo>
                    <a:pt x="429219" y="108370"/>
                  </a:lnTo>
                  <a:lnTo>
                    <a:pt x="429219" y="108370"/>
                  </a:lnTo>
                  <a:lnTo>
                    <a:pt x="429219" y="108843"/>
                  </a:lnTo>
                  <a:lnTo>
                    <a:pt x="429219" y="108843"/>
                  </a:lnTo>
                  <a:lnTo>
                    <a:pt x="429219" y="109316"/>
                  </a:lnTo>
                  <a:lnTo>
                    <a:pt x="429219" y="109316"/>
                  </a:lnTo>
                  <a:lnTo>
                    <a:pt x="429219" y="109789"/>
                  </a:lnTo>
                  <a:lnTo>
                    <a:pt x="429219" y="109789"/>
                  </a:lnTo>
                  <a:lnTo>
                    <a:pt x="429219" y="110262"/>
                  </a:lnTo>
                  <a:lnTo>
                    <a:pt x="429219" y="110262"/>
                  </a:lnTo>
                  <a:lnTo>
                    <a:pt x="429219" y="110736"/>
                  </a:lnTo>
                  <a:lnTo>
                    <a:pt x="429219" y="110736"/>
                  </a:lnTo>
                  <a:lnTo>
                    <a:pt x="429219" y="111209"/>
                  </a:lnTo>
                  <a:lnTo>
                    <a:pt x="429219" y="111209"/>
                  </a:lnTo>
                  <a:lnTo>
                    <a:pt x="429219" y="111919"/>
                  </a:lnTo>
                  <a:lnTo>
                    <a:pt x="428746" y="111919"/>
                  </a:lnTo>
                  <a:lnTo>
                    <a:pt x="428746" y="112392"/>
                  </a:lnTo>
                  <a:lnTo>
                    <a:pt x="428510" y="112392"/>
                  </a:lnTo>
                  <a:lnTo>
                    <a:pt x="428510" y="112865"/>
                  </a:lnTo>
                  <a:lnTo>
                    <a:pt x="428036" y="112865"/>
                  </a:lnTo>
                  <a:lnTo>
                    <a:pt x="428036" y="113339"/>
                  </a:lnTo>
                  <a:lnTo>
                    <a:pt x="427563" y="113339"/>
                  </a:lnTo>
                  <a:lnTo>
                    <a:pt x="427563" y="113812"/>
                  </a:lnTo>
                  <a:lnTo>
                    <a:pt x="427090" y="113812"/>
                  </a:lnTo>
                  <a:lnTo>
                    <a:pt x="427090" y="114285"/>
                  </a:lnTo>
                  <a:lnTo>
                    <a:pt x="426853" y="114285"/>
                  </a:lnTo>
                  <a:lnTo>
                    <a:pt x="426853" y="114758"/>
                  </a:lnTo>
                  <a:lnTo>
                    <a:pt x="425907" y="114758"/>
                  </a:lnTo>
                  <a:lnTo>
                    <a:pt x="425907" y="115231"/>
                  </a:lnTo>
                  <a:lnTo>
                    <a:pt x="424960" y="115231"/>
                  </a:lnTo>
                  <a:lnTo>
                    <a:pt x="424960" y="115705"/>
                  </a:lnTo>
                  <a:lnTo>
                    <a:pt x="423304" y="115705"/>
                  </a:lnTo>
                  <a:lnTo>
                    <a:pt x="423304" y="116178"/>
                  </a:lnTo>
                  <a:lnTo>
                    <a:pt x="423067" y="116178"/>
                  </a:lnTo>
                  <a:cubicBezTo>
                    <a:pt x="411947" y="117598"/>
                    <a:pt x="402009" y="122803"/>
                    <a:pt x="394437" y="130138"/>
                  </a:cubicBezTo>
                  <a:lnTo>
                    <a:pt x="393964" y="130611"/>
                  </a:lnTo>
                  <a:cubicBezTo>
                    <a:pt x="386392" y="138183"/>
                    <a:pt x="381187" y="148357"/>
                    <a:pt x="379530" y="159715"/>
                  </a:cubicBezTo>
                  <a:lnTo>
                    <a:pt x="379530" y="159715"/>
                  </a:lnTo>
                  <a:lnTo>
                    <a:pt x="379530" y="160188"/>
                  </a:lnTo>
                  <a:lnTo>
                    <a:pt x="379530" y="160188"/>
                  </a:lnTo>
                  <a:lnTo>
                    <a:pt x="379530" y="160661"/>
                  </a:lnTo>
                  <a:lnTo>
                    <a:pt x="379530" y="160661"/>
                  </a:lnTo>
                  <a:lnTo>
                    <a:pt x="379530" y="161135"/>
                  </a:lnTo>
                  <a:lnTo>
                    <a:pt x="379530" y="161135"/>
                  </a:lnTo>
                  <a:lnTo>
                    <a:pt x="379530" y="161608"/>
                  </a:lnTo>
                  <a:lnTo>
                    <a:pt x="379530" y="161608"/>
                  </a:lnTo>
                  <a:lnTo>
                    <a:pt x="379530" y="162081"/>
                  </a:lnTo>
                  <a:lnTo>
                    <a:pt x="379294" y="162081"/>
                  </a:lnTo>
                  <a:lnTo>
                    <a:pt x="379294" y="162554"/>
                  </a:lnTo>
                  <a:lnTo>
                    <a:pt x="379294" y="162554"/>
                  </a:lnTo>
                  <a:lnTo>
                    <a:pt x="379294" y="163028"/>
                  </a:lnTo>
                  <a:lnTo>
                    <a:pt x="379294" y="163028"/>
                  </a:lnTo>
                  <a:lnTo>
                    <a:pt x="379294" y="163501"/>
                  </a:lnTo>
                  <a:lnTo>
                    <a:pt x="378820" y="163501"/>
                  </a:lnTo>
                  <a:lnTo>
                    <a:pt x="378820" y="163974"/>
                  </a:lnTo>
                  <a:lnTo>
                    <a:pt x="378347" y="163974"/>
                  </a:lnTo>
                  <a:lnTo>
                    <a:pt x="378347" y="164447"/>
                  </a:lnTo>
                  <a:lnTo>
                    <a:pt x="377874" y="164447"/>
                  </a:lnTo>
                  <a:lnTo>
                    <a:pt x="377874" y="164921"/>
                  </a:lnTo>
                  <a:lnTo>
                    <a:pt x="377401" y="164921"/>
                  </a:lnTo>
                  <a:lnTo>
                    <a:pt x="377401" y="165394"/>
                  </a:lnTo>
                  <a:lnTo>
                    <a:pt x="376928" y="165394"/>
                  </a:lnTo>
                  <a:lnTo>
                    <a:pt x="376928" y="165867"/>
                  </a:lnTo>
                  <a:lnTo>
                    <a:pt x="376454" y="165867"/>
                  </a:lnTo>
                  <a:lnTo>
                    <a:pt x="376454" y="166340"/>
                  </a:lnTo>
                  <a:lnTo>
                    <a:pt x="375508" y="166340"/>
                  </a:lnTo>
                  <a:lnTo>
                    <a:pt x="375508" y="166814"/>
                  </a:lnTo>
                  <a:lnTo>
                    <a:pt x="374561" y="166814"/>
                  </a:lnTo>
                  <a:lnTo>
                    <a:pt x="374561" y="167287"/>
                  </a:lnTo>
                  <a:lnTo>
                    <a:pt x="372905" y="167287"/>
                  </a:lnTo>
                  <a:lnTo>
                    <a:pt x="372905" y="167760"/>
                  </a:lnTo>
                  <a:lnTo>
                    <a:pt x="369593" y="167760"/>
                  </a:lnTo>
                  <a:lnTo>
                    <a:pt x="369593" y="167287"/>
                  </a:lnTo>
                  <a:lnTo>
                    <a:pt x="368646" y="167287"/>
                  </a:lnTo>
                  <a:lnTo>
                    <a:pt x="368646" y="166814"/>
                  </a:lnTo>
                  <a:lnTo>
                    <a:pt x="367936" y="166814"/>
                  </a:lnTo>
                  <a:lnTo>
                    <a:pt x="367936" y="166340"/>
                  </a:lnTo>
                  <a:lnTo>
                    <a:pt x="367463" y="166340"/>
                  </a:lnTo>
                  <a:lnTo>
                    <a:pt x="367463" y="165867"/>
                  </a:lnTo>
                  <a:lnTo>
                    <a:pt x="366753" y="165867"/>
                  </a:lnTo>
                  <a:lnTo>
                    <a:pt x="366753" y="165394"/>
                  </a:lnTo>
                  <a:lnTo>
                    <a:pt x="366516" y="165394"/>
                  </a:lnTo>
                  <a:lnTo>
                    <a:pt x="366516" y="164921"/>
                  </a:lnTo>
                  <a:lnTo>
                    <a:pt x="366043" y="164921"/>
                  </a:lnTo>
                  <a:lnTo>
                    <a:pt x="366043" y="164447"/>
                  </a:lnTo>
                  <a:lnTo>
                    <a:pt x="365807" y="164447"/>
                  </a:lnTo>
                  <a:lnTo>
                    <a:pt x="365807" y="163974"/>
                  </a:lnTo>
                  <a:lnTo>
                    <a:pt x="365333" y="163974"/>
                  </a:lnTo>
                  <a:lnTo>
                    <a:pt x="365333" y="163501"/>
                  </a:lnTo>
                  <a:lnTo>
                    <a:pt x="365333" y="163501"/>
                  </a:lnTo>
                  <a:lnTo>
                    <a:pt x="365333" y="163028"/>
                  </a:lnTo>
                  <a:lnTo>
                    <a:pt x="365333" y="163028"/>
                  </a:lnTo>
                  <a:lnTo>
                    <a:pt x="365333" y="162554"/>
                  </a:lnTo>
                  <a:lnTo>
                    <a:pt x="365333" y="162554"/>
                  </a:lnTo>
                  <a:lnTo>
                    <a:pt x="365333" y="162081"/>
                  </a:lnTo>
                  <a:lnTo>
                    <a:pt x="365333" y="162081"/>
                  </a:lnTo>
                  <a:lnTo>
                    <a:pt x="365333" y="161608"/>
                  </a:lnTo>
                  <a:lnTo>
                    <a:pt x="365333" y="161608"/>
                  </a:lnTo>
                  <a:lnTo>
                    <a:pt x="365333" y="161135"/>
                  </a:lnTo>
                  <a:lnTo>
                    <a:pt x="365333" y="161135"/>
                  </a:lnTo>
                  <a:lnTo>
                    <a:pt x="365333" y="160661"/>
                  </a:lnTo>
                  <a:lnTo>
                    <a:pt x="365333" y="160661"/>
                  </a:lnTo>
                  <a:lnTo>
                    <a:pt x="365333" y="160188"/>
                  </a:lnTo>
                  <a:lnTo>
                    <a:pt x="365333" y="160188"/>
                  </a:lnTo>
                  <a:lnTo>
                    <a:pt x="365333" y="159478"/>
                  </a:lnTo>
                  <a:lnTo>
                    <a:pt x="365333" y="159478"/>
                  </a:lnTo>
                  <a:cubicBezTo>
                    <a:pt x="363914" y="148121"/>
                    <a:pt x="358472" y="137946"/>
                    <a:pt x="350900" y="130138"/>
                  </a:cubicBezTo>
                  <a:cubicBezTo>
                    <a:pt x="343092" y="122566"/>
                    <a:pt x="333154" y="117124"/>
                    <a:pt x="321796" y="115705"/>
                  </a:cubicBezTo>
                  <a:lnTo>
                    <a:pt x="320377" y="115705"/>
                  </a:lnTo>
                  <a:lnTo>
                    <a:pt x="320377" y="115231"/>
                  </a:lnTo>
                  <a:lnTo>
                    <a:pt x="319430" y="115231"/>
                  </a:lnTo>
                  <a:lnTo>
                    <a:pt x="319430" y="114758"/>
                  </a:lnTo>
                  <a:lnTo>
                    <a:pt x="318720" y="114758"/>
                  </a:lnTo>
                  <a:lnTo>
                    <a:pt x="318720" y="114285"/>
                  </a:lnTo>
                  <a:lnTo>
                    <a:pt x="318247" y="114285"/>
                  </a:lnTo>
                  <a:lnTo>
                    <a:pt x="318247" y="113812"/>
                  </a:lnTo>
                  <a:lnTo>
                    <a:pt x="317774" y="113812"/>
                  </a:lnTo>
                  <a:lnTo>
                    <a:pt x="317774" y="113339"/>
                  </a:lnTo>
                  <a:lnTo>
                    <a:pt x="317301" y="113339"/>
                  </a:lnTo>
                  <a:lnTo>
                    <a:pt x="317301" y="112865"/>
                  </a:lnTo>
                  <a:lnTo>
                    <a:pt x="316827" y="112865"/>
                  </a:lnTo>
                  <a:lnTo>
                    <a:pt x="316827" y="112392"/>
                  </a:lnTo>
                  <a:lnTo>
                    <a:pt x="316354" y="112392"/>
                  </a:lnTo>
                  <a:lnTo>
                    <a:pt x="316354" y="111919"/>
                  </a:lnTo>
                  <a:lnTo>
                    <a:pt x="316118" y="111919"/>
                  </a:lnTo>
                  <a:lnTo>
                    <a:pt x="316118" y="111446"/>
                  </a:lnTo>
                  <a:lnTo>
                    <a:pt x="316118" y="111446"/>
                  </a:lnTo>
                  <a:lnTo>
                    <a:pt x="316118" y="110972"/>
                  </a:lnTo>
                  <a:lnTo>
                    <a:pt x="315881" y="110972"/>
                  </a:lnTo>
                  <a:lnTo>
                    <a:pt x="315881" y="110499"/>
                  </a:lnTo>
                  <a:lnTo>
                    <a:pt x="315644" y="110499"/>
                  </a:lnTo>
                  <a:lnTo>
                    <a:pt x="315644" y="110026"/>
                  </a:lnTo>
                  <a:lnTo>
                    <a:pt x="315644" y="110026"/>
                  </a:lnTo>
                  <a:lnTo>
                    <a:pt x="315644" y="109553"/>
                  </a:lnTo>
                  <a:lnTo>
                    <a:pt x="315644" y="109553"/>
                  </a:lnTo>
                  <a:lnTo>
                    <a:pt x="315644" y="109079"/>
                  </a:lnTo>
                  <a:lnTo>
                    <a:pt x="315644" y="109079"/>
                  </a:lnTo>
                  <a:lnTo>
                    <a:pt x="315644" y="108606"/>
                  </a:lnTo>
                  <a:lnTo>
                    <a:pt x="315644" y="108606"/>
                  </a:lnTo>
                  <a:lnTo>
                    <a:pt x="315644" y="108133"/>
                  </a:lnTo>
                  <a:lnTo>
                    <a:pt x="315644" y="108133"/>
                  </a:lnTo>
                  <a:lnTo>
                    <a:pt x="315644" y="107423"/>
                  </a:lnTo>
                  <a:lnTo>
                    <a:pt x="315644" y="107423"/>
                  </a:lnTo>
                  <a:lnTo>
                    <a:pt x="315644" y="106950"/>
                  </a:lnTo>
                  <a:lnTo>
                    <a:pt x="315644" y="106950"/>
                  </a:lnTo>
                  <a:lnTo>
                    <a:pt x="315644" y="106477"/>
                  </a:lnTo>
                  <a:lnTo>
                    <a:pt x="315644" y="106477"/>
                  </a:lnTo>
                  <a:lnTo>
                    <a:pt x="315644" y="106003"/>
                  </a:lnTo>
                  <a:lnTo>
                    <a:pt x="315644" y="106003"/>
                  </a:lnTo>
                  <a:lnTo>
                    <a:pt x="315644" y="105530"/>
                  </a:lnTo>
                  <a:lnTo>
                    <a:pt x="315644" y="105530"/>
                  </a:lnTo>
                  <a:lnTo>
                    <a:pt x="315644" y="105057"/>
                  </a:lnTo>
                  <a:lnTo>
                    <a:pt x="315644" y="105057"/>
                  </a:lnTo>
                  <a:lnTo>
                    <a:pt x="315644" y="104584"/>
                  </a:lnTo>
                  <a:lnTo>
                    <a:pt x="315644" y="104584"/>
                  </a:lnTo>
                  <a:lnTo>
                    <a:pt x="315644" y="104111"/>
                  </a:lnTo>
                  <a:lnTo>
                    <a:pt x="315644" y="104111"/>
                  </a:lnTo>
                  <a:lnTo>
                    <a:pt x="315644" y="103637"/>
                  </a:lnTo>
                  <a:lnTo>
                    <a:pt x="315644" y="103637"/>
                  </a:lnTo>
                  <a:lnTo>
                    <a:pt x="315644" y="103164"/>
                  </a:lnTo>
                  <a:lnTo>
                    <a:pt x="315644" y="103164"/>
                  </a:lnTo>
                  <a:lnTo>
                    <a:pt x="315644" y="102691"/>
                  </a:lnTo>
                  <a:lnTo>
                    <a:pt x="315644" y="102691"/>
                  </a:lnTo>
                  <a:lnTo>
                    <a:pt x="315644" y="102218"/>
                  </a:lnTo>
                  <a:lnTo>
                    <a:pt x="315881" y="102218"/>
                  </a:lnTo>
                  <a:lnTo>
                    <a:pt x="315881" y="101744"/>
                  </a:lnTo>
                  <a:lnTo>
                    <a:pt x="315881" y="101744"/>
                  </a:lnTo>
                  <a:lnTo>
                    <a:pt x="315881" y="101271"/>
                  </a:lnTo>
                  <a:lnTo>
                    <a:pt x="316354" y="101271"/>
                  </a:lnTo>
                  <a:lnTo>
                    <a:pt x="316354" y="100798"/>
                  </a:lnTo>
                  <a:lnTo>
                    <a:pt x="316827" y="100798"/>
                  </a:lnTo>
                  <a:lnTo>
                    <a:pt x="316827" y="100325"/>
                  </a:lnTo>
                  <a:lnTo>
                    <a:pt x="317301" y="100325"/>
                  </a:lnTo>
                  <a:lnTo>
                    <a:pt x="317301" y="99851"/>
                  </a:lnTo>
                  <a:lnTo>
                    <a:pt x="317774" y="99851"/>
                  </a:lnTo>
                  <a:lnTo>
                    <a:pt x="317774" y="99378"/>
                  </a:lnTo>
                  <a:lnTo>
                    <a:pt x="318247" y="99378"/>
                  </a:lnTo>
                  <a:lnTo>
                    <a:pt x="318247" y="98905"/>
                  </a:lnTo>
                  <a:lnTo>
                    <a:pt x="318484" y="98905"/>
                  </a:lnTo>
                  <a:lnTo>
                    <a:pt x="318484" y="98432"/>
                  </a:lnTo>
                  <a:lnTo>
                    <a:pt x="319430" y="98432"/>
                  </a:lnTo>
                  <a:lnTo>
                    <a:pt x="319430" y="97959"/>
                  </a:lnTo>
                  <a:lnTo>
                    <a:pt x="320377" y="97959"/>
                  </a:lnTo>
                  <a:lnTo>
                    <a:pt x="320377" y="97485"/>
                  </a:lnTo>
                  <a:lnTo>
                    <a:pt x="322033" y="97485"/>
                  </a:lnTo>
                  <a:cubicBezTo>
                    <a:pt x="333390" y="95592"/>
                    <a:pt x="343565" y="90387"/>
                    <a:pt x="351137" y="82815"/>
                  </a:cubicBezTo>
                  <a:lnTo>
                    <a:pt x="351137" y="82815"/>
                  </a:lnTo>
                  <a:cubicBezTo>
                    <a:pt x="358708" y="75244"/>
                    <a:pt x="364150" y="65069"/>
                    <a:pt x="365570" y="53712"/>
                  </a:cubicBezTo>
                  <a:lnTo>
                    <a:pt x="365570" y="53712"/>
                  </a:lnTo>
                  <a:lnTo>
                    <a:pt x="365570" y="53238"/>
                  </a:lnTo>
                  <a:lnTo>
                    <a:pt x="365570" y="53238"/>
                  </a:lnTo>
                  <a:lnTo>
                    <a:pt x="365570" y="52765"/>
                  </a:lnTo>
                  <a:lnTo>
                    <a:pt x="365570" y="52765"/>
                  </a:lnTo>
                  <a:lnTo>
                    <a:pt x="365570" y="52292"/>
                  </a:lnTo>
                  <a:lnTo>
                    <a:pt x="365570" y="52292"/>
                  </a:lnTo>
                  <a:lnTo>
                    <a:pt x="365570" y="51819"/>
                  </a:lnTo>
                  <a:lnTo>
                    <a:pt x="365570" y="51819"/>
                  </a:lnTo>
                  <a:lnTo>
                    <a:pt x="365570" y="51345"/>
                  </a:lnTo>
                  <a:lnTo>
                    <a:pt x="365570" y="51345"/>
                  </a:lnTo>
                  <a:lnTo>
                    <a:pt x="365570" y="50872"/>
                  </a:lnTo>
                  <a:lnTo>
                    <a:pt x="365807" y="50872"/>
                  </a:lnTo>
                  <a:lnTo>
                    <a:pt x="365807" y="50399"/>
                  </a:lnTo>
                  <a:lnTo>
                    <a:pt x="365807" y="50399"/>
                  </a:lnTo>
                  <a:lnTo>
                    <a:pt x="365807" y="49926"/>
                  </a:lnTo>
                  <a:lnTo>
                    <a:pt x="366280" y="49926"/>
                  </a:lnTo>
                  <a:lnTo>
                    <a:pt x="366280" y="49453"/>
                  </a:lnTo>
                  <a:lnTo>
                    <a:pt x="366753" y="49453"/>
                  </a:lnTo>
                  <a:lnTo>
                    <a:pt x="366753" y="48979"/>
                  </a:lnTo>
                  <a:lnTo>
                    <a:pt x="367226" y="48979"/>
                  </a:lnTo>
                  <a:lnTo>
                    <a:pt x="367226" y="48506"/>
                  </a:lnTo>
                  <a:lnTo>
                    <a:pt x="367700" y="48506"/>
                  </a:lnTo>
                  <a:lnTo>
                    <a:pt x="367700" y="48033"/>
                  </a:lnTo>
                  <a:lnTo>
                    <a:pt x="368409" y="48033"/>
                  </a:lnTo>
                  <a:lnTo>
                    <a:pt x="368409" y="47560"/>
                  </a:lnTo>
                  <a:lnTo>
                    <a:pt x="368646" y="47560"/>
                  </a:lnTo>
                  <a:lnTo>
                    <a:pt x="368646" y="47086"/>
                  </a:lnTo>
                  <a:lnTo>
                    <a:pt x="369593" y="47086"/>
                  </a:lnTo>
                  <a:lnTo>
                    <a:pt x="369593" y="46613"/>
                  </a:lnTo>
                  <a:lnTo>
                    <a:pt x="370539" y="46613"/>
                  </a:lnTo>
                  <a:lnTo>
                    <a:pt x="370539" y="46140"/>
                  </a:lnTo>
                  <a:lnTo>
                    <a:pt x="372195" y="46140"/>
                  </a:lnTo>
                  <a:lnTo>
                    <a:pt x="372195" y="45667"/>
                  </a:lnTo>
                  <a:lnTo>
                    <a:pt x="375744" y="45667"/>
                  </a:lnTo>
                  <a:lnTo>
                    <a:pt x="375744" y="46140"/>
                  </a:lnTo>
                  <a:lnTo>
                    <a:pt x="376691" y="46140"/>
                  </a:lnTo>
                  <a:lnTo>
                    <a:pt x="376691" y="46613"/>
                  </a:lnTo>
                  <a:lnTo>
                    <a:pt x="377401" y="46613"/>
                  </a:lnTo>
                  <a:lnTo>
                    <a:pt x="377401" y="47086"/>
                  </a:lnTo>
                  <a:lnTo>
                    <a:pt x="377874" y="47086"/>
                  </a:lnTo>
                  <a:lnTo>
                    <a:pt x="377874" y="47560"/>
                  </a:lnTo>
                  <a:lnTo>
                    <a:pt x="378347" y="47560"/>
                  </a:lnTo>
                  <a:lnTo>
                    <a:pt x="378347" y="48033"/>
                  </a:lnTo>
                  <a:lnTo>
                    <a:pt x="378820" y="48033"/>
                  </a:lnTo>
                  <a:lnTo>
                    <a:pt x="378820" y="48506"/>
                  </a:lnTo>
                  <a:lnTo>
                    <a:pt x="379294" y="48506"/>
                  </a:lnTo>
                  <a:lnTo>
                    <a:pt x="379294" y="48979"/>
                  </a:lnTo>
                  <a:lnTo>
                    <a:pt x="379767" y="48979"/>
                  </a:lnTo>
                  <a:lnTo>
                    <a:pt x="379767" y="49453"/>
                  </a:lnTo>
                  <a:lnTo>
                    <a:pt x="380003" y="49453"/>
                  </a:lnTo>
                  <a:lnTo>
                    <a:pt x="380003" y="49926"/>
                  </a:lnTo>
                  <a:lnTo>
                    <a:pt x="380240" y="49926"/>
                  </a:lnTo>
                  <a:lnTo>
                    <a:pt x="380240" y="50399"/>
                  </a:lnTo>
                  <a:lnTo>
                    <a:pt x="380240" y="50399"/>
                  </a:lnTo>
                  <a:lnTo>
                    <a:pt x="380240" y="50872"/>
                  </a:lnTo>
                  <a:lnTo>
                    <a:pt x="380240" y="50872"/>
                  </a:lnTo>
                  <a:lnTo>
                    <a:pt x="380240" y="51345"/>
                  </a:lnTo>
                  <a:lnTo>
                    <a:pt x="380240" y="51345"/>
                  </a:lnTo>
                  <a:lnTo>
                    <a:pt x="380240" y="51819"/>
                  </a:lnTo>
                  <a:lnTo>
                    <a:pt x="380240" y="51819"/>
                  </a:lnTo>
                  <a:lnTo>
                    <a:pt x="380240" y="52292"/>
                  </a:lnTo>
                  <a:lnTo>
                    <a:pt x="380240" y="52292"/>
                  </a:lnTo>
                  <a:lnTo>
                    <a:pt x="380240" y="52765"/>
                  </a:lnTo>
                  <a:lnTo>
                    <a:pt x="380240" y="52765"/>
                  </a:lnTo>
                  <a:lnTo>
                    <a:pt x="380240" y="53238"/>
                  </a:lnTo>
                  <a:lnTo>
                    <a:pt x="380240" y="53238"/>
                  </a:lnTo>
                  <a:lnTo>
                    <a:pt x="380240" y="53948"/>
                  </a:lnTo>
                  <a:lnTo>
                    <a:pt x="380240" y="53948"/>
                  </a:lnTo>
                  <a:close/>
                  <a:moveTo>
                    <a:pt x="81159" y="59864"/>
                  </a:moveTo>
                  <a:cubicBezTo>
                    <a:pt x="75717" y="56788"/>
                    <a:pt x="70984" y="53238"/>
                    <a:pt x="66725" y="48743"/>
                  </a:cubicBezTo>
                  <a:lnTo>
                    <a:pt x="66725" y="48743"/>
                  </a:lnTo>
                  <a:cubicBezTo>
                    <a:pt x="62466" y="44484"/>
                    <a:pt x="58681" y="39515"/>
                    <a:pt x="55841" y="34073"/>
                  </a:cubicBezTo>
                  <a:cubicBezTo>
                    <a:pt x="52765" y="39515"/>
                    <a:pt x="48979" y="44247"/>
                    <a:pt x="44720" y="48743"/>
                  </a:cubicBezTo>
                  <a:cubicBezTo>
                    <a:pt x="40461" y="53002"/>
                    <a:pt x="35492" y="56788"/>
                    <a:pt x="30050" y="59864"/>
                  </a:cubicBezTo>
                  <a:cubicBezTo>
                    <a:pt x="35256" y="62703"/>
                    <a:pt x="39988" y="66252"/>
                    <a:pt x="44010" y="70511"/>
                  </a:cubicBezTo>
                  <a:lnTo>
                    <a:pt x="44484" y="70984"/>
                  </a:lnTo>
                  <a:cubicBezTo>
                    <a:pt x="48743" y="75244"/>
                    <a:pt x="52529" y="80212"/>
                    <a:pt x="55604" y="85655"/>
                  </a:cubicBezTo>
                  <a:cubicBezTo>
                    <a:pt x="58681" y="80212"/>
                    <a:pt x="62230" y="75480"/>
                    <a:pt x="66725" y="70984"/>
                  </a:cubicBezTo>
                  <a:cubicBezTo>
                    <a:pt x="70984" y="66725"/>
                    <a:pt x="75953" y="62940"/>
                    <a:pt x="81159" y="59864"/>
                  </a:cubicBezTo>
                  <a:close/>
                  <a:moveTo>
                    <a:pt x="63649" y="8282"/>
                  </a:moveTo>
                  <a:cubicBezTo>
                    <a:pt x="65069" y="19639"/>
                    <a:pt x="70275" y="29813"/>
                    <a:pt x="78083" y="37385"/>
                  </a:cubicBezTo>
                  <a:lnTo>
                    <a:pt x="78083" y="37385"/>
                  </a:lnTo>
                  <a:cubicBezTo>
                    <a:pt x="85655" y="44957"/>
                    <a:pt x="95829" y="50399"/>
                    <a:pt x="107187" y="51819"/>
                  </a:cubicBezTo>
                  <a:lnTo>
                    <a:pt x="108606" y="51819"/>
                  </a:lnTo>
                  <a:lnTo>
                    <a:pt x="108606" y="52292"/>
                  </a:lnTo>
                  <a:lnTo>
                    <a:pt x="109316" y="52292"/>
                  </a:lnTo>
                  <a:lnTo>
                    <a:pt x="109316" y="52765"/>
                  </a:lnTo>
                  <a:lnTo>
                    <a:pt x="110263" y="52765"/>
                  </a:lnTo>
                  <a:lnTo>
                    <a:pt x="110263" y="53238"/>
                  </a:lnTo>
                  <a:lnTo>
                    <a:pt x="110972" y="53238"/>
                  </a:lnTo>
                  <a:lnTo>
                    <a:pt x="110972" y="53712"/>
                  </a:lnTo>
                  <a:lnTo>
                    <a:pt x="111446" y="53712"/>
                  </a:lnTo>
                  <a:lnTo>
                    <a:pt x="111446" y="54185"/>
                  </a:lnTo>
                  <a:lnTo>
                    <a:pt x="111919" y="54185"/>
                  </a:lnTo>
                  <a:lnTo>
                    <a:pt x="111919" y="54658"/>
                  </a:lnTo>
                  <a:lnTo>
                    <a:pt x="112392" y="54658"/>
                  </a:lnTo>
                  <a:lnTo>
                    <a:pt x="112392" y="55131"/>
                  </a:lnTo>
                  <a:lnTo>
                    <a:pt x="112865" y="55131"/>
                  </a:lnTo>
                  <a:lnTo>
                    <a:pt x="112865" y="55605"/>
                  </a:lnTo>
                  <a:lnTo>
                    <a:pt x="112865" y="55605"/>
                  </a:lnTo>
                  <a:lnTo>
                    <a:pt x="112865" y="56078"/>
                  </a:lnTo>
                  <a:lnTo>
                    <a:pt x="113339" y="56078"/>
                  </a:lnTo>
                  <a:lnTo>
                    <a:pt x="113339" y="56551"/>
                  </a:lnTo>
                  <a:lnTo>
                    <a:pt x="113339" y="56551"/>
                  </a:lnTo>
                  <a:lnTo>
                    <a:pt x="113339" y="57024"/>
                  </a:lnTo>
                  <a:lnTo>
                    <a:pt x="113339" y="57024"/>
                  </a:lnTo>
                  <a:lnTo>
                    <a:pt x="113339" y="57497"/>
                  </a:lnTo>
                  <a:lnTo>
                    <a:pt x="113339" y="57497"/>
                  </a:lnTo>
                  <a:lnTo>
                    <a:pt x="113339" y="57971"/>
                  </a:lnTo>
                  <a:lnTo>
                    <a:pt x="113339" y="57971"/>
                  </a:lnTo>
                  <a:lnTo>
                    <a:pt x="113339" y="58444"/>
                  </a:lnTo>
                  <a:lnTo>
                    <a:pt x="113339" y="58444"/>
                  </a:lnTo>
                  <a:lnTo>
                    <a:pt x="113339" y="58917"/>
                  </a:lnTo>
                  <a:lnTo>
                    <a:pt x="113339" y="58917"/>
                  </a:lnTo>
                  <a:lnTo>
                    <a:pt x="113339" y="59627"/>
                  </a:lnTo>
                  <a:lnTo>
                    <a:pt x="113339" y="59627"/>
                  </a:lnTo>
                  <a:lnTo>
                    <a:pt x="113339" y="60100"/>
                  </a:lnTo>
                  <a:lnTo>
                    <a:pt x="113339" y="60100"/>
                  </a:lnTo>
                  <a:lnTo>
                    <a:pt x="113339" y="60573"/>
                  </a:lnTo>
                  <a:lnTo>
                    <a:pt x="113339" y="60573"/>
                  </a:lnTo>
                  <a:lnTo>
                    <a:pt x="113339" y="61047"/>
                  </a:lnTo>
                  <a:lnTo>
                    <a:pt x="113339" y="61047"/>
                  </a:lnTo>
                  <a:lnTo>
                    <a:pt x="113339" y="61520"/>
                  </a:lnTo>
                  <a:lnTo>
                    <a:pt x="113339" y="61520"/>
                  </a:lnTo>
                  <a:lnTo>
                    <a:pt x="113339" y="61993"/>
                  </a:lnTo>
                  <a:lnTo>
                    <a:pt x="113339" y="61993"/>
                  </a:lnTo>
                  <a:lnTo>
                    <a:pt x="113339" y="62466"/>
                  </a:lnTo>
                  <a:lnTo>
                    <a:pt x="113339" y="62466"/>
                  </a:lnTo>
                  <a:lnTo>
                    <a:pt x="113339" y="62940"/>
                  </a:lnTo>
                  <a:lnTo>
                    <a:pt x="113339" y="62940"/>
                  </a:lnTo>
                  <a:lnTo>
                    <a:pt x="113339" y="63413"/>
                  </a:lnTo>
                  <a:lnTo>
                    <a:pt x="113339" y="63413"/>
                  </a:lnTo>
                  <a:lnTo>
                    <a:pt x="113339" y="63886"/>
                  </a:lnTo>
                  <a:lnTo>
                    <a:pt x="113339" y="63886"/>
                  </a:lnTo>
                  <a:lnTo>
                    <a:pt x="113339" y="64359"/>
                  </a:lnTo>
                  <a:lnTo>
                    <a:pt x="113339" y="64359"/>
                  </a:lnTo>
                  <a:lnTo>
                    <a:pt x="113339" y="64832"/>
                  </a:lnTo>
                  <a:lnTo>
                    <a:pt x="113339" y="64832"/>
                  </a:lnTo>
                  <a:lnTo>
                    <a:pt x="113339" y="65306"/>
                  </a:lnTo>
                  <a:lnTo>
                    <a:pt x="113339" y="65306"/>
                  </a:lnTo>
                  <a:lnTo>
                    <a:pt x="113339" y="65779"/>
                  </a:lnTo>
                  <a:lnTo>
                    <a:pt x="113339" y="65779"/>
                  </a:lnTo>
                  <a:lnTo>
                    <a:pt x="113339" y="66252"/>
                  </a:lnTo>
                  <a:lnTo>
                    <a:pt x="113102" y="66252"/>
                  </a:lnTo>
                  <a:lnTo>
                    <a:pt x="113102" y="66725"/>
                  </a:lnTo>
                  <a:lnTo>
                    <a:pt x="112629" y="66725"/>
                  </a:lnTo>
                  <a:lnTo>
                    <a:pt x="112629" y="67199"/>
                  </a:lnTo>
                  <a:lnTo>
                    <a:pt x="112155" y="67199"/>
                  </a:lnTo>
                  <a:lnTo>
                    <a:pt x="112155" y="67672"/>
                  </a:lnTo>
                  <a:lnTo>
                    <a:pt x="111682" y="67672"/>
                  </a:lnTo>
                  <a:lnTo>
                    <a:pt x="111682" y="68145"/>
                  </a:lnTo>
                  <a:lnTo>
                    <a:pt x="111209" y="68145"/>
                  </a:lnTo>
                  <a:lnTo>
                    <a:pt x="111209" y="68618"/>
                  </a:lnTo>
                  <a:lnTo>
                    <a:pt x="110499" y="68618"/>
                  </a:lnTo>
                  <a:lnTo>
                    <a:pt x="110499" y="69092"/>
                  </a:lnTo>
                  <a:lnTo>
                    <a:pt x="109553" y="69092"/>
                  </a:lnTo>
                  <a:lnTo>
                    <a:pt x="109553" y="69565"/>
                  </a:lnTo>
                  <a:lnTo>
                    <a:pt x="108606" y="69565"/>
                  </a:lnTo>
                  <a:lnTo>
                    <a:pt x="108606" y="70038"/>
                  </a:lnTo>
                  <a:lnTo>
                    <a:pt x="107187" y="70038"/>
                  </a:lnTo>
                  <a:cubicBezTo>
                    <a:pt x="95829" y="71694"/>
                    <a:pt x="85655" y="77136"/>
                    <a:pt x="78083" y="84708"/>
                  </a:cubicBezTo>
                  <a:cubicBezTo>
                    <a:pt x="70275" y="92516"/>
                    <a:pt x="65069" y="102454"/>
                    <a:pt x="63649" y="113812"/>
                  </a:cubicBezTo>
                  <a:lnTo>
                    <a:pt x="63649" y="113812"/>
                  </a:lnTo>
                  <a:lnTo>
                    <a:pt x="63649" y="114285"/>
                  </a:lnTo>
                  <a:lnTo>
                    <a:pt x="63649" y="114285"/>
                  </a:lnTo>
                  <a:lnTo>
                    <a:pt x="63649" y="114758"/>
                  </a:lnTo>
                  <a:lnTo>
                    <a:pt x="63649" y="114758"/>
                  </a:lnTo>
                  <a:lnTo>
                    <a:pt x="63649" y="115231"/>
                  </a:lnTo>
                  <a:lnTo>
                    <a:pt x="63649" y="115231"/>
                  </a:lnTo>
                  <a:lnTo>
                    <a:pt x="63649" y="115705"/>
                  </a:lnTo>
                  <a:lnTo>
                    <a:pt x="63649" y="115705"/>
                  </a:lnTo>
                  <a:lnTo>
                    <a:pt x="63649" y="116178"/>
                  </a:lnTo>
                  <a:lnTo>
                    <a:pt x="63649" y="116178"/>
                  </a:lnTo>
                  <a:lnTo>
                    <a:pt x="63649" y="116651"/>
                  </a:lnTo>
                  <a:lnTo>
                    <a:pt x="63649" y="116651"/>
                  </a:lnTo>
                  <a:lnTo>
                    <a:pt x="63649" y="117124"/>
                  </a:lnTo>
                  <a:lnTo>
                    <a:pt x="63649" y="117124"/>
                  </a:lnTo>
                  <a:lnTo>
                    <a:pt x="63649" y="117598"/>
                  </a:lnTo>
                  <a:lnTo>
                    <a:pt x="63413" y="117598"/>
                  </a:lnTo>
                  <a:lnTo>
                    <a:pt x="63413" y="118071"/>
                  </a:lnTo>
                  <a:lnTo>
                    <a:pt x="63176" y="118071"/>
                  </a:lnTo>
                  <a:lnTo>
                    <a:pt x="63176" y="118544"/>
                  </a:lnTo>
                  <a:lnTo>
                    <a:pt x="62940" y="118544"/>
                  </a:lnTo>
                  <a:lnTo>
                    <a:pt x="62940" y="119017"/>
                  </a:lnTo>
                  <a:lnTo>
                    <a:pt x="62466" y="119017"/>
                  </a:lnTo>
                  <a:lnTo>
                    <a:pt x="62466" y="119491"/>
                  </a:lnTo>
                  <a:lnTo>
                    <a:pt x="61993" y="119491"/>
                  </a:lnTo>
                  <a:lnTo>
                    <a:pt x="61993" y="119964"/>
                  </a:lnTo>
                  <a:lnTo>
                    <a:pt x="61520" y="119964"/>
                  </a:lnTo>
                  <a:lnTo>
                    <a:pt x="61520" y="120437"/>
                  </a:lnTo>
                  <a:lnTo>
                    <a:pt x="60810" y="120437"/>
                  </a:lnTo>
                  <a:lnTo>
                    <a:pt x="60810" y="120910"/>
                  </a:lnTo>
                  <a:lnTo>
                    <a:pt x="59864" y="120910"/>
                  </a:lnTo>
                  <a:lnTo>
                    <a:pt x="59864" y="121383"/>
                  </a:lnTo>
                  <a:lnTo>
                    <a:pt x="58917" y="121383"/>
                  </a:lnTo>
                  <a:lnTo>
                    <a:pt x="58917" y="121857"/>
                  </a:lnTo>
                  <a:lnTo>
                    <a:pt x="53475" y="121857"/>
                  </a:lnTo>
                  <a:lnTo>
                    <a:pt x="53475" y="121383"/>
                  </a:lnTo>
                  <a:lnTo>
                    <a:pt x="52765" y="121383"/>
                  </a:lnTo>
                  <a:lnTo>
                    <a:pt x="52765" y="120910"/>
                  </a:lnTo>
                  <a:lnTo>
                    <a:pt x="52055" y="120910"/>
                  </a:lnTo>
                  <a:lnTo>
                    <a:pt x="52055" y="120437"/>
                  </a:lnTo>
                  <a:lnTo>
                    <a:pt x="51345" y="120437"/>
                  </a:lnTo>
                  <a:lnTo>
                    <a:pt x="51345" y="119964"/>
                  </a:lnTo>
                  <a:lnTo>
                    <a:pt x="50872" y="119964"/>
                  </a:lnTo>
                  <a:lnTo>
                    <a:pt x="50872" y="119491"/>
                  </a:lnTo>
                  <a:lnTo>
                    <a:pt x="50636" y="119491"/>
                  </a:lnTo>
                  <a:lnTo>
                    <a:pt x="50636" y="119017"/>
                  </a:lnTo>
                  <a:lnTo>
                    <a:pt x="50162" y="119017"/>
                  </a:lnTo>
                  <a:lnTo>
                    <a:pt x="50162" y="118544"/>
                  </a:lnTo>
                  <a:lnTo>
                    <a:pt x="49926" y="118544"/>
                  </a:lnTo>
                  <a:lnTo>
                    <a:pt x="49926" y="118071"/>
                  </a:lnTo>
                  <a:lnTo>
                    <a:pt x="49926" y="118071"/>
                  </a:lnTo>
                  <a:lnTo>
                    <a:pt x="49926" y="117361"/>
                  </a:lnTo>
                  <a:lnTo>
                    <a:pt x="49453" y="117361"/>
                  </a:lnTo>
                  <a:lnTo>
                    <a:pt x="49453" y="116888"/>
                  </a:lnTo>
                  <a:lnTo>
                    <a:pt x="49453" y="116888"/>
                  </a:lnTo>
                  <a:lnTo>
                    <a:pt x="49453" y="116415"/>
                  </a:lnTo>
                  <a:lnTo>
                    <a:pt x="49453" y="116415"/>
                  </a:lnTo>
                  <a:lnTo>
                    <a:pt x="49453" y="115941"/>
                  </a:lnTo>
                  <a:lnTo>
                    <a:pt x="49453" y="115941"/>
                  </a:lnTo>
                  <a:lnTo>
                    <a:pt x="49453" y="115468"/>
                  </a:lnTo>
                  <a:lnTo>
                    <a:pt x="49453" y="115468"/>
                  </a:lnTo>
                  <a:lnTo>
                    <a:pt x="49453" y="114995"/>
                  </a:lnTo>
                  <a:lnTo>
                    <a:pt x="49453" y="114995"/>
                  </a:lnTo>
                  <a:lnTo>
                    <a:pt x="49453" y="114522"/>
                  </a:lnTo>
                  <a:lnTo>
                    <a:pt x="49453" y="114522"/>
                  </a:lnTo>
                  <a:lnTo>
                    <a:pt x="49453" y="113575"/>
                  </a:lnTo>
                  <a:lnTo>
                    <a:pt x="49453" y="113575"/>
                  </a:lnTo>
                  <a:cubicBezTo>
                    <a:pt x="48033" y="102218"/>
                    <a:pt x="42591" y="92043"/>
                    <a:pt x="35019" y="84472"/>
                  </a:cubicBezTo>
                  <a:lnTo>
                    <a:pt x="35019" y="83998"/>
                  </a:lnTo>
                  <a:cubicBezTo>
                    <a:pt x="26974" y="76663"/>
                    <a:pt x="17036" y="71458"/>
                    <a:pt x="6152" y="70038"/>
                  </a:cubicBezTo>
                  <a:lnTo>
                    <a:pt x="4496" y="70038"/>
                  </a:lnTo>
                  <a:lnTo>
                    <a:pt x="4496" y="69565"/>
                  </a:lnTo>
                  <a:lnTo>
                    <a:pt x="3549" y="69565"/>
                  </a:lnTo>
                  <a:lnTo>
                    <a:pt x="3549" y="69092"/>
                  </a:lnTo>
                  <a:lnTo>
                    <a:pt x="2839" y="69092"/>
                  </a:lnTo>
                  <a:lnTo>
                    <a:pt x="2839" y="68618"/>
                  </a:lnTo>
                  <a:lnTo>
                    <a:pt x="2130" y="68618"/>
                  </a:lnTo>
                  <a:lnTo>
                    <a:pt x="2130" y="68145"/>
                  </a:lnTo>
                  <a:lnTo>
                    <a:pt x="1656" y="68145"/>
                  </a:lnTo>
                  <a:lnTo>
                    <a:pt x="1656" y="67672"/>
                  </a:lnTo>
                  <a:lnTo>
                    <a:pt x="1183" y="67672"/>
                  </a:lnTo>
                  <a:lnTo>
                    <a:pt x="1183" y="67199"/>
                  </a:lnTo>
                  <a:lnTo>
                    <a:pt x="710" y="67199"/>
                  </a:lnTo>
                  <a:lnTo>
                    <a:pt x="710" y="66725"/>
                  </a:lnTo>
                  <a:lnTo>
                    <a:pt x="473" y="66725"/>
                  </a:lnTo>
                  <a:lnTo>
                    <a:pt x="473" y="66252"/>
                  </a:lnTo>
                  <a:lnTo>
                    <a:pt x="473" y="66252"/>
                  </a:lnTo>
                  <a:lnTo>
                    <a:pt x="473" y="65779"/>
                  </a:lnTo>
                  <a:lnTo>
                    <a:pt x="0" y="65779"/>
                  </a:lnTo>
                  <a:lnTo>
                    <a:pt x="0" y="65306"/>
                  </a:lnTo>
                  <a:lnTo>
                    <a:pt x="0" y="65306"/>
                  </a:lnTo>
                  <a:lnTo>
                    <a:pt x="0" y="64832"/>
                  </a:lnTo>
                  <a:lnTo>
                    <a:pt x="0" y="64832"/>
                  </a:lnTo>
                  <a:lnTo>
                    <a:pt x="0" y="64359"/>
                  </a:lnTo>
                  <a:lnTo>
                    <a:pt x="0" y="64359"/>
                  </a:lnTo>
                  <a:lnTo>
                    <a:pt x="0" y="63886"/>
                  </a:lnTo>
                  <a:lnTo>
                    <a:pt x="0" y="63886"/>
                  </a:lnTo>
                  <a:lnTo>
                    <a:pt x="0" y="63413"/>
                  </a:lnTo>
                  <a:lnTo>
                    <a:pt x="0" y="63413"/>
                  </a:lnTo>
                  <a:lnTo>
                    <a:pt x="0" y="62940"/>
                  </a:lnTo>
                  <a:lnTo>
                    <a:pt x="0" y="62940"/>
                  </a:lnTo>
                  <a:lnTo>
                    <a:pt x="0" y="62230"/>
                  </a:lnTo>
                  <a:lnTo>
                    <a:pt x="0" y="62230"/>
                  </a:lnTo>
                  <a:lnTo>
                    <a:pt x="0" y="61756"/>
                  </a:lnTo>
                  <a:lnTo>
                    <a:pt x="0" y="61756"/>
                  </a:lnTo>
                  <a:lnTo>
                    <a:pt x="0" y="61283"/>
                  </a:lnTo>
                  <a:lnTo>
                    <a:pt x="0" y="61283"/>
                  </a:lnTo>
                  <a:lnTo>
                    <a:pt x="0" y="60810"/>
                  </a:lnTo>
                  <a:lnTo>
                    <a:pt x="0" y="60810"/>
                  </a:lnTo>
                  <a:lnTo>
                    <a:pt x="0" y="60337"/>
                  </a:lnTo>
                  <a:lnTo>
                    <a:pt x="0" y="60337"/>
                  </a:lnTo>
                  <a:lnTo>
                    <a:pt x="0" y="59864"/>
                  </a:lnTo>
                  <a:lnTo>
                    <a:pt x="0" y="59864"/>
                  </a:lnTo>
                  <a:lnTo>
                    <a:pt x="0" y="59390"/>
                  </a:lnTo>
                  <a:lnTo>
                    <a:pt x="0" y="59390"/>
                  </a:lnTo>
                  <a:lnTo>
                    <a:pt x="0" y="58917"/>
                  </a:lnTo>
                  <a:lnTo>
                    <a:pt x="0" y="58917"/>
                  </a:lnTo>
                  <a:lnTo>
                    <a:pt x="0" y="58444"/>
                  </a:lnTo>
                  <a:lnTo>
                    <a:pt x="0" y="58444"/>
                  </a:lnTo>
                  <a:lnTo>
                    <a:pt x="0" y="57971"/>
                  </a:lnTo>
                  <a:lnTo>
                    <a:pt x="0" y="57971"/>
                  </a:lnTo>
                  <a:lnTo>
                    <a:pt x="0" y="57497"/>
                  </a:lnTo>
                  <a:lnTo>
                    <a:pt x="0" y="57497"/>
                  </a:lnTo>
                  <a:lnTo>
                    <a:pt x="0" y="57024"/>
                  </a:lnTo>
                  <a:lnTo>
                    <a:pt x="0" y="57024"/>
                  </a:lnTo>
                  <a:lnTo>
                    <a:pt x="0" y="56551"/>
                  </a:lnTo>
                  <a:lnTo>
                    <a:pt x="0" y="56551"/>
                  </a:lnTo>
                  <a:lnTo>
                    <a:pt x="0" y="55841"/>
                  </a:lnTo>
                  <a:lnTo>
                    <a:pt x="473" y="55841"/>
                  </a:lnTo>
                  <a:lnTo>
                    <a:pt x="473" y="55368"/>
                  </a:lnTo>
                  <a:lnTo>
                    <a:pt x="946" y="55368"/>
                  </a:lnTo>
                  <a:lnTo>
                    <a:pt x="946" y="54895"/>
                  </a:lnTo>
                  <a:lnTo>
                    <a:pt x="1420" y="54895"/>
                  </a:lnTo>
                  <a:lnTo>
                    <a:pt x="1420" y="54421"/>
                  </a:lnTo>
                  <a:lnTo>
                    <a:pt x="1893" y="54421"/>
                  </a:lnTo>
                  <a:lnTo>
                    <a:pt x="1893" y="53948"/>
                  </a:lnTo>
                  <a:lnTo>
                    <a:pt x="2366" y="53948"/>
                  </a:lnTo>
                  <a:lnTo>
                    <a:pt x="2366" y="53475"/>
                  </a:lnTo>
                  <a:lnTo>
                    <a:pt x="2603" y="53475"/>
                  </a:lnTo>
                  <a:lnTo>
                    <a:pt x="2603" y="53002"/>
                  </a:lnTo>
                  <a:lnTo>
                    <a:pt x="3549" y="53002"/>
                  </a:lnTo>
                  <a:lnTo>
                    <a:pt x="3549" y="52528"/>
                  </a:lnTo>
                  <a:lnTo>
                    <a:pt x="4496" y="52528"/>
                  </a:lnTo>
                  <a:lnTo>
                    <a:pt x="4496" y="52055"/>
                  </a:lnTo>
                  <a:lnTo>
                    <a:pt x="5915" y="52055"/>
                  </a:lnTo>
                  <a:cubicBezTo>
                    <a:pt x="17273" y="50399"/>
                    <a:pt x="27211" y="44957"/>
                    <a:pt x="35019" y="37385"/>
                  </a:cubicBezTo>
                  <a:cubicBezTo>
                    <a:pt x="42827" y="29813"/>
                    <a:pt x="48033" y="19639"/>
                    <a:pt x="49453" y="8282"/>
                  </a:cubicBezTo>
                  <a:lnTo>
                    <a:pt x="49453" y="8282"/>
                  </a:lnTo>
                  <a:lnTo>
                    <a:pt x="49453" y="7808"/>
                  </a:lnTo>
                  <a:lnTo>
                    <a:pt x="49453" y="7808"/>
                  </a:lnTo>
                  <a:lnTo>
                    <a:pt x="49453" y="7335"/>
                  </a:lnTo>
                  <a:lnTo>
                    <a:pt x="49453" y="7335"/>
                  </a:lnTo>
                  <a:lnTo>
                    <a:pt x="49453" y="6862"/>
                  </a:lnTo>
                  <a:lnTo>
                    <a:pt x="49453" y="6862"/>
                  </a:lnTo>
                  <a:lnTo>
                    <a:pt x="49453" y="6389"/>
                  </a:lnTo>
                  <a:lnTo>
                    <a:pt x="49453" y="6389"/>
                  </a:lnTo>
                  <a:lnTo>
                    <a:pt x="49453" y="5915"/>
                  </a:lnTo>
                  <a:lnTo>
                    <a:pt x="49453" y="5915"/>
                  </a:lnTo>
                  <a:lnTo>
                    <a:pt x="49453" y="5442"/>
                  </a:lnTo>
                  <a:lnTo>
                    <a:pt x="49453" y="5442"/>
                  </a:lnTo>
                  <a:lnTo>
                    <a:pt x="49453" y="4969"/>
                  </a:lnTo>
                  <a:lnTo>
                    <a:pt x="49453" y="4969"/>
                  </a:lnTo>
                  <a:lnTo>
                    <a:pt x="49453" y="4259"/>
                  </a:lnTo>
                  <a:lnTo>
                    <a:pt x="49926" y="4259"/>
                  </a:lnTo>
                  <a:lnTo>
                    <a:pt x="49926" y="3786"/>
                  </a:lnTo>
                  <a:lnTo>
                    <a:pt x="50162" y="3786"/>
                  </a:lnTo>
                  <a:lnTo>
                    <a:pt x="50162" y="3313"/>
                  </a:lnTo>
                  <a:lnTo>
                    <a:pt x="50636" y="3313"/>
                  </a:lnTo>
                  <a:lnTo>
                    <a:pt x="50636" y="2839"/>
                  </a:lnTo>
                  <a:lnTo>
                    <a:pt x="51109" y="2839"/>
                  </a:lnTo>
                  <a:lnTo>
                    <a:pt x="51109" y="2366"/>
                  </a:lnTo>
                  <a:lnTo>
                    <a:pt x="51582" y="2366"/>
                  </a:lnTo>
                  <a:lnTo>
                    <a:pt x="51582" y="1893"/>
                  </a:lnTo>
                  <a:lnTo>
                    <a:pt x="51819" y="1893"/>
                  </a:lnTo>
                  <a:lnTo>
                    <a:pt x="51819" y="1420"/>
                  </a:lnTo>
                  <a:lnTo>
                    <a:pt x="52765" y="1420"/>
                  </a:lnTo>
                  <a:lnTo>
                    <a:pt x="52765" y="946"/>
                  </a:lnTo>
                  <a:lnTo>
                    <a:pt x="53711" y="946"/>
                  </a:lnTo>
                  <a:lnTo>
                    <a:pt x="53711" y="473"/>
                  </a:lnTo>
                  <a:lnTo>
                    <a:pt x="55604" y="473"/>
                  </a:lnTo>
                  <a:lnTo>
                    <a:pt x="55604" y="0"/>
                  </a:lnTo>
                  <a:lnTo>
                    <a:pt x="58917" y="0"/>
                  </a:lnTo>
                  <a:lnTo>
                    <a:pt x="58917" y="473"/>
                  </a:lnTo>
                  <a:lnTo>
                    <a:pt x="59864" y="473"/>
                  </a:lnTo>
                  <a:lnTo>
                    <a:pt x="59864" y="946"/>
                  </a:lnTo>
                  <a:lnTo>
                    <a:pt x="60573" y="946"/>
                  </a:lnTo>
                  <a:lnTo>
                    <a:pt x="60573" y="1420"/>
                  </a:lnTo>
                  <a:lnTo>
                    <a:pt x="61047" y="1420"/>
                  </a:lnTo>
                  <a:lnTo>
                    <a:pt x="61047" y="1893"/>
                  </a:lnTo>
                  <a:lnTo>
                    <a:pt x="61520" y="1893"/>
                  </a:lnTo>
                  <a:lnTo>
                    <a:pt x="61520" y="2366"/>
                  </a:lnTo>
                  <a:lnTo>
                    <a:pt x="61993" y="2366"/>
                  </a:lnTo>
                  <a:lnTo>
                    <a:pt x="61993" y="2839"/>
                  </a:lnTo>
                  <a:lnTo>
                    <a:pt x="62466" y="2839"/>
                  </a:lnTo>
                  <a:lnTo>
                    <a:pt x="62466" y="3313"/>
                  </a:lnTo>
                  <a:lnTo>
                    <a:pt x="62940" y="3313"/>
                  </a:lnTo>
                  <a:lnTo>
                    <a:pt x="62940" y="3786"/>
                  </a:lnTo>
                  <a:lnTo>
                    <a:pt x="63176" y="3786"/>
                  </a:lnTo>
                  <a:lnTo>
                    <a:pt x="63176" y="4259"/>
                  </a:lnTo>
                  <a:lnTo>
                    <a:pt x="63413" y="4259"/>
                  </a:lnTo>
                  <a:lnTo>
                    <a:pt x="63413" y="4732"/>
                  </a:lnTo>
                  <a:lnTo>
                    <a:pt x="63413" y="4732"/>
                  </a:lnTo>
                  <a:lnTo>
                    <a:pt x="63413" y="5206"/>
                  </a:lnTo>
                  <a:lnTo>
                    <a:pt x="63413" y="5206"/>
                  </a:lnTo>
                  <a:lnTo>
                    <a:pt x="63413" y="5679"/>
                  </a:lnTo>
                  <a:lnTo>
                    <a:pt x="63413" y="5679"/>
                  </a:lnTo>
                  <a:lnTo>
                    <a:pt x="63413" y="6152"/>
                  </a:lnTo>
                  <a:lnTo>
                    <a:pt x="63413" y="6152"/>
                  </a:lnTo>
                  <a:lnTo>
                    <a:pt x="63413" y="6625"/>
                  </a:lnTo>
                  <a:lnTo>
                    <a:pt x="63413" y="6625"/>
                  </a:lnTo>
                  <a:lnTo>
                    <a:pt x="63413" y="7098"/>
                  </a:lnTo>
                  <a:lnTo>
                    <a:pt x="63413" y="7098"/>
                  </a:lnTo>
                  <a:lnTo>
                    <a:pt x="63413" y="7572"/>
                  </a:lnTo>
                  <a:lnTo>
                    <a:pt x="63413" y="7572"/>
                  </a:lnTo>
                  <a:lnTo>
                    <a:pt x="63413" y="8282"/>
                  </a:lnTo>
                  <a:lnTo>
                    <a:pt x="63413" y="8282"/>
                  </a:lnTo>
                  <a:close/>
                  <a:moveTo>
                    <a:pt x="247026" y="352320"/>
                  </a:moveTo>
                  <a:lnTo>
                    <a:pt x="247026" y="352320"/>
                  </a:lnTo>
                  <a:lnTo>
                    <a:pt x="247026" y="352793"/>
                  </a:lnTo>
                  <a:lnTo>
                    <a:pt x="247026" y="352793"/>
                  </a:lnTo>
                  <a:lnTo>
                    <a:pt x="247026" y="353266"/>
                  </a:lnTo>
                  <a:lnTo>
                    <a:pt x="247026" y="353266"/>
                  </a:lnTo>
                  <a:lnTo>
                    <a:pt x="247026" y="353739"/>
                  </a:lnTo>
                  <a:lnTo>
                    <a:pt x="247026" y="353739"/>
                  </a:lnTo>
                  <a:lnTo>
                    <a:pt x="247026" y="354449"/>
                  </a:lnTo>
                  <a:lnTo>
                    <a:pt x="246789" y="354449"/>
                  </a:lnTo>
                  <a:lnTo>
                    <a:pt x="246789" y="354922"/>
                  </a:lnTo>
                  <a:lnTo>
                    <a:pt x="246789" y="354922"/>
                  </a:lnTo>
                  <a:lnTo>
                    <a:pt x="246789" y="355396"/>
                  </a:lnTo>
                  <a:lnTo>
                    <a:pt x="246789" y="355396"/>
                  </a:lnTo>
                  <a:lnTo>
                    <a:pt x="246789" y="355869"/>
                  </a:lnTo>
                  <a:lnTo>
                    <a:pt x="246553" y="355869"/>
                  </a:lnTo>
                  <a:lnTo>
                    <a:pt x="246553" y="356342"/>
                  </a:lnTo>
                  <a:lnTo>
                    <a:pt x="246316" y="356342"/>
                  </a:lnTo>
                  <a:lnTo>
                    <a:pt x="246316" y="356815"/>
                  </a:lnTo>
                  <a:lnTo>
                    <a:pt x="246080" y="356815"/>
                  </a:lnTo>
                  <a:lnTo>
                    <a:pt x="246080" y="357288"/>
                  </a:lnTo>
                  <a:lnTo>
                    <a:pt x="245843" y="357288"/>
                  </a:lnTo>
                  <a:lnTo>
                    <a:pt x="245843" y="357998"/>
                  </a:lnTo>
                  <a:lnTo>
                    <a:pt x="245370" y="357998"/>
                  </a:lnTo>
                  <a:lnTo>
                    <a:pt x="245370" y="358472"/>
                  </a:lnTo>
                  <a:lnTo>
                    <a:pt x="244896" y="358472"/>
                  </a:lnTo>
                  <a:lnTo>
                    <a:pt x="244896" y="358945"/>
                  </a:lnTo>
                  <a:lnTo>
                    <a:pt x="244660" y="358945"/>
                  </a:lnTo>
                  <a:lnTo>
                    <a:pt x="244660" y="359418"/>
                  </a:lnTo>
                  <a:lnTo>
                    <a:pt x="244187" y="359418"/>
                  </a:lnTo>
                  <a:lnTo>
                    <a:pt x="244187" y="359891"/>
                  </a:lnTo>
                  <a:lnTo>
                    <a:pt x="243713" y="359891"/>
                  </a:lnTo>
                  <a:lnTo>
                    <a:pt x="243713" y="360364"/>
                  </a:lnTo>
                  <a:lnTo>
                    <a:pt x="243003" y="360364"/>
                  </a:lnTo>
                  <a:lnTo>
                    <a:pt x="243003" y="360838"/>
                  </a:lnTo>
                  <a:lnTo>
                    <a:pt x="242530" y="360838"/>
                  </a:lnTo>
                  <a:lnTo>
                    <a:pt x="242530" y="361311"/>
                  </a:lnTo>
                  <a:lnTo>
                    <a:pt x="241820" y="361311"/>
                  </a:lnTo>
                  <a:lnTo>
                    <a:pt x="241820" y="361784"/>
                  </a:lnTo>
                  <a:lnTo>
                    <a:pt x="240874" y="361784"/>
                  </a:lnTo>
                  <a:lnTo>
                    <a:pt x="240874" y="362257"/>
                  </a:lnTo>
                  <a:lnTo>
                    <a:pt x="239927" y="362257"/>
                  </a:lnTo>
                  <a:lnTo>
                    <a:pt x="239454" y="362731"/>
                  </a:lnTo>
                  <a:lnTo>
                    <a:pt x="237088" y="362731"/>
                  </a:lnTo>
                  <a:lnTo>
                    <a:pt x="237088" y="363204"/>
                  </a:lnTo>
                  <a:lnTo>
                    <a:pt x="233775" y="363204"/>
                  </a:lnTo>
                  <a:lnTo>
                    <a:pt x="233775" y="362731"/>
                  </a:lnTo>
                  <a:lnTo>
                    <a:pt x="232592" y="362731"/>
                  </a:lnTo>
                  <a:lnTo>
                    <a:pt x="232592" y="362257"/>
                  </a:lnTo>
                  <a:lnTo>
                    <a:pt x="231646" y="362257"/>
                  </a:lnTo>
                  <a:lnTo>
                    <a:pt x="231646" y="361784"/>
                  </a:lnTo>
                  <a:lnTo>
                    <a:pt x="230936" y="361784"/>
                  </a:lnTo>
                  <a:lnTo>
                    <a:pt x="230936" y="361311"/>
                  </a:lnTo>
                  <a:lnTo>
                    <a:pt x="230226" y="361311"/>
                  </a:lnTo>
                  <a:lnTo>
                    <a:pt x="230226" y="360838"/>
                  </a:lnTo>
                  <a:lnTo>
                    <a:pt x="229990" y="360838"/>
                  </a:lnTo>
                  <a:lnTo>
                    <a:pt x="229516" y="360364"/>
                  </a:lnTo>
                  <a:lnTo>
                    <a:pt x="229043" y="360364"/>
                  </a:lnTo>
                  <a:lnTo>
                    <a:pt x="229043" y="359891"/>
                  </a:lnTo>
                  <a:lnTo>
                    <a:pt x="228570" y="359891"/>
                  </a:lnTo>
                  <a:lnTo>
                    <a:pt x="228570" y="359418"/>
                  </a:lnTo>
                  <a:lnTo>
                    <a:pt x="228097" y="359418"/>
                  </a:lnTo>
                  <a:lnTo>
                    <a:pt x="228097" y="358945"/>
                  </a:lnTo>
                  <a:lnTo>
                    <a:pt x="227860" y="358945"/>
                  </a:lnTo>
                  <a:lnTo>
                    <a:pt x="227860" y="358472"/>
                  </a:lnTo>
                  <a:lnTo>
                    <a:pt x="227387" y="358472"/>
                  </a:lnTo>
                  <a:lnTo>
                    <a:pt x="227387" y="357998"/>
                  </a:lnTo>
                  <a:lnTo>
                    <a:pt x="226914" y="357525"/>
                  </a:lnTo>
                  <a:lnTo>
                    <a:pt x="226914" y="357525"/>
                  </a:lnTo>
                  <a:lnTo>
                    <a:pt x="226914" y="357052"/>
                  </a:lnTo>
                  <a:lnTo>
                    <a:pt x="226677" y="357052"/>
                  </a:lnTo>
                  <a:lnTo>
                    <a:pt x="226677" y="356579"/>
                  </a:lnTo>
                  <a:lnTo>
                    <a:pt x="226677" y="356579"/>
                  </a:lnTo>
                  <a:lnTo>
                    <a:pt x="226677" y="356105"/>
                  </a:lnTo>
                  <a:lnTo>
                    <a:pt x="226677" y="356105"/>
                  </a:lnTo>
                  <a:lnTo>
                    <a:pt x="226677" y="355396"/>
                  </a:lnTo>
                  <a:lnTo>
                    <a:pt x="226204" y="355396"/>
                  </a:lnTo>
                  <a:lnTo>
                    <a:pt x="226204" y="354922"/>
                  </a:lnTo>
                  <a:lnTo>
                    <a:pt x="226204" y="354922"/>
                  </a:lnTo>
                  <a:lnTo>
                    <a:pt x="226204" y="353976"/>
                  </a:lnTo>
                  <a:lnTo>
                    <a:pt x="225967" y="353976"/>
                  </a:lnTo>
                  <a:lnTo>
                    <a:pt x="225967" y="353503"/>
                  </a:lnTo>
                  <a:lnTo>
                    <a:pt x="225967" y="353503"/>
                  </a:lnTo>
                  <a:lnTo>
                    <a:pt x="225967" y="353029"/>
                  </a:lnTo>
                  <a:lnTo>
                    <a:pt x="225967" y="353029"/>
                  </a:lnTo>
                  <a:lnTo>
                    <a:pt x="225967" y="352556"/>
                  </a:lnTo>
                  <a:lnTo>
                    <a:pt x="225967" y="352556"/>
                  </a:lnTo>
                  <a:cubicBezTo>
                    <a:pt x="222891" y="328658"/>
                    <a:pt x="211770" y="307363"/>
                    <a:pt x="195680" y="291273"/>
                  </a:cubicBezTo>
                  <a:cubicBezTo>
                    <a:pt x="179591" y="275183"/>
                    <a:pt x="158295" y="264062"/>
                    <a:pt x="134397" y="260986"/>
                  </a:cubicBezTo>
                  <a:lnTo>
                    <a:pt x="132978" y="260986"/>
                  </a:lnTo>
                  <a:lnTo>
                    <a:pt x="132504" y="260513"/>
                  </a:lnTo>
                  <a:lnTo>
                    <a:pt x="131558" y="260513"/>
                  </a:lnTo>
                  <a:lnTo>
                    <a:pt x="131085" y="260040"/>
                  </a:lnTo>
                  <a:lnTo>
                    <a:pt x="130375" y="260040"/>
                  </a:lnTo>
                  <a:lnTo>
                    <a:pt x="130375" y="259566"/>
                  </a:lnTo>
                  <a:lnTo>
                    <a:pt x="129902" y="259566"/>
                  </a:lnTo>
                  <a:lnTo>
                    <a:pt x="129902" y="259093"/>
                  </a:lnTo>
                  <a:lnTo>
                    <a:pt x="129428" y="259093"/>
                  </a:lnTo>
                  <a:lnTo>
                    <a:pt x="128955" y="258620"/>
                  </a:lnTo>
                  <a:lnTo>
                    <a:pt x="128482" y="258620"/>
                  </a:lnTo>
                  <a:lnTo>
                    <a:pt x="128482" y="258147"/>
                  </a:lnTo>
                  <a:lnTo>
                    <a:pt x="128009" y="258147"/>
                  </a:lnTo>
                  <a:lnTo>
                    <a:pt x="128009" y="257674"/>
                  </a:lnTo>
                  <a:lnTo>
                    <a:pt x="127535" y="257674"/>
                  </a:lnTo>
                  <a:lnTo>
                    <a:pt x="127535" y="257200"/>
                  </a:lnTo>
                  <a:lnTo>
                    <a:pt x="127299" y="257200"/>
                  </a:lnTo>
                  <a:lnTo>
                    <a:pt x="127299" y="256727"/>
                  </a:lnTo>
                  <a:lnTo>
                    <a:pt x="127062" y="256727"/>
                  </a:lnTo>
                  <a:lnTo>
                    <a:pt x="127062" y="256254"/>
                  </a:lnTo>
                  <a:lnTo>
                    <a:pt x="126589" y="255781"/>
                  </a:lnTo>
                  <a:lnTo>
                    <a:pt x="126589" y="255781"/>
                  </a:lnTo>
                  <a:lnTo>
                    <a:pt x="126589" y="255307"/>
                  </a:lnTo>
                  <a:lnTo>
                    <a:pt x="126352" y="255307"/>
                  </a:lnTo>
                  <a:lnTo>
                    <a:pt x="126352" y="254834"/>
                  </a:lnTo>
                  <a:lnTo>
                    <a:pt x="126352" y="254834"/>
                  </a:lnTo>
                  <a:lnTo>
                    <a:pt x="126352" y="254361"/>
                  </a:lnTo>
                  <a:lnTo>
                    <a:pt x="126352" y="254361"/>
                  </a:lnTo>
                  <a:lnTo>
                    <a:pt x="126352" y="253651"/>
                  </a:lnTo>
                  <a:lnTo>
                    <a:pt x="126116" y="253651"/>
                  </a:lnTo>
                  <a:lnTo>
                    <a:pt x="126116" y="253178"/>
                  </a:lnTo>
                  <a:lnTo>
                    <a:pt x="126116" y="253178"/>
                  </a:lnTo>
                  <a:lnTo>
                    <a:pt x="126116" y="252705"/>
                  </a:lnTo>
                  <a:lnTo>
                    <a:pt x="126116" y="252705"/>
                  </a:lnTo>
                  <a:lnTo>
                    <a:pt x="126116" y="251995"/>
                  </a:lnTo>
                  <a:lnTo>
                    <a:pt x="126116" y="251995"/>
                  </a:lnTo>
                  <a:lnTo>
                    <a:pt x="126116" y="251522"/>
                  </a:lnTo>
                  <a:lnTo>
                    <a:pt x="126116" y="251522"/>
                  </a:lnTo>
                  <a:lnTo>
                    <a:pt x="126116" y="251048"/>
                  </a:lnTo>
                  <a:lnTo>
                    <a:pt x="126116" y="251048"/>
                  </a:lnTo>
                  <a:lnTo>
                    <a:pt x="126116" y="250102"/>
                  </a:lnTo>
                  <a:lnTo>
                    <a:pt x="126116" y="250102"/>
                  </a:lnTo>
                  <a:lnTo>
                    <a:pt x="126116" y="249629"/>
                  </a:lnTo>
                  <a:lnTo>
                    <a:pt x="126116" y="249629"/>
                  </a:lnTo>
                  <a:lnTo>
                    <a:pt x="126116" y="249155"/>
                  </a:lnTo>
                  <a:lnTo>
                    <a:pt x="126116" y="249155"/>
                  </a:lnTo>
                  <a:lnTo>
                    <a:pt x="126116" y="248682"/>
                  </a:lnTo>
                  <a:lnTo>
                    <a:pt x="126116" y="248682"/>
                  </a:lnTo>
                  <a:lnTo>
                    <a:pt x="126116" y="247972"/>
                  </a:lnTo>
                  <a:lnTo>
                    <a:pt x="126116" y="247972"/>
                  </a:lnTo>
                  <a:lnTo>
                    <a:pt x="126116" y="247499"/>
                  </a:lnTo>
                  <a:lnTo>
                    <a:pt x="126116" y="247499"/>
                  </a:lnTo>
                  <a:lnTo>
                    <a:pt x="126116" y="247026"/>
                  </a:lnTo>
                  <a:lnTo>
                    <a:pt x="126116" y="247026"/>
                  </a:lnTo>
                  <a:lnTo>
                    <a:pt x="126116" y="246553"/>
                  </a:lnTo>
                  <a:lnTo>
                    <a:pt x="126116" y="246553"/>
                  </a:lnTo>
                  <a:lnTo>
                    <a:pt x="126116" y="245843"/>
                  </a:lnTo>
                  <a:lnTo>
                    <a:pt x="126116" y="245843"/>
                  </a:lnTo>
                  <a:lnTo>
                    <a:pt x="126116" y="245370"/>
                  </a:lnTo>
                  <a:lnTo>
                    <a:pt x="126116" y="245370"/>
                  </a:lnTo>
                  <a:lnTo>
                    <a:pt x="126116" y="244896"/>
                  </a:lnTo>
                  <a:lnTo>
                    <a:pt x="126116" y="244896"/>
                  </a:lnTo>
                  <a:lnTo>
                    <a:pt x="126116" y="244423"/>
                  </a:lnTo>
                  <a:lnTo>
                    <a:pt x="126352" y="244423"/>
                  </a:lnTo>
                  <a:lnTo>
                    <a:pt x="126352" y="243950"/>
                  </a:lnTo>
                  <a:lnTo>
                    <a:pt x="126589" y="243950"/>
                  </a:lnTo>
                  <a:lnTo>
                    <a:pt x="126589" y="243477"/>
                  </a:lnTo>
                  <a:lnTo>
                    <a:pt x="126826" y="243477"/>
                  </a:lnTo>
                  <a:lnTo>
                    <a:pt x="126826" y="243003"/>
                  </a:lnTo>
                  <a:lnTo>
                    <a:pt x="127062" y="243003"/>
                  </a:lnTo>
                  <a:lnTo>
                    <a:pt x="127062" y="242294"/>
                  </a:lnTo>
                  <a:lnTo>
                    <a:pt x="127535" y="242294"/>
                  </a:lnTo>
                  <a:lnTo>
                    <a:pt x="127535" y="241820"/>
                  </a:lnTo>
                  <a:lnTo>
                    <a:pt x="127772" y="241820"/>
                  </a:lnTo>
                  <a:lnTo>
                    <a:pt x="127772" y="241347"/>
                  </a:lnTo>
                  <a:lnTo>
                    <a:pt x="128009" y="241347"/>
                  </a:lnTo>
                  <a:lnTo>
                    <a:pt x="128009" y="240874"/>
                  </a:lnTo>
                  <a:lnTo>
                    <a:pt x="128482" y="240874"/>
                  </a:lnTo>
                  <a:lnTo>
                    <a:pt x="128482" y="240401"/>
                  </a:lnTo>
                  <a:lnTo>
                    <a:pt x="128955" y="240401"/>
                  </a:lnTo>
                  <a:lnTo>
                    <a:pt x="128955" y="239928"/>
                  </a:lnTo>
                  <a:lnTo>
                    <a:pt x="128955" y="239928"/>
                  </a:lnTo>
                  <a:lnTo>
                    <a:pt x="129428" y="239454"/>
                  </a:lnTo>
                  <a:lnTo>
                    <a:pt x="129902" y="239454"/>
                  </a:lnTo>
                  <a:lnTo>
                    <a:pt x="129902" y="238981"/>
                  </a:lnTo>
                  <a:lnTo>
                    <a:pt x="130611" y="238981"/>
                  </a:lnTo>
                  <a:lnTo>
                    <a:pt x="130611" y="238508"/>
                  </a:lnTo>
                  <a:lnTo>
                    <a:pt x="131558" y="238508"/>
                  </a:lnTo>
                  <a:lnTo>
                    <a:pt x="131558" y="238035"/>
                  </a:lnTo>
                  <a:lnTo>
                    <a:pt x="132504" y="238035"/>
                  </a:lnTo>
                  <a:lnTo>
                    <a:pt x="132978" y="237561"/>
                  </a:lnTo>
                  <a:lnTo>
                    <a:pt x="134397" y="237561"/>
                  </a:lnTo>
                  <a:cubicBezTo>
                    <a:pt x="158059" y="234012"/>
                    <a:pt x="179354" y="223128"/>
                    <a:pt x="195680" y="207038"/>
                  </a:cubicBezTo>
                  <a:cubicBezTo>
                    <a:pt x="211770" y="190948"/>
                    <a:pt x="222891" y="169653"/>
                    <a:pt x="225967" y="145755"/>
                  </a:cubicBezTo>
                  <a:lnTo>
                    <a:pt x="225967" y="145755"/>
                  </a:lnTo>
                  <a:lnTo>
                    <a:pt x="225967" y="145282"/>
                  </a:lnTo>
                  <a:lnTo>
                    <a:pt x="225967" y="145282"/>
                  </a:lnTo>
                  <a:lnTo>
                    <a:pt x="225967" y="144808"/>
                  </a:lnTo>
                  <a:lnTo>
                    <a:pt x="225967" y="144808"/>
                  </a:lnTo>
                  <a:lnTo>
                    <a:pt x="225967" y="144335"/>
                  </a:lnTo>
                  <a:lnTo>
                    <a:pt x="225967" y="144335"/>
                  </a:lnTo>
                  <a:lnTo>
                    <a:pt x="225967" y="143625"/>
                  </a:lnTo>
                  <a:lnTo>
                    <a:pt x="226204" y="143625"/>
                  </a:lnTo>
                  <a:lnTo>
                    <a:pt x="226204" y="143152"/>
                  </a:lnTo>
                  <a:lnTo>
                    <a:pt x="226204" y="143152"/>
                  </a:lnTo>
                  <a:lnTo>
                    <a:pt x="226204" y="142679"/>
                  </a:lnTo>
                  <a:lnTo>
                    <a:pt x="226204" y="142679"/>
                  </a:lnTo>
                  <a:lnTo>
                    <a:pt x="226204" y="142206"/>
                  </a:lnTo>
                  <a:lnTo>
                    <a:pt x="226440" y="142206"/>
                  </a:lnTo>
                  <a:lnTo>
                    <a:pt x="226440" y="141732"/>
                  </a:lnTo>
                  <a:lnTo>
                    <a:pt x="226677" y="141732"/>
                  </a:lnTo>
                  <a:lnTo>
                    <a:pt x="226677" y="141259"/>
                  </a:lnTo>
                  <a:lnTo>
                    <a:pt x="226914" y="141259"/>
                  </a:lnTo>
                  <a:lnTo>
                    <a:pt x="226914" y="140786"/>
                  </a:lnTo>
                  <a:lnTo>
                    <a:pt x="227150" y="140786"/>
                  </a:lnTo>
                  <a:lnTo>
                    <a:pt x="227150" y="140076"/>
                  </a:lnTo>
                  <a:lnTo>
                    <a:pt x="227624" y="140076"/>
                  </a:lnTo>
                  <a:lnTo>
                    <a:pt x="227624" y="139603"/>
                  </a:lnTo>
                  <a:lnTo>
                    <a:pt x="227860" y="139603"/>
                  </a:lnTo>
                  <a:lnTo>
                    <a:pt x="227860" y="139130"/>
                  </a:lnTo>
                  <a:lnTo>
                    <a:pt x="228097" y="139130"/>
                  </a:lnTo>
                  <a:lnTo>
                    <a:pt x="228097" y="138656"/>
                  </a:lnTo>
                  <a:lnTo>
                    <a:pt x="228570" y="138656"/>
                  </a:lnTo>
                  <a:lnTo>
                    <a:pt x="228570" y="138183"/>
                  </a:lnTo>
                  <a:lnTo>
                    <a:pt x="229043" y="138183"/>
                  </a:lnTo>
                  <a:lnTo>
                    <a:pt x="229043" y="137710"/>
                  </a:lnTo>
                  <a:lnTo>
                    <a:pt x="229043" y="137710"/>
                  </a:lnTo>
                  <a:lnTo>
                    <a:pt x="229516" y="137237"/>
                  </a:lnTo>
                  <a:lnTo>
                    <a:pt x="229990" y="137237"/>
                  </a:lnTo>
                  <a:lnTo>
                    <a:pt x="229990" y="136763"/>
                  </a:lnTo>
                  <a:lnTo>
                    <a:pt x="230700" y="136763"/>
                  </a:lnTo>
                  <a:lnTo>
                    <a:pt x="230700" y="136290"/>
                  </a:lnTo>
                  <a:lnTo>
                    <a:pt x="231646" y="136290"/>
                  </a:lnTo>
                  <a:lnTo>
                    <a:pt x="231646" y="135817"/>
                  </a:lnTo>
                  <a:lnTo>
                    <a:pt x="232592" y="135817"/>
                  </a:lnTo>
                  <a:lnTo>
                    <a:pt x="233066" y="135344"/>
                  </a:lnTo>
                  <a:lnTo>
                    <a:pt x="235432" y="135344"/>
                  </a:lnTo>
                  <a:lnTo>
                    <a:pt x="235432" y="134870"/>
                  </a:lnTo>
                  <a:lnTo>
                    <a:pt x="238745" y="134870"/>
                  </a:lnTo>
                  <a:lnTo>
                    <a:pt x="238745" y="135344"/>
                  </a:lnTo>
                  <a:lnTo>
                    <a:pt x="239927" y="135344"/>
                  </a:lnTo>
                  <a:lnTo>
                    <a:pt x="239927" y="135817"/>
                  </a:lnTo>
                  <a:lnTo>
                    <a:pt x="240874" y="135817"/>
                  </a:lnTo>
                  <a:lnTo>
                    <a:pt x="240874" y="136290"/>
                  </a:lnTo>
                  <a:lnTo>
                    <a:pt x="241584" y="136290"/>
                  </a:lnTo>
                  <a:lnTo>
                    <a:pt x="241584" y="136763"/>
                  </a:lnTo>
                  <a:lnTo>
                    <a:pt x="242294" y="136763"/>
                  </a:lnTo>
                  <a:lnTo>
                    <a:pt x="242294" y="137237"/>
                  </a:lnTo>
                  <a:lnTo>
                    <a:pt x="243003" y="137237"/>
                  </a:lnTo>
                  <a:lnTo>
                    <a:pt x="243003" y="137710"/>
                  </a:lnTo>
                  <a:lnTo>
                    <a:pt x="243477" y="137710"/>
                  </a:lnTo>
                  <a:lnTo>
                    <a:pt x="243477" y="138183"/>
                  </a:lnTo>
                  <a:lnTo>
                    <a:pt x="243950" y="138183"/>
                  </a:lnTo>
                  <a:lnTo>
                    <a:pt x="243950" y="138656"/>
                  </a:lnTo>
                  <a:lnTo>
                    <a:pt x="244423" y="138656"/>
                  </a:lnTo>
                  <a:lnTo>
                    <a:pt x="244423" y="139130"/>
                  </a:lnTo>
                  <a:lnTo>
                    <a:pt x="244896" y="139130"/>
                  </a:lnTo>
                  <a:lnTo>
                    <a:pt x="244896" y="139603"/>
                  </a:lnTo>
                  <a:lnTo>
                    <a:pt x="244896" y="139603"/>
                  </a:lnTo>
                  <a:lnTo>
                    <a:pt x="244896" y="140076"/>
                  </a:lnTo>
                  <a:lnTo>
                    <a:pt x="245370" y="140549"/>
                  </a:lnTo>
                  <a:lnTo>
                    <a:pt x="245370" y="140549"/>
                  </a:lnTo>
                  <a:lnTo>
                    <a:pt x="245370" y="141022"/>
                  </a:lnTo>
                  <a:lnTo>
                    <a:pt x="245606" y="141022"/>
                  </a:lnTo>
                  <a:lnTo>
                    <a:pt x="245606" y="141496"/>
                  </a:lnTo>
                  <a:lnTo>
                    <a:pt x="245606" y="141496"/>
                  </a:lnTo>
                  <a:lnTo>
                    <a:pt x="245606" y="141969"/>
                  </a:lnTo>
                  <a:lnTo>
                    <a:pt x="245606" y="141969"/>
                  </a:lnTo>
                  <a:lnTo>
                    <a:pt x="245606" y="142679"/>
                  </a:lnTo>
                  <a:lnTo>
                    <a:pt x="246080" y="142679"/>
                  </a:lnTo>
                  <a:lnTo>
                    <a:pt x="246080" y="143152"/>
                  </a:lnTo>
                  <a:lnTo>
                    <a:pt x="246080" y="143152"/>
                  </a:lnTo>
                  <a:lnTo>
                    <a:pt x="246080" y="144098"/>
                  </a:lnTo>
                  <a:lnTo>
                    <a:pt x="246316" y="144098"/>
                  </a:lnTo>
                  <a:lnTo>
                    <a:pt x="246316" y="144572"/>
                  </a:lnTo>
                  <a:lnTo>
                    <a:pt x="246316" y="144572"/>
                  </a:lnTo>
                  <a:lnTo>
                    <a:pt x="246316" y="145045"/>
                  </a:lnTo>
                  <a:lnTo>
                    <a:pt x="246316" y="145045"/>
                  </a:lnTo>
                  <a:lnTo>
                    <a:pt x="246316" y="145518"/>
                  </a:lnTo>
                  <a:lnTo>
                    <a:pt x="246316" y="145518"/>
                  </a:lnTo>
                  <a:cubicBezTo>
                    <a:pt x="249629" y="169416"/>
                    <a:pt x="260513" y="190712"/>
                    <a:pt x="276603" y="206801"/>
                  </a:cubicBezTo>
                  <a:cubicBezTo>
                    <a:pt x="292693" y="222891"/>
                    <a:pt x="313988" y="234012"/>
                    <a:pt x="337886" y="237088"/>
                  </a:cubicBezTo>
                  <a:lnTo>
                    <a:pt x="339306" y="237088"/>
                  </a:lnTo>
                  <a:lnTo>
                    <a:pt x="339779" y="237561"/>
                  </a:lnTo>
                  <a:lnTo>
                    <a:pt x="340725" y="237561"/>
                  </a:lnTo>
                  <a:lnTo>
                    <a:pt x="341199" y="238035"/>
                  </a:lnTo>
                  <a:lnTo>
                    <a:pt x="341908" y="238035"/>
                  </a:lnTo>
                  <a:lnTo>
                    <a:pt x="341908" y="238508"/>
                  </a:lnTo>
                  <a:lnTo>
                    <a:pt x="342618" y="238508"/>
                  </a:lnTo>
                  <a:lnTo>
                    <a:pt x="342618" y="238981"/>
                  </a:lnTo>
                  <a:lnTo>
                    <a:pt x="343328" y="238981"/>
                  </a:lnTo>
                  <a:lnTo>
                    <a:pt x="343328" y="239454"/>
                  </a:lnTo>
                  <a:lnTo>
                    <a:pt x="343801" y="239454"/>
                  </a:lnTo>
                  <a:lnTo>
                    <a:pt x="343801" y="239928"/>
                  </a:lnTo>
                  <a:lnTo>
                    <a:pt x="344275" y="239928"/>
                  </a:lnTo>
                  <a:lnTo>
                    <a:pt x="344275" y="240401"/>
                  </a:lnTo>
                  <a:lnTo>
                    <a:pt x="344748" y="240401"/>
                  </a:lnTo>
                  <a:lnTo>
                    <a:pt x="344748" y="240874"/>
                  </a:lnTo>
                  <a:lnTo>
                    <a:pt x="344985" y="240874"/>
                  </a:lnTo>
                  <a:lnTo>
                    <a:pt x="344985" y="241347"/>
                  </a:lnTo>
                  <a:lnTo>
                    <a:pt x="344985" y="241347"/>
                  </a:lnTo>
                  <a:lnTo>
                    <a:pt x="344985" y="241820"/>
                  </a:lnTo>
                  <a:lnTo>
                    <a:pt x="345458" y="242294"/>
                  </a:lnTo>
                  <a:lnTo>
                    <a:pt x="345458" y="242294"/>
                  </a:lnTo>
                  <a:lnTo>
                    <a:pt x="345458" y="242767"/>
                  </a:lnTo>
                  <a:lnTo>
                    <a:pt x="345694" y="242767"/>
                  </a:lnTo>
                  <a:lnTo>
                    <a:pt x="345694" y="243240"/>
                  </a:lnTo>
                  <a:lnTo>
                    <a:pt x="345694" y="243240"/>
                  </a:lnTo>
                  <a:lnTo>
                    <a:pt x="345694" y="243713"/>
                  </a:lnTo>
                  <a:lnTo>
                    <a:pt x="345694" y="243713"/>
                  </a:lnTo>
                  <a:lnTo>
                    <a:pt x="345694" y="244423"/>
                  </a:lnTo>
                  <a:lnTo>
                    <a:pt x="346168" y="244423"/>
                  </a:lnTo>
                  <a:lnTo>
                    <a:pt x="346168" y="244896"/>
                  </a:lnTo>
                  <a:lnTo>
                    <a:pt x="346168" y="244896"/>
                  </a:lnTo>
                  <a:lnTo>
                    <a:pt x="346168" y="245843"/>
                  </a:lnTo>
                  <a:lnTo>
                    <a:pt x="346168" y="245843"/>
                  </a:lnTo>
                  <a:lnTo>
                    <a:pt x="346168" y="246316"/>
                  </a:lnTo>
                  <a:lnTo>
                    <a:pt x="346168" y="246316"/>
                  </a:lnTo>
                  <a:lnTo>
                    <a:pt x="346168" y="246789"/>
                  </a:lnTo>
                  <a:lnTo>
                    <a:pt x="346168" y="246789"/>
                  </a:lnTo>
                  <a:lnTo>
                    <a:pt x="346168" y="247736"/>
                  </a:lnTo>
                  <a:lnTo>
                    <a:pt x="346168" y="247736"/>
                  </a:lnTo>
                  <a:lnTo>
                    <a:pt x="346168" y="248209"/>
                  </a:lnTo>
                  <a:lnTo>
                    <a:pt x="346168" y="248209"/>
                  </a:lnTo>
                  <a:lnTo>
                    <a:pt x="346168" y="248682"/>
                  </a:lnTo>
                  <a:lnTo>
                    <a:pt x="346168" y="248682"/>
                  </a:lnTo>
                  <a:lnTo>
                    <a:pt x="346168" y="249155"/>
                  </a:lnTo>
                  <a:lnTo>
                    <a:pt x="346168" y="249155"/>
                  </a:lnTo>
                  <a:lnTo>
                    <a:pt x="346168" y="249865"/>
                  </a:lnTo>
                  <a:lnTo>
                    <a:pt x="346168" y="249865"/>
                  </a:lnTo>
                  <a:lnTo>
                    <a:pt x="346168" y="250339"/>
                  </a:lnTo>
                  <a:lnTo>
                    <a:pt x="346168" y="250339"/>
                  </a:lnTo>
                  <a:lnTo>
                    <a:pt x="346168" y="250812"/>
                  </a:lnTo>
                  <a:lnTo>
                    <a:pt x="346168" y="250812"/>
                  </a:lnTo>
                  <a:lnTo>
                    <a:pt x="346168" y="251285"/>
                  </a:lnTo>
                  <a:lnTo>
                    <a:pt x="346168" y="251285"/>
                  </a:lnTo>
                  <a:lnTo>
                    <a:pt x="346168" y="251995"/>
                  </a:lnTo>
                  <a:lnTo>
                    <a:pt x="346168" y="251995"/>
                  </a:lnTo>
                  <a:lnTo>
                    <a:pt x="346168" y="252468"/>
                  </a:lnTo>
                  <a:lnTo>
                    <a:pt x="346168" y="252468"/>
                  </a:lnTo>
                  <a:lnTo>
                    <a:pt x="346168" y="252941"/>
                  </a:lnTo>
                  <a:lnTo>
                    <a:pt x="346168" y="252941"/>
                  </a:lnTo>
                  <a:lnTo>
                    <a:pt x="346168" y="253415"/>
                  </a:lnTo>
                  <a:lnTo>
                    <a:pt x="345931" y="253415"/>
                  </a:lnTo>
                  <a:lnTo>
                    <a:pt x="345931" y="253888"/>
                  </a:lnTo>
                  <a:lnTo>
                    <a:pt x="345694" y="253888"/>
                  </a:lnTo>
                  <a:lnTo>
                    <a:pt x="345694" y="254361"/>
                  </a:lnTo>
                  <a:lnTo>
                    <a:pt x="345694" y="254361"/>
                  </a:lnTo>
                  <a:lnTo>
                    <a:pt x="345694" y="254834"/>
                  </a:lnTo>
                  <a:lnTo>
                    <a:pt x="345458" y="254834"/>
                  </a:lnTo>
                  <a:lnTo>
                    <a:pt x="345458" y="255544"/>
                  </a:lnTo>
                  <a:lnTo>
                    <a:pt x="344985" y="255544"/>
                  </a:lnTo>
                  <a:lnTo>
                    <a:pt x="344985" y="256017"/>
                  </a:lnTo>
                  <a:lnTo>
                    <a:pt x="344748" y="256017"/>
                  </a:lnTo>
                  <a:lnTo>
                    <a:pt x="344748" y="256490"/>
                  </a:lnTo>
                  <a:lnTo>
                    <a:pt x="344275" y="256490"/>
                  </a:lnTo>
                  <a:lnTo>
                    <a:pt x="344275" y="256964"/>
                  </a:lnTo>
                  <a:lnTo>
                    <a:pt x="343801" y="256964"/>
                  </a:lnTo>
                  <a:lnTo>
                    <a:pt x="343801" y="257437"/>
                  </a:lnTo>
                  <a:lnTo>
                    <a:pt x="343328" y="257437"/>
                  </a:lnTo>
                  <a:lnTo>
                    <a:pt x="343328" y="257910"/>
                  </a:lnTo>
                  <a:lnTo>
                    <a:pt x="342618" y="257910"/>
                  </a:lnTo>
                  <a:lnTo>
                    <a:pt x="342618" y="258383"/>
                  </a:lnTo>
                  <a:lnTo>
                    <a:pt x="342145" y="258383"/>
                  </a:lnTo>
                  <a:lnTo>
                    <a:pt x="342145" y="258857"/>
                  </a:lnTo>
                  <a:lnTo>
                    <a:pt x="341435" y="258857"/>
                  </a:lnTo>
                  <a:lnTo>
                    <a:pt x="341435" y="259330"/>
                  </a:lnTo>
                  <a:lnTo>
                    <a:pt x="340489" y="259330"/>
                  </a:lnTo>
                  <a:lnTo>
                    <a:pt x="340489" y="259803"/>
                  </a:lnTo>
                  <a:lnTo>
                    <a:pt x="339542" y="259803"/>
                  </a:lnTo>
                  <a:lnTo>
                    <a:pt x="339069" y="260276"/>
                  </a:lnTo>
                  <a:lnTo>
                    <a:pt x="337649" y="260276"/>
                  </a:lnTo>
                  <a:cubicBezTo>
                    <a:pt x="313751" y="263826"/>
                    <a:pt x="292456" y="274710"/>
                    <a:pt x="276366" y="290800"/>
                  </a:cubicBezTo>
                  <a:cubicBezTo>
                    <a:pt x="260276" y="306889"/>
                    <a:pt x="249392" y="328185"/>
                    <a:pt x="246080" y="352083"/>
                  </a:cubicBezTo>
                  <a:close/>
                </a:path>
              </a:pathLst>
            </a:custGeom>
            <a:solidFill>
              <a:srgbClr val="F4F6FA"/>
            </a:solidFill>
            <a:ln w="2363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>
                <a:latin typeface="Montserrat" panose="00000500000000000000" pitchFamily="2" charset="-18"/>
              </a:endParaRPr>
            </a:p>
          </p:txBody>
        </p:sp>
        <p:sp>
          <p:nvSpPr>
            <p:cNvPr id="7" name="Oval 134">
              <a:extLst>
                <a:ext uri="{FF2B5EF4-FFF2-40B4-BE49-F238E27FC236}">
                  <a16:creationId xmlns:a16="http://schemas.microsoft.com/office/drawing/2014/main" id="{BF8299FE-CFCF-07B5-07AA-CB454FF2600A}"/>
                </a:ext>
              </a:extLst>
            </p:cNvPr>
            <p:cNvSpPr/>
            <p:nvPr/>
          </p:nvSpPr>
          <p:spPr>
            <a:xfrm>
              <a:off x="7821212" y="2061879"/>
              <a:ext cx="3641950" cy="3586426"/>
            </a:xfrm>
            <a:prstGeom prst="ellipse">
              <a:avLst/>
            </a:prstGeom>
            <a:gradFill>
              <a:gsLst>
                <a:gs pos="37000">
                  <a:srgbClr val="D61B6B"/>
                </a:gs>
                <a:gs pos="100000">
                  <a:srgbClr val="FF2D5E">
                    <a:lumMod val="60000"/>
                    <a:lumOff val="40000"/>
                  </a:srgbClr>
                </a:gs>
              </a:gsLst>
              <a:path path="circle">
                <a:fillToRect l="100000" t="100000"/>
              </a:path>
            </a:gradFill>
            <a:ln w="12700" cap="flat" cmpd="sng" algn="ctr">
              <a:noFill/>
              <a:prstDash val="solid"/>
              <a:miter lim="800000"/>
            </a:ln>
            <a:effectLst>
              <a:outerShdw blurRad="1270000" sx="105000" sy="105000" algn="ctr" rotWithShape="0">
                <a:srgbClr val="FF2D5E">
                  <a:alpha val="45000"/>
                </a:srgb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</a:endParaRPr>
            </a:p>
          </p:txBody>
        </p:sp>
        <p:pic>
          <p:nvPicPr>
            <p:cNvPr id="8" name="Obraz 7" descr="Obraz zawierający tekst, zrzut ekranu, Ludzka twarz, osoba&#10;&#10;Opis wygenerowany automatycznie">
              <a:extLst>
                <a:ext uri="{FF2B5EF4-FFF2-40B4-BE49-F238E27FC236}">
                  <a16:creationId xmlns:a16="http://schemas.microsoft.com/office/drawing/2014/main" id="{7CA9B7D0-C8AB-E278-3240-85F5B109BF5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261055" y="1605219"/>
              <a:ext cx="5181075" cy="3770671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16640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: Rounded Corners 26">
            <a:extLst>
              <a:ext uri="{FF2B5EF4-FFF2-40B4-BE49-F238E27FC236}">
                <a16:creationId xmlns:a16="http://schemas.microsoft.com/office/drawing/2014/main" id="{8C82E312-D568-F34D-183D-F1B6CC986FD3}"/>
              </a:ext>
            </a:extLst>
          </p:cNvPr>
          <p:cNvSpPr/>
          <p:nvPr/>
        </p:nvSpPr>
        <p:spPr>
          <a:xfrm>
            <a:off x="884336" y="2066311"/>
            <a:ext cx="5689261" cy="3704325"/>
          </a:xfrm>
          <a:prstGeom prst="roundRect">
            <a:avLst>
              <a:gd name="adj" fmla="val 3466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" name="Prostokąt: zaokrąglone rogi u góry 1">
            <a:extLst>
              <a:ext uri="{FF2B5EF4-FFF2-40B4-BE49-F238E27FC236}">
                <a16:creationId xmlns:a16="http://schemas.microsoft.com/office/drawing/2014/main" id="{2CF0601E-996B-0F6E-0FC4-45AFD22262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5400000">
            <a:off x="-3102429" y="3102428"/>
            <a:ext cx="6858000" cy="653143"/>
          </a:xfrm>
          <a:prstGeom prst="round2SameRect">
            <a:avLst>
              <a:gd name="adj1" fmla="val 16559"/>
              <a:gd name="adj2" fmla="val 0"/>
            </a:avLst>
          </a:prstGeom>
          <a:solidFill>
            <a:srgbClr val="FFFFFF"/>
          </a:solidFill>
          <a:ln>
            <a:noFill/>
          </a:ln>
          <a:effectLst>
            <a:outerShdw blurRad="952500" dist="215900" algn="l" rotWithShape="0">
              <a:schemeClr val="accent1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27FD0282-AAA7-99D3-A8F3-4D13F509918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70771" y="6086174"/>
            <a:ext cx="994685" cy="306414"/>
          </a:xfrm>
          <a:prstGeom prst="rect">
            <a:avLst/>
          </a:prstGeom>
        </p:spPr>
      </p:pic>
      <p:pic>
        <p:nvPicPr>
          <p:cNvPr id="24" name="Obraz 4">
            <a:hlinkClick r:id="rId3" action="ppaction://hlinksldjump"/>
            <a:extLst>
              <a:ext uri="{FF2B5EF4-FFF2-40B4-BE49-F238E27FC236}">
                <a16:creationId xmlns:a16="http://schemas.microsoft.com/office/drawing/2014/main" id="{B4F576B0-5A53-247E-B85C-44BEACCA31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71" y="230592"/>
            <a:ext cx="548771" cy="305640"/>
          </a:xfrm>
          <a:prstGeom prst="rect">
            <a:avLst/>
          </a:prstGeom>
        </p:spPr>
      </p:pic>
      <p:sp>
        <p:nvSpPr>
          <p:cNvPr id="30" name="Google Shape;695;p5">
            <a:extLst>
              <a:ext uri="{FF2B5EF4-FFF2-40B4-BE49-F238E27FC236}">
                <a16:creationId xmlns:a16="http://schemas.microsoft.com/office/drawing/2014/main" id="{096FFB3A-51F7-D0CF-6BED-96FE6075CDF2}"/>
              </a:ext>
            </a:extLst>
          </p:cNvPr>
          <p:cNvSpPr txBox="1"/>
          <p:nvPr/>
        </p:nvSpPr>
        <p:spPr>
          <a:xfrm>
            <a:off x="992228" y="383584"/>
            <a:ext cx="5786716" cy="1077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400"/>
              <a:buFont typeface="Roboto"/>
              <a:buNone/>
              <a:tabLst/>
              <a:defRPr/>
            </a:pPr>
            <a:r>
              <a:rPr kumimoji="0" lang="pl-PL" sz="3200" b="0" i="0" u="none" strike="noStrike" kern="1200" cap="none" spc="0" normalizeH="0" baseline="0" noProof="0">
                <a:ln>
                  <a:noFill/>
                </a:ln>
                <a:solidFill>
                  <a:srgbClr val="0B0B0B"/>
                </a:solidFill>
                <a:effectLst/>
                <a:uLnTx/>
                <a:uFillTx/>
                <a:latin typeface="Roboto Black"/>
                <a:ea typeface="Roboto Black"/>
                <a:cs typeface="Fredoka Medium"/>
                <a:sym typeface="Roboto"/>
              </a:rPr>
              <a:t>Poznaj </a:t>
            </a:r>
            <a:r>
              <a:rPr kumimoji="0" lang="pl-PL" sz="3200" b="0" i="0" u="none" strike="noStrike" kern="120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 Black"/>
                <a:ea typeface="Roboto Black"/>
                <a:cs typeface="Fredoka Medium"/>
                <a:sym typeface="Roboto"/>
              </a:rPr>
              <a:t>Extended DISC</a:t>
            </a:r>
            <a:r>
              <a:rPr kumimoji="0" lang="pl-PL" sz="3200" b="0" i="0" u="none" strike="noStrike" kern="1200" cap="none" spc="0" normalizeH="0" baseline="3000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 Black"/>
                <a:ea typeface="Roboto Black"/>
                <a:cs typeface="Fredoka Medium"/>
                <a:sym typeface="Roboto"/>
              </a:rPr>
              <a:t>®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400"/>
              <a:buFont typeface="Roboto"/>
              <a:buNone/>
              <a:tabLst/>
              <a:defRPr/>
            </a:pPr>
            <a:r>
              <a:rPr kumimoji="0" lang="pl-PL" sz="3200" b="0" i="0" u="none" strike="noStrike" kern="1200" cap="none" spc="0" normalizeH="0" baseline="0" noProof="0">
                <a:ln>
                  <a:noFill/>
                </a:ln>
                <a:solidFill>
                  <a:srgbClr val="0B0B0B"/>
                </a:solidFill>
                <a:effectLst/>
                <a:uLnTx/>
                <a:uFillTx/>
                <a:latin typeface="Roboto Black"/>
                <a:ea typeface="Roboto Black"/>
                <a:cs typeface="Fredoka Medium"/>
                <a:sym typeface="Roboto"/>
              </a:rPr>
              <a:t>- uwolnij ukrytą siłę biznesu!</a:t>
            </a:r>
            <a:r>
              <a:rPr kumimoji="0" lang="pl-PL" sz="3200" b="0" i="0" u="none" strike="noStrike" kern="120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 Black"/>
                <a:ea typeface="Roboto Black"/>
                <a:cs typeface="Fredoka Medium"/>
                <a:sym typeface="Roboto"/>
              </a:rPr>
              <a:t> </a:t>
            </a:r>
            <a:endParaRPr kumimoji="0" lang="pl-PL" sz="3200" b="0" i="0" u="none" strike="noStrike" kern="1200" cap="none" spc="0" normalizeH="0" baseline="0" noProof="0">
              <a:ln>
                <a:noFill/>
              </a:ln>
              <a:solidFill>
                <a:srgbClr val="D61B6B"/>
              </a:solidFill>
              <a:effectLst/>
              <a:uLnTx/>
              <a:uFillTx/>
              <a:latin typeface="Roboto Black"/>
              <a:ea typeface="Roboto Black"/>
              <a:cs typeface="Fredoka Medium"/>
            </a:endParaRPr>
          </a:p>
        </p:txBody>
      </p:sp>
      <p:sp>
        <p:nvSpPr>
          <p:cNvPr id="45" name="Google Shape;683;p5">
            <a:extLst>
              <a:ext uri="{FF2B5EF4-FFF2-40B4-BE49-F238E27FC236}">
                <a16:creationId xmlns:a16="http://schemas.microsoft.com/office/drawing/2014/main" id="{FA142E21-A3D8-A840-A8DD-02F7E60F377F}"/>
              </a:ext>
            </a:extLst>
          </p:cNvPr>
          <p:cNvSpPr txBox="1"/>
          <p:nvPr/>
        </p:nvSpPr>
        <p:spPr>
          <a:xfrm>
            <a:off x="1060759" y="2232579"/>
            <a:ext cx="5355501" cy="34265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1500" b="1" i="0" u="none" strike="noStrike" kern="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+mj-lt"/>
                <a:ea typeface="Roboto"/>
                <a:cs typeface="Mukta Bold"/>
                <a:sym typeface="Mukta"/>
              </a:rPr>
              <a:t>Extended DISC®</a:t>
            </a:r>
            <a: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Roboto"/>
                <a:cs typeface="Mukta Regular"/>
                <a:sym typeface="Mukta"/>
              </a:rPr>
              <a:t> </a:t>
            </a:r>
            <a: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  <a:t>to narzędzie, które mierzy naturalne</a:t>
            </a:r>
            <a:b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</a:br>
            <a: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  <a:t>i adaptowane style </a:t>
            </a:r>
            <a:r>
              <a:rPr kumimoji="0" lang="pl-PL" sz="150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  <a:t>zachowań</a:t>
            </a:r>
            <a: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pl-PL" sz="1500" kern="0">
              <a:solidFill>
                <a:srgbClr val="000000"/>
              </a:solidFill>
              <a:latin typeface="Roboto Light"/>
              <a:ea typeface="Roboto"/>
              <a:cs typeface="Mukta Regular"/>
              <a:sym typeface="Mukta"/>
            </a:endParaRPr>
          </a:p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l-PL" sz="1500" kern="0">
                <a:solidFill>
                  <a:srgbClr val="000000"/>
                </a:solidFill>
                <a:latin typeface="Roboto Light"/>
                <a:ea typeface="Roboto"/>
                <a:cs typeface="Mukta Regular"/>
                <a:sym typeface="Mukta"/>
              </a:rPr>
              <a:t>N</a:t>
            </a:r>
            <a: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  <a:t>a podstawie kwestionariusza online powstaje raport, który opisuje np. </a:t>
            </a:r>
            <a:r>
              <a:rPr lang="pl-PL" sz="1500" kern="0">
                <a:solidFill>
                  <a:srgbClr val="D61B6B"/>
                </a:solidFill>
                <a:latin typeface="+mj-lt"/>
                <a:ea typeface="Roboto"/>
                <a:sym typeface="Mukta"/>
              </a:rPr>
              <a:t>preferowany styl zachowania </a:t>
            </a:r>
            <a: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  <a:t>i </a:t>
            </a:r>
            <a:r>
              <a:rPr lang="pl-PL" sz="1500" kern="0">
                <a:solidFill>
                  <a:srgbClr val="D61B6B"/>
                </a:solidFill>
                <a:latin typeface="+mj-lt"/>
                <a:ea typeface="Roboto"/>
                <a:sym typeface="Mukta"/>
              </a:rPr>
              <a:t>komunikacji</a:t>
            </a:r>
            <a: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  <a:t>  danej osoby, jakie ma </a:t>
            </a:r>
            <a:r>
              <a:rPr lang="pl-PL" sz="1500" kern="0">
                <a:solidFill>
                  <a:srgbClr val="D61B6B"/>
                </a:solidFill>
                <a:latin typeface="+mj-lt"/>
                <a:ea typeface="Roboto"/>
                <a:sym typeface="Mukta"/>
              </a:rPr>
              <a:t>predyspozycje</a:t>
            </a:r>
            <a:r>
              <a:rPr kumimoji="0" lang="pl-PL" sz="1500" b="1" i="0" u="none" strike="noStrike" kern="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 Light"/>
                <a:ea typeface="Roboto"/>
                <a:cs typeface="Mukta Bold"/>
                <a:sym typeface="Mukta"/>
              </a:rPr>
              <a:t> </a:t>
            </a:r>
            <a: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  <a:t>i</a:t>
            </a:r>
            <a:r>
              <a:rPr kumimoji="0" lang="pl-PL" sz="1500" b="1" i="0" u="none" strike="noStrike" kern="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 Light"/>
                <a:ea typeface="Roboto"/>
                <a:cs typeface="Mukta Bold"/>
                <a:sym typeface="Mukta"/>
              </a:rPr>
              <a:t> </a:t>
            </a:r>
            <a:r>
              <a:rPr lang="pl-PL" sz="1500" kern="0">
                <a:solidFill>
                  <a:srgbClr val="D61B6B"/>
                </a:solidFill>
                <a:latin typeface="+mj-lt"/>
                <a:ea typeface="Roboto"/>
                <a:sym typeface="Mukta"/>
              </a:rPr>
              <a:t>talenty</a:t>
            </a:r>
            <a:r>
              <a:rPr kumimoji="0" lang="pl-PL" sz="1500" b="1" i="0" u="none" strike="noStrike" kern="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 Light"/>
                <a:ea typeface="Roboto"/>
                <a:cs typeface="Mukta Bold"/>
                <a:sym typeface="Mukta"/>
              </a:rPr>
              <a:t>, </a:t>
            </a:r>
            <a: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  <a:t>co ją </a:t>
            </a:r>
            <a:r>
              <a:rPr lang="pl-PL" sz="1500" kern="0">
                <a:solidFill>
                  <a:srgbClr val="D61B6B"/>
                </a:solidFill>
                <a:latin typeface="+mj-lt"/>
                <a:ea typeface="Roboto"/>
                <a:sym typeface="Mukta"/>
              </a:rPr>
              <a:t>motywuje</a:t>
            </a:r>
            <a:r>
              <a:rPr kumimoji="0" lang="pl-PL" sz="1500" b="1" i="0" u="none" strike="noStrike" kern="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 Light"/>
                <a:ea typeface="Roboto"/>
                <a:cs typeface="Mukta Bold"/>
                <a:sym typeface="Mukta"/>
              </a:rPr>
              <a:t> </a:t>
            </a:r>
            <a:r>
              <a:rPr lang="pl-PL" sz="1500" kern="0">
                <a:solidFill>
                  <a:srgbClr val="000000"/>
                </a:solidFill>
                <a:latin typeface="Roboto Light"/>
                <a:ea typeface="Roboto"/>
                <a:cs typeface="Mukta Regular"/>
                <a:sym typeface="Mukta"/>
              </a:rPr>
              <a:t>lub</a:t>
            </a:r>
            <a:r>
              <a:rPr kumimoji="0" lang="pl-PL" sz="1500" b="1" i="0" u="none" strike="noStrike" kern="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 Light"/>
                <a:ea typeface="Roboto"/>
                <a:cs typeface="Mukta Bold"/>
                <a:sym typeface="Mukta"/>
              </a:rPr>
              <a:t> </a:t>
            </a:r>
            <a:r>
              <a:rPr lang="pl-PL" sz="1500" kern="0">
                <a:solidFill>
                  <a:srgbClr val="D61B6B"/>
                </a:solidFill>
                <a:latin typeface="+mj-lt"/>
                <a:ea typeface="Roboto"/>
                <a:sym typeface="Mukta"/>
              </a:rPr>
              <a:t>demotywuje</a:t>
            </a:r>
            <a: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1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Roboto"/>
              <a:cs typeface="Mukta Regular"/>
              <a:sym typeface="Mukta"/>
            </a:endParaRPr>
          </a:p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  <a:t>Narzędzie jest wykorzystywane zarówno w pracy </a:t>
            </a:r>
            <a:r>
              <a:rPr lang="pl-PL" sz="1500" kern="0">
                <a:solidFill>
                  <a:srgbClr val="D61B6B"/>
                </a:solidFill>
                <a:latin typeface="+mj-lt"/>
                <a:ea typeface="Roboto"/>
                <a:sym typeface="Mukta"/>
              </a:rPr>
              <a:t>indywidualnej</a:t>
            </a:r>
            <a: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  <a:t>, jak i </a:t>
            </a:r>
            <a:r>
              <a:rPr lang="pl-PL" sz="1500" kern="0">
                <a:solidFill>
                  <a:srgbClr val="D61B6B"/>
                </a:solidFill>
                <a:latin typeface="+mj-lt"/>
                <a:ea typeface="Roboto"/>
                <a:sym typeface="Mukta"/>
              </a:rPr>
              <a:t>zespołowej</a:t>
            </a:r>
            <a: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1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Roboto"/>
              <a:cs typeface="Mukta Regular"/>
              <a:sym typeface="Mukta"/>
            </a:endParaRPr>
          </a:p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  <a:t>Dzięki </a:t>
            </a:r>
            <a:r>
              <a:rPr lang="pl-PL" sz="1500" kern="0">
                <a:solidFill>
                  <a:srgbClr val="D61B6B"/>
                </a:solidFill>
                <a:latin typeface="+mj-lt"/>
                <a:ea typeface="Roboto"/>
                <a:sym typeface="Mukta"/>
              </a:rPr>
              <a:t>uniwersum</a:t>
            </a:r>
            <a:r>
              <a:rPr kumimoji="0" lang="pl-PL" sz="1500" b="1" i="0" u="none" strike="noStrike" kern="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 Light"/>
                <a:ea typeface="Roboto"/>
                <a:cs typeface="Mukta Bold"/>
                <a:sym typeface="Mukta"/>
              </a:rPr>
              <a:t> </a:t>
            </a:r>
            <a:r>
              <a:rPr lang="pl-PL" sz="1500" kern="0">
                <a:solidFill>
                  <a:srgbClr val="D61B6B"/>
                </a:solidFill>
                <a:latin typeface="+mj-lt"/>
                <a:ea typeface="Roboto"/>
                <a:sym typeface="Mukta"/>
              </a:rPr>
              <a:t>raportów</a:t>
            </a:r>
            <a:r>
              <a:rPr kumimoji="0" lang="pl-PL" sz="1500" b="1" i="0" u="none" strike="noStrike" kern="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 Light"/>
                <a:ea typeface="Roboto"/>
                <a:cs typeface="Mukta Bold"/>
                <a:sym typeface="Mukta"/>
              </a:rPr>
              <a:t> </a:t>
            </a:r>
            <a: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  <a:t>Extended DISC</a:t>
            </a:r>
            <a:r>
              <a:rPr lang="pl-PL" sz="1600" baseline="30000">
                <a:solidFill>
                  <a:schemeClr val="tx1"/>
                </a:solidFill>
                <a:ea typeface="Roboto"/>
                <a:cs typeface="Roboto"/>
              </a:rPr>
              <a:t>®</a:t>
            </a:r>
            <a:r>
              <a:rPr kumimoji="0" lang="pl-PL" sz="15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Mukta Regular"/>
                <a:sym typeface="Mukta"/>
              </a:rPr>
              <a:t> wspiera wiele obszarów związanych z ludźmi w organizacjach. </a:t>
            </a:r>
            <a:endParaRPr kumimoji="0" sz="15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Roboto"/>
              <a:cs typeface="Mukta Regular"/>
              <a:sym typeface="Mukta"/>
            </a:endParaRPr>
          </a:p>
        </p:txBody>
      </p:sp>
      <p:sp>
        <p:nvSpPr>
          <p:cNvPr id="49" name="Graphic 46">
            <a:extLst>
              <a:ext uri="{FF2B5EF4-FFF2-40B4-BE49-F238E27FC236}">
                <a16:creationId xmlns:a16="http://schemas.microsoft.com/office/drawing/2014/main" id="{A9121216-75A1-C8B3-90AD-83565E9E26DA}"/>
              </a:ext>
            </a:extLst>
          </p:cNvPr>
          <p:cNvSpPr/>
          <p:nvPr/>
        </p:nvSpPr>
        <p:spPr>
          <a:xfrm rot="16387856">
            <a:off x="6340196" y="5101392"/>
            <a:ext cx="504974" cy="579576"/>
          </a:xfrm>
          <a:custGeom>
            <a:avLst/>
            <a:gdLst>
              <a:gd name="connsiteX0" fmla="*/ 376 w 1467308"/>
              <a:gd name="connsiteY0" fmla="*/ -404 h 1684078"/>
              <a:gd name="connsiteX1" fmla="*/ 700464 w 1467308"/>
              <a:gd name="connsiteY1" fmla="*/ 1166409 h 1684078"/>
              <a:gd name="connsiteX2" fmla="*/ 662364 w 1467308"/>
              <a:gd name="connsiteY2" fmla="*/ 756834 h 1684078"/>
              <a:gd name="connsiteX3" fmla="*/ 1467226 w 1467308"/>
              <a:gd name="connsiteY3" fmla="*/ 1666471 h 1684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67308" h="1684078">
                <a:moveTo>
                  <a:pt x="376" y="-404"/>
                </a:moveTo>
                <a:cubicBezTo>
                  <a:pt x="376" y="-404"/>
                  <a:pt x="-42486" y="1271184"/>
                  <a:pt x="700464" y="1166409"/>
                </a:cubicBezTo>
                <a:cubicBezTo>
                  <a:pt x="945066" y="1131928"/>
                  <a:pt x="976689" y="718734"/>
                  <a:pt x="662364" y="756834"/>
                </a:cubicBezTo>
                <a:cubicBezTo>
                  <a:pt x="348039" y="794934"/>
                  <a:pt x="267076" y="1828396"/>
                  <a:pt x="1467226" y="1666471"/>
                </a:cubicBezTo>
              </a:path>
            </a:pathLst>
          </a:custGeom>
          <a:noFill/>
          <a:ln w="25400" cap="rnd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tailEnd type="arrow" w="med" len="sm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grpSp>
        <p:nvGrpSpPr>
          <p:cNvPr id="25" name="Grupa 24">
            <a:extLst>
              <a:ext uri="{FF2B5EF4-FFF2-40B4-BE49-F238E27FC236}">
                <a16:creationId xmlns:a16="http://schemas.microsoft.com/office/drawing/2014/main" id="{57F95C39-C722-2D2B-4E4A-6B7B1F15980D}"/>
              </a:ext>
            </a:extLst>
          </p:cNvPr>
          <p:cNvGrpSpPr/>
          <p:nvPr/>
        </p:nvGrpSpPr>
        <p:grpSpPr>
          <a:xfrm>
            <a:off x="10329201" y="335359"/>
            <a:ext cx="1040844" cy="1018146"/>
            <a:chOff x="273882" y="5040015"/>
            <a:chExt cx="1040844" cy="1018146"/>
          </a:xfrm>
        </p:grpSpPr>
        <p:sp>
          <p:nvSpPr>
            <p:cNvPr id="33" name="Owal 32">
              <a:extLst>
                <a:ext uri="{FF2B5EF4-FFF2-40B4-BE49-F238E27FC236}">
                  <a16:creationId xmlns:a16="http://schemas.microsoft.com/office/drawing/2014/main" id="{F82A9C52-F91B-CDC5-D32A-AAD8911B1D54}"/>
                </a:ext>
              </a:extLst>
            </p:cNvPr>
            <p:cNvSpPr/>
            <p:nvPr/>
          </p:nvSpPr>
          <p:spPr>
            <a:xfrm flipH="1" flipV="1">
              <a:off x="280204" y="5040015"/>
              <a:ext cx="1034522" cy="1018146"/>
            </a:xfrm>
            <a:prstGeom prst="ellipse">
              <a:avLst/>
            </a:prstGeom>
            <a:pattFill prst="dotDmnd">
              <a:fgClr>
                <a:srgbClr val="F4CBDF"/>
              </a:fgClr>
              <a:bgClr>
                <a:srgbClr val="F4F6FA"/>
              </a:bgClr>
            </a:pattFill>
            <a:ln w="2363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anose="00000500000000000000" pitchFamily="2" charset="-18"/>
                <a:ea typeface="+mn-ea"/>
                <a:cs typeface="+mn-cs"/>
              </a:endParaRPr>
            </a:p>
          </p:txBody>
        </p:sp>
        <p:sp>
          <p:nvSpPr>
            <p:cNvPr id="41" name="Dowolny kształt: kształt 40">
              <a:extLst>
                <a:ext uri="{FF2B5EF4-FFF2-40B4-BE49-F238E27FC236}">
                  <a16:creationId xmlns:a16="http://schemas.microsoft.com/office/drawing/2014/main" id="{3FC73408-1EE9-F179-811A-3A6328ED681A}"/>
                </a:ext>
              </a:extLst>
            </p:cNvPr>
            <p:cNvSpPr/>
            <p:nvPr/>
          </p:nvSpPr>
          <p:spPr>
            <a:xfrm rot="18982051" flipH="1">
              <a:off x="424369" y="5137909"/>
              <a:ext cx="761809" cy="762761"/>
            </a:xfrm>
            <a:custGeom>
              <a:avLst/>
              <a:gdLst>
                <a:gd name="connsiteX0" fmla="*/ 761809 w 761809"/>
                <a:gd name="connsiteY0" fmla="*/ 389191 h 762761"/>
                <a:gd name="connsiteX1" fmla="*/ 388239 w 761809"/>
                <a:gd name="connsiteY1" fmla="*/ 762762 h 762761"/>
                <a:gd name="connsiteX2" fmla="*/ 0 w 761809"/>
                <a:gd name="connsiteY2" fmla="*/ 381953 h 762761"/>
                <a:gd name="connsiteX3" fmla="*/ 410146 w 761809"/>
                <a:gd name="connsiteY3" fmla="*/ 0 h 762761"/>
                <a:gd name="connsiteX4" fmla="*/ 761809 w 761809"/>
                <a:gd name="connsiteY4" fmla="*/ 389191 h 762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1809" h="762761">
                  <a:moveTo>
                    <a:pt x="761809" y="389191"/>
                  </a:moveTo>
                  <a:cubicBezTo>
                    <a:pt x="761809" y="595503"/>
                    <a:pt x="594550" y="762762"/>
                    <a:pt x="388239" y="762762"/>
                  </a:cubicBezTo>
                  <a:cubicBezTo>
                    <a:pt x="181928" y="762762"/>
                    <a:pt x="0" y="588264"/>
                    <a:pt x="0" y="381953"/>
                  </a:cubicBezTo>
                  <a:cubicBezTo>
                    <a:pt x="0" y="175641"/>
                    <a:pt x="203835" y="0"/>
                    <a:pt x="410146" y="0"/>
                  </a:cubicBezTo>
                  <a:cubicBezTo>
                    <a:pt x="616458" y="0"/>
                    <a:pt x="761809" y="182880"/>
                    <a:pt x="761809" y="38919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43" name="Dowolny kształt: kształt 42">
              <a:extLst>
                <a:ext uri="{FF2B5EF4-FFF2-40B4-BE49-F238E27FC236}">
                  <a16:creationId xmlns:a16="http://schemas.microsoft.com/office/drawing/2014/main" id="{F6540547-5294-B40D-2AFA-134226D8A57F}"/>
                </a:ext>
              </a:extLst>
            </p:cNvPr>
            <p:cNvSpPr/>
            <p:nvPr/>
          </p:nvSpPr>
          <p:spPr>
            <a:xfrm rot="18982051" flipH="1">
              <a:off x="273882" y="5433520"/>
              <a:ext cx="491299" cy="496182"/>
            </a:xfrm>
            <a:custGeom>
              <a:avLst/>
              <a:gdLst>
                <a:gd name="connsiteX0" fmla="*/ 457 w 491299"/>
                <a:gd name="connsiteY0" fmla="*/ 219097 h 496182"/>
                <a:gd name="connsiteX1" fmla="*/ 282682 w 491299"/>
                <a:gd name="connsiteY1" fmla="*/ 784 h 496182"/>
                <a:gd name="connsiteX2" fmla="*/ 490327 w 491299"/>
                <a:gd name="connsiteY2" fmla="*/ 256435 h 496182"/>
                <a:gd name="connsiteX3" fmla="*/ 240010 w 491299"/>
                <a:gd name="connsiteY3" fmla="*/ 496084 h 496182"/>
                <a:gd name="connsiteX4" fmla="*/ 361 w 491299"/>
                <a:gd name="connsiteY4" fmla="*/ 219192 h 496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1299" h="496182">
                  <a:moveTo>
                    <a:pt x="457" y="219097"/>
                  </a:moveTo>
                  <a:cubicBezTo>
                    <a:pt x="457" y="219097"/>
                    <a:pt x="245440" y="-15218"/>
                    <a:pt x="282682" y="784"/>
                  </a:cubicBezTo>
                  <a:cubicBezTo>
                    <a:pt x="319925" y="16786"/>
                    <a:pt x="506329" y="224431"/>
                    <a:pt x="490327" y="256435"/>
                  </a:cubicBezTo>
                  <a:cubicBezTo>
                    <a:pt x="474325" y="288439"/>
                    <a:pt x="261346" y="501418"/>
                    <a:pt x="240010" y="496084"/>
                  </a:cubicBezTo>
                  <a:cubicBezTo>
                    <a:pt x="218674" y="490750"/>
                    <a:pt x="-10307" y="245767"/>
                    <a:pt x="361" y="219192"/>
                  </a:cubicBezTo>
                  <a:close/>
                </a:path>
              </a:pathLst>
            </a:custGeom>
            <a:solidFill>
              <a:srgbClr val="F4CBD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50" name="Dowolny kształt: kształt 49">
              <a:extLst>
                <a:ext uri="{FF2B5EF4-FFF2-40B4-BE49-F238E27FC236}">
                  <a16:creationId xmlns:a16="http://schemas.microsoft.com/office/drawing/2014/main" id="{9281A462-EBA1-6A78-FFD4-2392CCA15EB0}"/>
                </a:ext>
              </a:extLst>
            </p:cNvPr>
            <p:cNvSpPr/>
            <p:nvPr/>
          </p:nvSpPr>
          <p:spPr>
            <a:xfrm rot="18982051" flipH="1">
              <a:off x="1043873" y="5255002"/>
              <a:ext cx="250316" cy="250316"/>
            </a:xfrm>
            <a:custGeom>
              <a:avLst/>
              <a:gdLst>
                <a:gd name="connsiteX0" fmla="*/ 250317 w 250316"/>
                <a:gd name="connsiteY0" fmla="*/ 125159 h 250316"/>
                <a:gd name="connsiteX1" fmla="*/ 125158 w 250316"/>
                <a:gd name="connsiteY1" fmla="*/ 250317 h 250316"/>
                <a:gd name="connsiteX2" fmla="*/ 0 w 250316"/>
                <a:gd name="connsiteY2" fmla="*/ 125159 h 250316"/>
                <a:gd name="connsiteX3" fmla="*/ 125158 w 250316"/>
                <a:gd name="connsiteY3" fmla="*/ 0 h 250316"/>
                <a:gd name="connsiteX4" fmla="*/ 250317 w 250316"/>
                <a:gd name="connsiteY4" fmla="*/ 125159 h 250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316" h="250316">
                  <a:moveTo>
                    <a:pt x="250317" y="125159"/>
                  </a:moveTo>
                  <a:cubicBezTo>
                    <a:pt x="250317" y="194282"/>
                    <a:pt x="194282" y="250317"/>
                    <a:pt x="125158" y="250317"/>
                  </a:cubicBezTo>
                  <a:cubicBezTo>
                    <a:pt x="56035" y="250317"/>
                    <a:pt x="0" y="194282"/>
                    <a:pt x="0" y="125159"/>
                  </a:cubicBezTo>
                  <a:cubicBezTo>
                    <a:pt x="0" y="56035"/>
                    <a:pt x="56035" y="0"/>
                    <a:pt x="125158" y="0"/>
                  </a:cubicBezTo>
                  <a:cubicBezTo>
                    <a:pt x="194282" y="0"/>
                    <a:pt x="250317" y="56035"/>
                    <a:pt x="250317" y="125159"/>
                  </a:cubicBezTo>
                  <a:close/>
                </a:path>
              </a:pathLst>
            </a:custGeom>
            <a:noFill/>
            <a:ln w="152400" cap="rnd">
              <a:solidFill>
                <a:srgbClr val="DA3A7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51" name="Dowolny kształt: kształt 50">
              <a:extLst>
                <a:ext uri="{FF2B5EF4-FFF2-40B4-BE49-F238E27FC236}">
                  <a16:creationId xmlns:a16="http://schemas.microsoft.com/office/drawing/2014/main" id="{9A85F2DE-2006-2C85-3C2D-F00A5C26A23E}"/>
                </a:ext>
              </a:extLst>
            </p:cNvPr>
            <p:cNvSpPr/>
            <p:nvPr/>
          </p:nvSpPr>
          <p:spPr>
            <a:xfrm rot="18982051" flipH="1">
              <a:off x="500573" y="5260531"/>
              <a:ext cx="429513" cy="181775"/>
            </a:xfrm>
            <a:custGeom>
              <a:avLst/>
              <a:gdLst>
                <a:gd name="connsiteX0" fmla="*/ 31 w 429513"/>
                <a:gd name="connsiteY0" fmla="*/ 181776 h 181775"/>
                <a:gd name="connsiteX1" fmla="*/ 429513 w 429513"/>
                <a:gd name="connsiteY1" fmla="*/ 17755 h 181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9513" h="181775">
                  <a:moveTo>
                    <a:pt x="31" y="181776"/>
                  </a:moveTo>
                  <a:cubicBezTo>
                    <a:pt x="-2160" y="175299"/>
                    <a:pt x="112235" y="-66350"/>
                    <a:pt x="429513" y="17755"/>
                  </a:cubicBezTo>
                </a:path>
              </a:pathLst>
            </a:custGeom>
            <a:noFill/>
            <a:ln w="19050" cap="rnd">
              <a:solidFill>
                <a:srgbClr val="DA3A7F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grpSp>
        <p:nvGrpSpPr>
          <p:cNvPr id="11" name="Grupa 10">
            <a:extLst>
              <a:ext uri="{FF2B5EF4-FFF2-40B4-BE49-F238E27FC236}">
                <a16:creationId xmlns:a16="http://schemas.microsoft.com/office/drawing/2014/main" id="{0F1F9CD5-33DA-BF88-42DD-857F54D23200}"/>
              </a:ext>
            </a:extLst>
          </p:cNvPr>
          <p:cNvGrpSpPr/>
          <p:nvPr/>
        </p:nvGrpSpPr>
        <p:grpSpPr>
          <a:xfrm>
            <a:off x="6458657" y="1335237"/>
            <a:ext cx="5733343" cy="3740372"/>
            <a:chOff x="5942678" y="1967907"/>
            <a:chExt cx="6512636" cy="4248778"/>
          </a:xfrm>
        </p:grpSpPr>
        <p:sp>
          <p:nvSpPr>
            <p:cNvPr id="48" name="Freeform: Shape 34">
              <a:extLst>
                <a:ext uri="{FF2B5EF4-FFF2-40B4-BE49-F238E27FC236}">
                  <a16:creationId xmlns:a16="http://schemas.microsoft.com/office/drawing/2014/main" id="{9EF03A37-314A-D45F-2501-6D8965ABFFD2}"/>
                </a:ext>
              </a:extLst>
            </p:cNvPr>
            <p:cNvSpPr/>
            <p:nvPr/>
          </p:nvSpPr>
          <p:spPr>
            <a:xfrm>
              <a:off x="6739563" y="1967907"/>
              <a:ext cx="569816" cy="831865"/>
            </a:xfrm>
            <a:custGeom>
              <a:avLst/>
              <a:gdLst>
                <a:gd name="connsiteX0" fmla="*/ 546957 w 569816"/>
                <a:gd name="connsiteY0" fmla="*/ 786146 h 831865"/>
                <a:gd name="connsiteX1" fmla="*/ 569816 w 569816"/>
                <a:gd name="connsiteY1" fmla="*/ 809006 h 831865"/>
                <a:gd name="connsiteX2" fmla="*/ 546957 w 569816"/>
                <a:gd name="connsiteY2" fmla="*/ 831865 h 831865"/>
                <a:gd name="connsiteX3" fmla="*/ 524097 w 569816"/>
                <a:gd name="connsiteY3" fmla="*/ 809006 h 831865"/>
                <a:gd name="connsiteX4" fmla="*/ 546957 w 569816"/>
                <a:gd name="connsiteY4" fmla="*/ 786146 h 831865"/>
                <a:gd name="connsiteX5" fmla="*/ 284908 w 569816"/>
                <a:gd name="connsiteY5" fmla="*/ 786146 h 831865"/>
                <a:gd name="connsiteX6" fmla="*/ 307767 w 569816"/>
                <a:gd name="connsiteY6" fmla="*/ 809006 h 831865"/>
                <a:gd name="connsiteX7" fmla="*/ 284908 w 569816"/>
                <a:gd name="connsiteY7" fmla="*/ 831865 h 831865"/>
                <a:gd name="connsiteX8" fmla="*/ 262048 w 569816"/>
                <a:gd name="connsiteY8" fmla="*/ 809006 h 831865"/>
                <a:gd name="connsiteX9" fmla="*/ 284908 w 569816"/>
                <a:gd name="connsiteY9" fmla="*/ 786146 h 831865"/>
                <a:gd name="connsiteX10" fmla="*/ 22860 w 569816"/>
                <a:gd name="connsiteY10" fmla="*/ 786146 h 831865"/>
                <a:gd name="connsiteX11" fmla="*/ 45719 w 569816"/>
                <a:gd name="connsiteY11" fmla="*/ 809006 h 831865"/>
                <a:gd name="connsiteX12" fmla="*/ 22860 w 569816"/>
                <a:gd name="connsiteY12" fmla="*/ 831865 h 831865"/>
                <a:gd name="connsiteX13" fmla="*/ 0 w 569816"/>
                <a:gd name="connsiteY13" fmla="*/ 809006 h 831865"/>
                <a:gd name="connsiteX14" fmla="*/ 22860 w 569816"/>
                <a:gd name="connsiteY14" fmla="*/ 786146 h 831865"/>
                <a:gd name="connsiteX15" fmla="*/ 546957 w 569816"/>
                <a:gd name="connsiteY15" fmla="*/ 524097 h 831865"/>
                <a:gd name="connsiteX16" fmla="*/ 569816 w 569816"/>
                <a:gd name="connsiteY16" fmla="*/ 546957 h 831865"/>
                <a:gd name="connsiteX17" fmla="*/ 546957 w 569816"/>
                <a:gd name="connsiteY17" fmla="*/ 569816 h 831865"/>
                <a:gd name="connsiteX18" fmla="*/ 524097 w 569816"/>
                <a:gd name="connsiteY18" fmla="*/ 546957 h 831865"/>
                <a:gd name="connsiteX19" fmla="*/ 546957 w 569816"/>
                <a:gd name="connsiteY19" fmla="*/ 524097 h 831865"/>
                <a:gd name="connsiteX20" fmla="*/ 284908 w 569816"/>
                <a:gd name="connsiteY20" fmla="*/ 524097 h 831865"/>
                <a:gd name="connsiteX21" fmla="*/ 307767 w 569816"/>
                <a:gd name="connsiteY21" fmla="*/ 546957 h 831865"/>
                <a:gd name="connsiteX22" fmla="*/ 284908 w 569816"/>
                <a:gd name="connsiteY22" fmla="*/ 569816 h 831865"/>
                <a:gd name="connsiteX23" fmla="*/ 262048 w 569816"/>
                <a:gd name="connsiteY23" fmla="*/ 546957 h 831865"/>
                <a:gd name="connsiteX24" fmla="*/ 284908 w 569816"/>
                <a:gd name="connsiteY24" fmla="*/ 524097 h 831865"/>
                <a:gd name="connsiteX25" fmla="*/ 22860 w 569816"/>
                <a:gd name="connsiteY25" fmla="*/ 524097 h 831865"/>
                <a:gd name="connsiteX26" fmla="*/ 45719 w 569816"/>
                <a:gd name="connsiteY26" fmla="*/ 546957 h 831865"/>
                <a:gd name="connsiteX27" fmla="*/ 22860 w 569816"/>
                <a:gd name="connsiteY27" fmla="*/ 569816 h 831865"/>
                <a:gd name="connsiteX28" fmla="*/ 0 w 569816"/>
                <a:gd name="connsiteY28" fmla="*/ 546957 h 831865"/>
                <a:gd name="connsiteX29" fmla="*/ 22860 w 569816"/>
                <a:gd name="connsiteY29" fmla="*/ 524097 h 831865"/>
                <a:gd name="connsiteX30" fmla="*/ 546957 w 569816"/>
                <a:gd name="connsiteY30" fmla="*/ 262048 h 831865"/>
                <a:gd name="connsiteX31" fmla="*/ 569816 w 569816"/>
                <a:gd name="connsiteY31" fmla="*/ 284908 h 831865"/>
                <a:gd name="connsiteX32" fmla="*/ 546957 w 569816"/>
                <a:gd name="connsiteY32" fmla="*/ 307767 h 831865"/>
                <a:gd name="connsiteX33" fmla="*/ 524097 w 569816"/>
                <a:gd name="connsiteY33" fmla="*/ 284908 h 831865"/>
                <a:gd name="connsiteX34" fmla="*/ 546957 w 569816"/>
                <a:gd name="connsiteY34" fmla="*/ 262048 h 831865"/>
                <a:gd name="connsiteX35" fmla="*/ 284908 w 569816"/>
                <a:gd name="connsiteY35" fmla="*/ 262048 h 831865"/>
                <a:gd name="connsiteX36" fmla="*/ 307767 w 569816"/>
                <a:gd name="connsiteY36" fmla="*/ 284908 h 831865"/>
                <a:gd name="connsiteX37" fmla="*/ 284908 w 569816"/>
                <a:gd name="connsiteY37" fmla="*/ 307767 h 831865"/>
                <a:gd name="connsiteX38" fmla="*/ 262048 w 569816"/>
                <a:gd name="connsiteY38" fmla="*/ 284908 h 831865"/>
                <a:gd name="connsiteX39" fmla="*/ 284908 w 569816"/>
                <a:gd name="connsiteY39" fmla="*/ 262048 h 831865"/>
                <a:gd name="connsiteX40" fmla="*/ 22860 w 569816"/>
                <a:gd name="connsiteY40" fmla="*/ 262048 h 831865"/>
                <a:gd name="connsiteX41" fmla="*/ 45719 w 569816"/>
                <a:gd name="connsiteY41" fmla="*/ 284908 h 831865"/>
                <a:gd name="connsiteX42" fmla="*/ 22860 w 569816"/>
                <a:gd name="connsiteY42" fmla="*/ 307767 h 831865"/>
                <a:gd name="connsiteX43" fmla="*/ 0 w 569816"/>
                <a:gd name="connsiteY43" fmla="*/ 284908 h 831865"/>
                <a:gd name="connsiteX44" fmla="*/ 22860 w 569816"/>
                <a:gd name="connsiteY44" fmla="*/ 262048 h 831865"/>
                <a:gd name="connsiteX45" fmla="*/ 546957 w 569816"/>
                <a:gd name="connsiteY45" fmla="*/ 0 h 831865"/>
                <a:gd name="connsiteX46" fmla="*/ 569816 w 569816"/>
                <a:gd name="connsiteY46" fmla="*/ 22860 h 831865"/>
                <a:gd name="connsiteX47" fmla="*/ 546957 w 569816"/>
                <a:gd name="connsiteY47" fmla="*/ 45719 h 831865"/>
                <a:gd name="connsiteX48" fmla="*/ 524097 w 569816"/>
                <a:gd name="connsiteY48" fmla="*/ 22860 h 831865"/>
                <a:gd name="connsiteX49" fmla="*/ 546957 w 569816"/>
                <a:gd name="connsiteY49" fmla="*/ 0 h 831865"/>
                <a:gd name="connsiteX50" fmla="*/ 284908 w 569816"/>
                <a:gd name="connsiteY50" fmla="*/ 0 h 831865"/>
                <a:gd name="connsiteX51" fmla="*/ 307767 w 569816"/>
                <a:gd name="connsiteY51" fmla="*/ 22860 h 831865"/>
                <a:gd name="connsiteX52" fmla="*/ 284908 w 569816"/>
                <a:gd name="connsiteY52" fmla="*/ 45719 h 831865"/>
                <a:gd name="connsiteX53" fmla="*/ 262048 w 569816"/>
                <a:gd name="connsiteY53" fmla="*/ 22860 h 831865"/>
                <a:gd name="connsiteX54" fmla="*/ 284908 w 569816"/>
                <a:gd name="connsiteY54" fmla="*/ 0 h 831865"/>
                <a:gd name="connsiteX55" fmla="*/ 22860 w 569816"/>
                <a:gd name="connsiteY55" fmla="*/ 0 h 831865"/>
                <a:gd name="connsiteX56" fmla="*/ 45719 w 569816"/>
                <a:gd name="connsiteY56" fmla="*/ 22860 h 831865"/>
                <a:gd name="connsiteX57" fmla="*/ 22860 w 569816"/>
                <a:gd name="connsiteY57" fmla="*/ 45719 h 831865"/>
                <a:gd name="connsiteX58" fmla="*/ 0 w 569816"/>
                <a:gd name="connsiteY58" fmla="*/ 22860 h 831865"/>
                <a:gd name="connsiteX59" fmla="*/ 22860 w 569816"/>
                <a:gd name="connsiteY59" fmla="*/ 0 h 831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569816" h="831865">
                  <a:moveTo>
                    <a:pt x="546957" y="786146"/>
                  </a:moveTo>
                  <a:cubicBezTo>
                    <a:pt x="559582" y="786146"/>
                    <a:pt x="569816" y="796380"/>
                    <a:pt x="569816" y="809006"/>
                  </a:cubicBezTo>
                  <a:cubicBezTo>
                    <a:pt x="569816" y="821631"/>
                    <a:pt x="559582" y="831865"/>
                    <a:pt x="546957" y="831865"/>
                  </a:cubicBezTo>
                  <a:cubicBezTo>
                    <a:pt x="534332" y="831865"/>
                    <a:pt x="524097" y="821631"/>
                    <a:pt x="524097" y="809006"/>
                  </a:cubicBezTo>
                  <a:cubicBezTo>
                    <a:pt x="524097" y="796380"/>
                    <a:pt x="534332" y="786146"/>
                    <a:pt x="546957" y="786146"/>
                  </a:cubicBezTo>
                  <a:close/>
                  <a:moveTo>
                    <a:pt x="284908" y="786146"/>
                  </a:moveTo>
                  <a:cubicBezTo>
                    <a:pt x="297533" y="786146"/>
                    <a:pt x="307767" y="796380"/>
                    <a:pt x="307767" y="809006"/>
                  </a:cubicBezTo>
                  <a:cubicBezTo>
                    <a:pt x="307767" y="821631"/>
                    <a:pt x="297533" y="831865"/>
                    <a:pt x="284908" y="831865"/>
                  </a:cubicBezTo>
                  <a:cubicBezTo>
                    <a:pt x="272283" y="831865"/>
                    <a:pt x="262048" y="821631"/>
                    <a:pt x="262048" y="809006"/>
                  </a:cubicBezTo>
                  <a:cubicBezTo>
                    <a:pt x="262048" y="796380"/>
                    <a:pt x="272283" y="786146"/>
                    <a:pt x="284908" y="786146"/>
                  </a:cubicBezTo>
                  <a:close/>
                  <a:moveTo>
                    <a:pt x="22860" y="786146"/>
                  </a:moveTo>
                  <a:cubicBezTo>
                    <a:pt x="35485" y="786146"/>
                    <a:pt x="45719" y="796380"/>
                    <a:pt x="45719" y="809006"/>
                  </a:cubicBezTo>
                  <a:cubicBezTo>
                    <a:pt x="45719" y="821631"/>
                    <a:pt x="35485" y="831865"/>
                    <a:pt x="22860" y="831865"/>
                  </a:cubicBezTo>
                  <a:cubicBezTo>
                    <a:pt x="10235" y="831865"/>
                    <a:pt x="0" y="821631"/>
                    <a:pt x="0" y="809006"/>
                  </a:cubicBezTo>
                  <a:cubicBezTo>
                    <a:pt x="0" y="796380"/>
                    <a:pt x="10235" y="786146"/>
                    <a:pt x="22860" y="786146"/>
                  </a:cubicBezTo>
                  <a:close/>
                  <a:moveTo>
                    <a:pt x="546957" y="524097"/>
                  </a:moveTo>
                  <a:cubicBezTo>
                    <a:pt x="559582" y="524097"/>
                    <a:pt x="569816" y="534331"/>
                    <a:pt x="569816" y="546957"/>
                  </a:cubicBezTo>
                  <a:cubicBezTo>
                    <a:pt x="569816" y="559582"/>
                    <a:pt x="559582" y="569816"/>
                    <a:pt x="546957" y="569816"/>
                  </a:cubicBezTo>
                  <a:cubicBezTo>
                    <a:pt x="534332" y="569816"/>
                    <a:pt x="524097" y="559582"/>
                    <a:pt x="524097" y="546957"/>
                  </a:cubicBezTo>
                  <a:cubicBezTo>
                    <a:pt x="524097" y="534331"/>
                    <a:pt x="534332" y="524097"/>
                    <a:pt x="546957" y="524097"/>
                  </a:cubicBezTo>
                  <a:close/>
                  <a:moveTo>
                    <a:pt x="284908" y="524097"/>
                  </a:moveTo>
                  <a:cubicBezTo>
                    <a:pt x="297533" y="524097"/>
                    <a:pt x="307767" y="534331"/>
                    <a:pt x="307767" y="546957"/>
                  </a:cubicBezTo>
                  <a:cubicBezTo>
                    <a:pt x="307767" y="559582"/>
                    <a:pt x="297533" y="569816"/>
                    <a:pt x="284908" y="569816"/>
                  </a:cubicBezTo>
                  <a:cubicBezTo>
                    <a:pt x="272283" y="569816"/>
                    <a:pt x="262048" y="559582"/>
                    <a:pt x="262048" y="546957"/>
                  </a:cubicBezTo>
                  <a:cubicBezTo>
                    <a:pt x="262048" y="534331"/>
                    <a:pt x="272283" y="524097"/>
                    <a:pt x="284908" y="524097"/>
                  </a:cubicBezTo>
                  <a:close/>
                  <a:moveTo>
                    <a:pt x="22860" y="524097"/>
                  </a:moveTo>
                  <a:cubicBezTo>
                    <a:pt x="35485" y="524097"/>
                    <a:pt x="45719" y="534331"/>
                    <a:pt x="45719" y="546957"/>
                  </a:cubicBezTo>
                  <a:cubicBezTo>
                    <a:pt x="45719" y="559582"/>
                    <a:pt x="35485" y="569816"/>
                    <a:pt x="22860" y="569816"/>
                  </a:cubicBezTo>
                  <a:cubicBezTo>
                    <a:pt x="10235" y="569816"/>
                    <a:pt x="0" y="559582"/>
                    <a:pt x="0" y="546957"/>
                  </a:cubicBezTo>
                  <a:cubicBezTo>
                    <a:pt x="0" y="534331"/>
                    <a:pt x="10235" y="524097"/>
                    <a:pt x="22860" y="524097"/>
                  </a:cubicBezTo>
                  <a:close/>
                  <a:moveTo>
                    <a:pt x="546957" y="262048"/>
                  </a:moveTo>
                  <a:cubicBezTo>
                    <a:pt x="559582" y="262048"/>
                    <a:pt x="569816" y="272282"/>
                    <a:pt x="569816" y="284908"/>
                  </a:cubicBezTo>
                  <a:cubicBezTo>
                    <a:pt x="569816" y="297533"/>
                    <a:pt x="559582" y="307767"/>
                    <a:pt x="546957" y="307767"/>
                  </a:cubicBezTo>
                  <a:cubicBezTo>
                    <a:pt x="534332" y="307767"/>
                    <a:pt x="524097" y="297533"/>
                    <a:pt x="524097" y="284908"/>
                  </a:cubicBezTo>
                  <a:cubicBezTo>
                    <a:pt x="524097" y="272282"/>
                    <a:pt x="534332" y="262048"/>
                    <a:pt x="546957" y="262048"/>
                  </a:cubicBezTo>
                  <a:close/>
                  <a:moveTo>
                    <a:pt x="284908" y="262048"/>
                  </a:moveTo>
                  <a:cubicBezTo>
                    <a:pt x="297533" y="262048"/>
                    <a:pt x="307767" y="272282"/>
                    <a:pt x="307767" y="284908"/>
                  </a:cubicBezTo>
                  <a:cubicBezTo>
                    <a:pt x="307767" y="297533"/>
                    <a:pt x="297533" y="307767"/>
                    <a:pt x="284908" y="307767"/>
                  </a:cubicBezTo>
                  <a:cubicBezTo>
                    <a:pt x="272283" y="307767"/>
                    <a:pt x="262048" y="297533"/>
                    <a:pt x="262048" y="284908"/>
                  </a:cubicBezTo>
                  <a:cubicBezTo>
                    <a:pt x="262048" y="272282"/>
                    <a:pt x="272283" y="262048"/>
                    <a:pt x="284908" y="262048"/>
                  </a:cubicBezTo>
                  <a:close/>
                  <a:moveTo>
                    <a:pt x="22860" y="262048"/>
                  </a:moveTo>
                  <a:cubicBezTo>
                    <a:pt x="35485" y="262048"/>
                    <a:pt x="45719" y="272282"/>
                    <a:pt x="45719" y="284908"/>
                  </a:cubicBezTo>
                  <a:cubicBezTo>
                    <a:pt x="45719" y="297533"/>
                    <a:pt x="35485" y="307767"/>
                    <a:pt x="22860" y="307767"/>
                  </a:cubicBezTo>
                  <a:cubicBezTo>
                    <a:pt x="10235" y="307767"/>
                    <a:pt x="0" y="297533"/>
                    <a:pt x="0" y="284908"/>
                  </a:cubicBezTo>
                  <a:cubicBezTo>
                    <a:pt x="0" y="272282"/>
                    <a:pt x="10235" y="262048"/>
                    <a:pt x="22860" y="262048"/>
                  </a:cubicBezTo>
                  <a:close/>
                  <a:moveTo>
                    <a:pt x="546957" y="0"/>
                  </a:moveTo>
                  <a:cubicBezTo>
                    <a:pt x="559582" y="0"/>
                    <a:pt x="569816" y="10234"/>
                    <a:pt x="569816" y="22860"/>
                  </a:cubicBezTo>
                  <a:cubicBezTo>
                    <a:pt x="569816" y="35485"/>
                    <a:pt x="559582" y="45719"/>
                    <a:pt x="546957" y="45719"/>
                  </a:cubicBezTo>
                  <a:cubicBezTo>
                    <a:pt x="534332" y="45719"/>
                    <a:pt x="524097" y="35485"/>
                    <a:pt x="524097" y="22860"/>
                  </a:cubicBezTo>
                  <a:cubicBezTo>
                    <a:pt x="524097" y="10234"/>
                    <a:pt x="534332" y="0"/>
                    <a:pt x="546957" y="0"/>
                  </a:cubicBezTo>
                  <a:close/>
                  <a:moveTo>
                    <a:pt x="284908" y="0"/>
                  </a:moveTo>
                  <a:cubicBezTo>
                    <a:pt x="297533" y="0"/>
                    <a:pt x="307767" y="10234"/>
                    <a:pt x="307767" y="22860"/>
                  </a:cubicBezTo>
                  <a:cubicBezTo>
                    <a:pt x="307767" y="35485"/>
                    <a:pt x="297533" y="45719"/>
                    <a:pt x="284908" y="45719"/>
                  </a:cubicBezTo>
                  <a:cubicBezTo>
                    <a:pt x="272283" y="45719"/>
                    <a:pt x="262048" y="35485"/>
                    <a:pt x="262048" y="22860"/>
                  </a:cubicBezTo>
                  <a:cubicBezTo>
                    <a:pt x="262048" y="10234"/>
                    <a:pt x="272283" y="0"/>
                    <a:pt x="284908" y="0"/>
                  </a:cubicBezTo>
                  <a:close/>
                  <a:moveTo>
                    <a:pt x="22860" y="0"/>
                  </a:moveTo>
                  <a:cubicBezTo>
                    <a:pt x="35485" y="0"/>
                    <a:pt x="45719" y="10234"/>
                    <a:pt x="45719" y="22860"/>
                  </a:cubicBezTo>
                  <a:cubicBezTo>
                    <a:pt x="45719" y="35485"/>
                    <a:pt x="35485" y="45719"/>
                    <a:pt x="22860" y="45719"/>
                  </a:cubicBezTo>
                  <a:cubicBezTo>
                    <a:pt x="10235" y="45719"/>
                    <a:pt x="0" y="35485"/>
                    <a:pt x="0" y="22860"/>
                  </a:cubicBezTo>
                  <a:cubicBezTo>
                    <a:pt x="0" y="10234"/>
                    <a:pt x="10235" y="0"/>
                    <a:pt x="22860" y="0"/>
                  </a:cubicBezTo>
                  <a:close/>
                </a:path>
              </a:pathLst>
            </a:custGeom>
            <a:solidFill>
              <a:srgbClr val="D61B6B"/>
            </a:solidFill>
            <a:ln w="64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grpSp>
          <p:nvGrpSpPr>
            <p:cNvPr id="34" name="Group 5">
              <a:extLst>
                <a:ext uri="{FF2B5EF4-FFF2-40B4-BE49-F238E27FC236}">
                  <a16:creationId xmlns:a16="http://schemas.microsoft.com/office/drawing/2014/main" id="{AE5E4D3B-8B27-EBEA-BCEE-9BB4B9583C90}"/>
                </a:ext>
              </a:extLst>
            </p:cNvPr>
            <p:cNvGrpSpPr/>
            <p:nvPr/>
          </p:nvGrpSpPr>
          <p:grpSpPr>
            <a:xfrm>
              <a:off x="6684645" y="2629368"/>
              <a:ext cx="5028701" cy="3112670"/>
              <a:chOff x="13516089" y="3319738"/>
              <a:chExt cx="13049042" cy="8077106"/>
            </a:xfrm>
          </p:grpSpPr>
          <p:sp>
            <p:nvSpPr>
              <p:cNvPr id="35" name="Freeform: Shape 6">
                <a:hlinkClick r:id="rId5"/>
                <a:extLst>
                  <a:ext uri="{FF2B5EF4-FFF2-40B4-BE49-F238E27FC236}">
                    <a16:creationId xmlns:a16="http://schemas.microsoft.com/office/drawing/2014/main" id="{7858DB59-B80D-2CF5-0615-E8210CBB772B}"/>
                  </a:ext>
                </a:extLst>
              </p:cNvPr>
              <p:cNvSpPr/>
              <p:nvPr/>
            </p:nvSpPr>
            <p:spPr>
              <a:xfrm>
                <a:off x="13516089" y="3319738"/>
                <a:ext cx="13049042" cy="8077106"/>
              </a:xfrm>
              <a:custGeom>
                <a:avLst/>
                <a:gdLst>
                  <a:gd name="connsiteX0" fmla="*/ 4570952 w 4562475"/>
                  <a:gd name="connsiteY0" fmla="*/ 4091749 h 4086225"/>
                  <a:gd name="connsiteX1" fmla="*/ 0 w 4562475"/>
                  <a:gd name="connsiteY1" fmla="*/ 4091749 h 4086225"/>
                  <a:gd name="connsiteX2" fmla="*/ 0 w 4562475"/>
                  <a:gd name="connsiteY2" fmla="*/ 70009 h 4086225"/>
                  <a:gd name="connsiteX3" fmla="*/ 70009 w 4562475"/>
                  <a:gd name="connsiteY3" fmla="*/ 0 h 4086225"/>
                  <a:gd name="connsiteX4" fmla="*/ 4500849 w 4562475"/>
                  <a:gd name="connsiteY4" fmla="*/ 0 h 4086225"/>
                  <a:gd name="connsiteX5" fmla="*/ 4570857 w 4562475"/>
                  <a:gd name="connsiteY5" fmla="*/ 70009 h 4086225"/>
                  <a:gd name="connsiteX6" fmla="*/ 4570857 w 4562475"/>
                  <a:gd name="connsiteY6" fmla="*/ 4091749 h 408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562475" h="4086225">
                    <a:moveTo>
                      <a:pt x="4570952" y="4091749"/>
                    </a:moveTo>
                    <a:lnTo>
                      <a:pt x="0" y="4091749"/>
                    </a:lnTo>
                    <a:lnTo>
                      <a:pt x="0" y="70009"/>
                    </a:lnTo>
                    <a:cubicBezTo>
                      <a:pt x="0" y="31337"/>
                      <a:pt x="31337" y="0"/>
                      <a:pt x="70009" y="0"/>
                    </a:cubicBezTo>
                    <a:lnTo>
                      <a:pt x="4500849" y="0"/>
                    </a:lnTo>
                    <a:cubicBezTo>
                      <a:pt x="4539520" y="0"/>
                      <a:pt x="4570857" y="31337"/>
                      <a:pt x="4570857" y="70009"/>
                    </a:cubicBezTo>
                    <a:lnTo>
                      <a:pt x="4570857" y="4091749"/>
                    </a:lnTo>
                    <a:close/>
                  </a:path>
                </a:pathLst>
              </a:custGeom>
              <a:solidFill>
                <a:srgbClr val="F4F6F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7214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7">
                <a:extLst>
                  <a:ext uri="{FF2B5EF4-FFF2-40B4-BE49-F238E27FC236}">
                    <a16:creationId xmlns:a16="http://schemas.microsoft.com/office/drawing/2014/main" id="{BB024402-7F85-1DFC-F241-BA61E53BB4A1}"/>
                  </a:ext>
                </a:extLst>
              </p:cNvPr>
              <p:cNvSpPr/>
              <p:nvPr/>
            </p:nvSpPr>
            <p:spPr>
              <a:xfrm>
                <a:off x="13697025" y="3488824"/>
                <a:ext cx="118478" cy="118478"/>
              </a:xfrm>
              <a:custGeom>
                <a:avLst/>
                <a:gdLst>
                  <a:gd name="connsiteX0" fmla="*/ 74295 w 66675"/>
                  <a:gd name="connsiteY0" fmla="*/ 37148 h 66675"/>
                  <a:gd name="connsiteX1" fmla="*/ 37148 w 66675"/>
                  <a:gd name="connsiteY1" fmla="*/ 74295 h 66675"/>
                  <a:gd name="connsiteX2" fmla="*/ 0 w 66675"/>
                  <a:gd name="connsiteY2" fmla="*/ 37148 h 66675"/>
                  <a:gd name="connsiteX3" fmla="*/ 37148 w 66675"/>
                  <a:gd name="connsiteY3" fmla="*/ 0 h 66675"/>
                  <a:gd name="connsiteX4" fmla="*/ 74295 w 66675"/>
                  <a:gd name="connsiteY4" fmla="*/ 37148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66675">
                    <a:moveTo>
                      <a:pt x="74295" y="37148"/>
                    </a:moveTo>
                    <a:cubicBezTo>
                      <a:pt x="74295" y="57664"/>
                      <a:pt x="57663" y="74295"/>
                      <a:pt x="37148" y="74295"/>
                    </a:cubicBezTo>
                    <a:cubicBezTo>
                      <a:pt x="16632" y="74295"/>
                      <a:pt x="0" y="57664"/>
                      <a:pt x="0" y="37148"/>
                    </a:cubicBezTo>
                    <a:cubicBezTo>
                      <a:pt x="0" y="16632"/>
                      <a:pt x="16632" y="0"/>
                      <a:pt x="37148" y="0"/>
                    </a:cubicBezTo>
                    <a:cubicBezTo>
                      <a:pt x="57663" y="0"/>
                      <a:pt x="74295" y="16632"/>
                      <a:pt x="74295" y="37148"/>
                    </a:cubicBezTo>
                    <a:close/>
                  </a:path>
                </a:pathLst>
              </a:custGeom>
              <a:solidFill>
                <a:srgbClr val="FC516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7214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8">
                <a:extLst>
                  <a:ext uri="{FF2B5EF4-FFF2-40B4-BE49-F238E27FC236}">
                    <a16:creationId xmlns:a16="http://schemas.microsoft.com/office/drawing/2014/main" id="{FAF5A0AA-8F17-FAA8-77FD-507D454E8F7F}"/>
                  </a:ext>
                </a:extLst>
              </p:cNvPr>
              <p:cNvSpPr/>
              <p:nvPr/>
            </p:nvSpPr>
            <p:spPr>
              <a:xfrm>
                <a:off x="13939735" y="3488824"/>
                <a:ext cx="118478" cy="118478"/>
              </a:xfrm>
              <a:custGeom>
                <a:avLst/>
                <a:gdLst>
                  <a:gd name="connsiteX0" fmla="*/ 74295 w 66675"/>
                  <a:gd name="connsiteY0" fmla="*/ 37148 h 66675"/>
                  <a:gd name="connsiteX1" fmla="*/ 37147 w 66675"/>
                  <a:gd name="connsiteY1" fmla="*/ 74295 h 66675"/>
                  <a:gd name="connsiteX2" fmla="*/ 0 w 66675"/>
                  <a:gd name="connsiteY2" fmla="*/ 37148 h 66675"/>
                  <a:gd name="connsiteX3" fmla="*/ 37147 w 66675"/>
                  <a:gd name="connsiteY3" fmla="*/ 0 h 66675"/>
                  <a:gd name="connsiteX4" fmla="*/ 74295 w 66675"/>
                  <a:gd name="connsiteY4" fmla="*/ 37148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66675">
                    <a:moveTo>
                      <a:pt x="74295" y="37148"/>
                    </a:moveTo>
                    <a:cubicBezTo>
                      <a:pt x="74295" y="57664"/>
                      <a:pt x="57663" y="74295"/>
                      <a:pt x="37147" y="74295"/>
                    </a:cubicBezTo>
                    <a:cubicBezTo>
                      <a:pt x="16631" y="74295"/>
                      <a:pt x="0" y="57664"/>
                      <a:pt x="0" y="37148"/>
                    </a:cubicBezTo>
                    <a:cubicBezTo>
                      <a:pt x="0" y="16632"/>
                      <a:pt x="16631" y="0"/>
                      <a:pt x="37147" y="0"/>
                    </a:cubicBezTo>
                    <a:cubicBezTo>
                      <a:pt x="57663" y="0"/>
                      <a:pt x="74295" y="16632"/>
                      <a:pt x="74295" y="37148"/>
                    </a:cubicBezTo>
                    <a:close/>
                  </a:path>
                </a:pathLst>
              </a:custGeom>
              <a:solidFill>
                <a:srgbClr val="F9C15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7214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9">
                <a:extLst>
                  <a:ext uri="{FF2B5EF4-FFF2-40B4-BE49-F238E27FC236}">
                    <a16:creationId xmlns:a16="http://schemas.microsoft.com/office/drawing/2014/main" id="{692E933C-7DE8-8251-EBFB-C4B16F1027A1}"/>
                  </a:ext>
                </a:extLst>
              </p:cNvPr>
              <p:cNvSpPr/>
              <p:nvPr/>
            </p:nvSpPr>
            <p:spPr>
              <a:xfrm>
                <a:off x="14182276" y="3488824"/>
                <a:ext cx="118478" cy="118478"/>
              </a:xfrm>
              <a:custGeom>
                <a:avLst/>
                <a:gdLst>
                  <a:gd name="connsiteX0" fmla="*/ 74295 w 66675"/>
                  <a:gd name="connsiteY0" fmla="*/ 37148 h 66675"/>
                  <a:gd name="connsiteX1" fmla="*/ 37148 w 66675"/>
                  <a:gd name="connsiteY1" fmla="*/ 74295 h 66675"/>
                  <a:gd name="connsiteX2" fmla="*/ 0 w 66675"/>
                  <a:gd name="connsiteY2" fmla="*/ 37148 h 66675"/>
                  <a:gd name="connsiteX3" fmla="*/ 37148 w 66675"/>
                  <a:gd name="connsiteY3" fmla="*/ 0 h 66675"/>
                  <a:gd name="connsiteX4" fmla="*/ 74295 w 66675"/>
                  <a:gd name="connsiteY4" fmla="*/ 37148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675" h="66675">
                    <a:moveTo>
                      <a:pt x="74295" y="37148"/>
                    </a:moveTo>
                    <a:cubicBezTo>
                      <a:pt x="74295" y="57664"/>
                      <a:pt x="57664" y="74295"/>
                      <a:pt x="37148" y="74295"/>
                    </a:cubicBezTo>
                    <a:cubicBezTo>
                      <a:pt x="16631" y="74295"/>
                      <a:pt x="0" y="57664"/>
                      <a:pt x="0" y="37148"/>
                    </a:cubicBezTo>
                    <a:cubicBezTo>
                      <a:pt x="0" y="16632"/>
                      <a:pt x="16631" y="0"/>
                      <a:pt x="37148" y="0"/>
                    </a:cubicBezTo>
                    <a:cubicBezTo>
                      <a:pt x="57664" y="0"/>
                      <a:pt x="74295" y="16632"/>
                      <a:pt x="74295" y="37148"/>
                    </a:cubicBezTo>
                    <a:close/>
                  </a:path>
                </a:pathLst>
              </a:custGeom>
              <a:solidFill>
                <a:srgbClr val="53F98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7214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10">
                <a:extLst>
                  <a:ext uri="{FF2B5EF4-FFF2-40B4-BE49-F238E27FC236}">
                    <a16:creationId xmlns:a16="http://schemas.microsoft.com/office/drawing/2014/main" id="{29F7840B-58DC-6B61-C044-FF6936EF4721}"/>
                  </a:ext>
                </a:extLst>
              </p:cNvPr>
              <p:cNvSpPr/>
              <p:nvPr/>
            </p:nvSpPr>
            <p:spPr>
              <a:xfrm>
                <a:off x="22518060" y="3599309"/>
                <a:ext cx="829347" cy="304658"/>
              </a:xfrm>
              <a:custGeom>
                <a:avLst/>
                <a:gdLst>
                  <a:gd name="connsiteX0" fmla="*/ 396430 w 466725"/>
                  <a:gd name="connsiteY0" fmla="*/ 179927 h 171450"/>
                  <a:gd name="connsiteX1" fmla="*/ 79439 w 466725"/>
                  <a:gd name="connsiteY1" fmla="*/ 179927 h 171450"/>
                  <a:gd name="connsiteX2" fmla="*/ 0 w 466725"/>
                  <a:gd name="connsiteY2" fmla="*/ 100489 h 171450"/>
                  <a:gd name="connsiteX3" fmla="*/ 0 w 466725"/>
                  <a:gd name="connsiteY3" fmla="*/ 79439 h 171450"/>
                  <a:gd name="connsiteX4" fmla="*/ 79439 w 466725"/>
                  <a:gd name="connsiteY4" fmla="*/ 0 h 171450"/>
                  <a:gd name="connsiteX5" fmla="*/ 396430 w 466725"/>
                  <a:gd name="connsiteY5" fmla="*/ 0 h 171450"/>
                  <a:gd name="connsiteX6" fmla="*/ 475869 w 466725"/>
                  <a:gd name="connsiteY6" fmla="*/ 79439 h 171450"/>
                  <a:gd name="connsiteX7" fmla="*/ 475869 w 466725"/>
                  <a:gd name="connsiteY7" fmla="*/ 100489 h 171450"/>
                  <a:gd name="connsiteX8" fmla="*/ 396430 w 466725"/>
                  <a:gd name="connsiteY8" fmla="*/ 179927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6725" h="171450">
                    <a:moveTo>
                      <a:pt x="396430" y="179927"/>
                    </a:moveTo>
                    <a:lnTo>
                      <a:pt x="79439" y="179927"/>
                    </a:lnTo>
                    <a:cubicBezTo>
                      <a:pt x="35528" y="179927"/>
                      <a:pt x="0" y="144399"/>
                      <a:pt x="0" y="100489"/>
                    </a:cubicBezTo>
                    <a:lnTo>
                      <a:pt x="0" y="79439"/>
                    </a:lnTo>
                    <a:cubicBezTo>
                      <a:pt x="0" y="35528"/>
                      <a:pt x="35528" y="0"/>
                      <a:pt x="79439" y="0"/>
                    </a:cubicBezTo>
                    <a:lnTo>
                      <a:pt x="396430" y="0"/>
                    </a:lnTo>
                    <a:cubicBezTo>
                      <a:pt x="440341" y="0"/>
                      <a:pt x="475869" y="35528"/>
                      <a:pt x="475869" y="79439"/>
                    </a:cubicBezTo>
                    <a:lnTo>
                      <a:pt x="475869" y="100489"/>
                    </a:lnTo>
                    <a:cubicBezTo>
                      <a:pt x="475869" y="144399"/>
                      <a:pt x="440341" y="179927"/>
                      <a:pt x="396430" y="179927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7214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11">
                <a:extLst>
                  <a:ext uri="{FF2B5EF4-FFF2-40B4-BE49-F238E27FC236}">
                    <a16:creationId xmlns:a16="http://schemas.microsoft.com/office/drawing/2014/main" id="{D9C0ED4F-AB77-C3A0-9421-0A6F33D7299B}"/>
                  </a:ext>
                </a:extLst>
              </p:cNvPr>
              <p:cNvSpPr/>
              <p:nvPr/>
            </p:nvSpPr>
            <p:spPr>
              <a:xfrm>
                <a:off x="23634631" y="3599309"/>
                <a:ext cx="1320183" cy="304658"/>
              </a:xfrm>
              <a:custGeom>
                <a:avLst/>
                <a:gdLst>
                  <a:gd name="connsiteX0" fmla="*/ 667036 w 742950"/>
                  <a:gd name="connsiteY0" fmla="*/ 179927 h 171450"/>
                  <a:gd name="connsiteX1" fmla="*/ 79438 w 742950"/>
                  <a:gd name="connsiteY1" fmla="*/ 179927 h 171450"/>
                  <a:gd name="connsiteX2" fmla="*/ 0 w 742950"/>
                  <a:gd name="connsiteY2" fmla="*/ 100489 h 171450"/>
                  <a:gd name="connsiteX3" fmla="*/ 0 w 742950"/>
                  <a:gd name="connsiteY3" fmla="*/ 79439 h 171450"/>
                  <a:gd name="connsiteX4" fmla="*/ 79438 w 742950"/>
                  <a:gd name="connsiteY4" fmla="*/ 0 h 171450"/>
                  <a:gd name="connsiteX5" fmla="*/ 667036 w 742950"/>
                  <a:gd name="connsiteY5" fmla="*/ 0 h 171450"/>
                  <a:gd name="connsiteX6" fmla="*/ 746474 w 742950"/>
                  <a:gd name="connsiteY6" fmla="*/ 79439 h 171450"/>
                  <a:gd name="connsiteX7" fmla="*/ 746474 w 742950"/>
                  <a:gd name="connsiteY7" fmla="*/ 100489 h 171450"/>
                  <a:gd name="connsiteX8" fmla="*/ 667036 w 742950"/>
                  <a:gd name="connsiteY8" fmla="*/ 179927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42950" h="171450">
                    <a:moveTo>
                      <a:pt x="667036" y="179927"/>
                    </a:moveTo>
                    <a:lnTo>
                      <a:pt x="79438" y="179927"/>
                    </a:lnTo>
                    <a:cubicBezTo>
                      <a:pt x="35528" y="179927"/>
                      <a:pt x="0" y="144399"/>
                      <a:pt x="0" y="100489"/>
                    </a:cubicBezTo>
                    <a:lnTo>
                      <a:pt x="0" y="79439"/>
                    </a:lnTo>
                    <a:cubicBezTo>
                      <a:pt x="0" y="35528"/>
                      <a:pt x="35528" y="0"/>
                      <a:pt x="79438" y="0"/>
                    </a:cubicBezTo>
                    <a:lnTo>
                      <a:pt x="667036" y="0"/>
                    </a:lnTo>
                    <a:cubicBezTo>
                      <a:pt x="710946" y="0"/>
                      <a:pt x="746474" y="35528"/>
                      <a:pt x="746474" y="79439"/>
                    </a:cubicBezTo>
                    <a:lnTo>
                      <a:pt x="746474" y="100489"/>
                    </a:lnTo>
                    <a:cubicBezTo>
                      <a:pt x="746474" y="144399"/>
                      <a:pt x="710851" y="179927"/>
                      <a:pt x="667036" y="179927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7214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12">
                <a:extLst>
                  <a:ext uri="{FF2B5EF4-FFF2-40B4-BE49-F238E27FC236}">
                    <a16:creationId xmlns:a16="http://schemas.microsoft.com/office/drawing/2014/main" id="{73430F9E-3C88-77CB-7A5A-A9F2AD20B2C0}"/>
                  </a:ext>
                </a:extLst>
              </p:cNvPr>
              <p:cNvSpPr/>
              <p:nvPr/>
            </p:nvSpPr>
            <p:spPr>
              <a:xfrm>
                <a:off x="25254225" y="3599309"/>
                <a:ext cx="829347" cy="304658"/>
              </a:xfrm>
              <a:custGeom>
                <a:avLst/>
                <a:gdLst>
                  <a:gd name="connsiteX0" fmla="*/ 396430 w 466725"/>
                  <a:gd name="connsiteY0" fmla="*/ 179927 h 171450"/>
                  <a:gd name="connsiteX1" fmla="*/ 79438 w 466725"/>
                  <a:gd name="connsiteY1" fmla="*/ 179927 h 171450"/>
                  <a:gd name="connsiteX2" fmla="*/ 0 w 466725"/>
                  <a:gd name="connsiteY2" fmla="*/ 100489 h 171450"/>
                  <a:gd name="connsiteX3" fmla="*/ 0 w 466725"/>
                  <a:gd name="connsiteY3" fmla="*/ 79439 h 171450"/>
                  <a:gd name="connsiteX4" fmla="*/ 79438 w 466725"/>
                  <a:gd name="connsiteY4" fmla="*/ 0 h 171450"/>
                  <a:gd name="connsiteX5" fmla="*/ 396430 w 466725"/>
                  <a:gd name="connsiteY5" fmla="*/ 0 h 171450"/>
                  <a:gd name="connsiteX6" fmla="*/ 475869 w 466725"/>
                  <a:gd name="connsiteY6" fmla="*/ 79439 h 171450"/>
                  <a:gd name="connsiteX7" fmla="*/ 475869 w 466725"/>
                  <a:gd name="connsiteY7" fmla="*/ 100489 h 171450"/>
                  <a:gd name="connsiteX8" fmla="*/ 396430 w 466725"/>
                  <a:gd name="connsiteY8" fmla="*/ 179927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6725" h="171450">
                    <a:moveTo>
                      <a:pt x="396430" y="179927"/>
                    </a:moveTo>
                    <a:lnTo>
                      <a:pt x="79438" y="179927"/>
                    </a:lnTo>
                    <a:cubicBezTo>
                      <a:pt x="35528" y="179927"/>
                      <a:pt x="0" y="144399"/>
                      <a:pt x="0" y="100489"/>
                    </a:cubicBezTo>
                    <a:lnTo>
                      <a:pt x="0" y="79439"/>
                    </a:lnTo>
                    <a:cubicBezTo>
                      <a:pt x="0" y="35528"/>
                      <a:pt x="35528" y="0"/>
                      <a:pt x="79438" y="0"/>
                    </a:cubicBezTo>
                    <a:lnTo>
                      <a:pt x="396430" y="0"/>
                    </a:lnTo>
                    <a:cubicBezTo>
                      <a:pt x="440341" y="0"/>
                      <a:pt x="475869" y="35528"/>
                      <a:pt x="475869" y="79439"/>
                    </a:cubicBezTo>
                    <a:lnTo>
                      <a:pt x="475869" y="100489"/>
                    </a:lnTo>
                    <a:cubicBezTo>
                      <a:pt x="475869" y="144399"/>
                      <a:pt x="440341" y="179927"/>
                      <a:pt x="396430" y="179927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72144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pic>
          <p:nvPicPr>
            <p:cNvPr id="31" name="Picture 12">
              <a:hlinkClick r:id="rId6"/>
              <a:extLst>
                <a:ext uri="{FF2B5EF4-FFF2-40B4-BE49-F238E27FC236}">
                  <a16:creationId xmlns:a16="http://schemas.microsoft.com/office/drawing/2014/main" id="{B05C0955-F60F-319A-3AAC-1476D1004F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2678" y="2415889"/>
              <a:ext cx="6512636" cy="3800796"/>
            </a:xfrm>
            <a:custGeom>
              <a:avLst/>
              <a:gdLst>
                <a:gd name="connsiteX0" fmla="*/ 695324 w 5823878"/>
                <a:gd name="connsiteY0" fmla="*/ 186532 h 3398838"/>
                <a:gd name="connsiteX1" fmla="*/ 695324 w 5823878"/>
                <a:gd name="connsiteY1" fmla="*/ 2991369 h 3398838"/>
                <a:gd name="connsiteX2" fmla="*/ 5135983 w 5823878"/>
                <a:gd name="connsiteY2" fmla="*/ 2991369 h 3398838"/>
                <a:gd name="connsiteX3" fmla="*/ 5135983 w 5823878"/>
                <a:gd name="connsiteY3" fmla="*/ 186532 h 3398838"/>
                <a:gd name="connsiteX4" fmla="*/ 0 w 5823878"/>
                <a:gd name="connsiteY4" fmla="*/ 0 h 3398838"/>
                <a:gd name="connsiteX5" fmla="*/ 5823878 w 5823878"/>
                <a:gd name="connsiteY5" fmla="*/ 0 h 3398838"/>
                <a:gd name="connsiteX6" fmla="*/ 5823878 w 5823878"/>
                <a:gd name="connsiteY6" fmla="*/ 3398838 h 3398838"/>
                <a:gd name="connsiteX7" fmla="*/ 0 w 5823878"/>
                <a:gd name="connsiteY7" fmla="*/ 3398838 h 3398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823878" h="3398838">
                  <a:moveTo>
                    <a:pt x="695324" y="186532"/>
                  </a:moveTo>
                  <a:lnTo>
                    <a:pt x="695324" y="2991369"/>
                  </a:lnTo>
                  <a:lnTo>
                    <a:pt x="5135983" y="2991369"/>
                  </a:lnTo>
                  <a:lnTo>
                    <a:pt x="5135983" y="186532"/>
                  </a:lnTo>
                  <a:close/>
                  <a:moveTo>
                    <a:pt x="0" y="0"/>
                  </a:moveTo>
                  <a:lnTo>
                    <a:pt x="5823878" y="0"/>
                  </a:lnTo>
                  <a:lnTo>
                    <a:pt x="5823878" y="3398838"/>
                  </a:lnTo>
                  <a:lnTo>
                    <a:pt x="0" y="3398838"/>
                  </a:lnTo>
                  <a:close/>
                </a:path>
              </a:pathLst>
            </a:cu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" name="pole tekstowe 43">
              <a:hlinkClick r:id="rId5"/>
              <a:extLst>
                <a:ext uri="{FF2B5EF4-FFF2-40B4-BE49-F238E27FC236}">
                  <a16:creationId xmlns:a16="http://schemas.microsoft.com/office/drawing/2014/main" id="{3A05BB25-8DB0-2C4D-E1C9-4655CF9B0383}"/>
                </a:ext>
              </a:extLst>
            </p:cNvPr>
            <p:cNvSpPr txBox="1"/>
            <p:nvPr/>
          </p:nvSpPr>
          <p:spPr>
            <a:xfrm>
              <a:off x="7149794" y="2966949"/>
              <a:ext cx="4098402" cy="36326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pl-PL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/>
                  <a:ea typeface="Roboto"/>
                  <a:cs typeface="Mukta Bold"/>
                  <a:sym typeface="Mukta"/>
                </a:rPr>
                <a:t>Kliknij i zobacz krótki film o Extended DISC</a:t>
              </a:r>
              <a:r>
                <a:rPr kumimoji="0" lang="pl-PL" sz="1200" b="0" i="0" u="none" strike="noStrike" kern="0" cap="none" spc="0" normalizeH="0" baseline="30000" noProof="0">
                  <a:ln>
                    <a:noFill/>
                  </a:ln>
                  <a:solidFill>
                    <a:srgbClr val="3F3F3F"/>
                  </a:solidFill>
                  <a:effectLst/>
                  <a:uLnTx/>
                  <a:uFillTx/>
                  <a:latin typeface="Roboto"/>
                  <a:ea typeface="Roboto"/>
                  <a:cs typeface="Roboto Light"/>
                  <a:sym typeface="Roboto Light"/>
                </a:rPr>
                <a:t>®</a:t>
              </a:r>
              <a:r>
                <a:rPr kumimoji="0" lang="pl-PL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boto"/>
                  <a:ea typeface="Roboto"/>
                  <a:cs typeface="Mukta Bold"/>
                  <a:sym typeface="Mukta"/>
                </a:rPr>
                <a:t>:</a:t>
              </a:r>
              <a:endParaRPr kumimoji="0" lang="pl-PL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Mukta Bold"/>
              </a:endParaRPr>
            </a:p>
          </p:txBody>
        </p:sp>
        <p:pic>
          <p:nvPicPr>
            <p:cNvPr id="7" name="Obraz 6" descr="Obraz zawierający projekt graficzny, kreskówka, ilustracja, clipart&#10;&#10;Opis wygenerowany automatycznie">
              <a:hlinkClick r:id="rId5"/>
              <a:extLst>
                <a:ext uri="{FF2B5EF4-FFF2-40B4-BE49-F238E27FC236}">
                  <a16:creationId xmlns:a16="http://schemas.microsoft.com/office/drawing/2014/main" id="{80B0CA14-EEA5-94CC-6A58-9267AE06735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alphaModFix/>
            </a:blip>
            <a:stretch>
              <a:fillRect/>
            </a:stretch>
          </p:blipFill>
          <p:spPr>
            <a:xfrm>
              <a:off x="7322494" y="3445693"/>
              <a:ext cx="3753004" cy="2111065"/>
            </a:xfrm>
            <a:prstGeom prst="roundRect">
              <a:avLst>
                <a:gd name="adj" fmla="val 3468"/>
              </a:avLst>
            </a:prstGeom>
            <a:noFill/>
            <a:ln>
              <a:noFill/>
            </a:ln>
            <a:effectLst/>
          </p:spPr>
        </p:pic>
        <p:pic>
          <p:nvPicPr>
            <p:cNvPr id="9" name="Grafika 8" descr="Odtwórz z wypełnieniem pełnym">
              <a:hlinkClick r:id="rId6"/>
              <a:extLst>
                <a:ext uri="{FF2B5EF4-FFF2-40B4-BE49-F238E27FC236}">
                  <a16:creationId xmlns:a16="http://schemas.microsoft.com/office/drawing/2014/main" id="{AF5E85E5-8CC3-3F56-8C1B-A756355F51A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916181" y="4001081"/>
              <a:ext cx="914400" cy="914400"/>
            </a:xfrm>
            <a:prstGeom prst="rect">
              <a:avLst/>
            </a:prstGeom>
          </p:spPr>
        </p:pic>
        <p:sp>
          <p:nvSpPr>
            <p:cNvPr id="12" name="Owal 11">
              <a:hlinkClick r:id="rId5"/>
              <a:extLst>
                <a:ext uri="{FF2B5EF4-FFF2-40B4-BE49-F238E27FC236}">
                  <a16:creationId xmlns:a16="http://schemas.microsoft.com/office/drawing/2014/main" id="{13198F4A-3ABC-4E1E-36CA-7A251CB30B69}"/>
                </a:ext>
              </a:extLst>
            </p:cNvPr>
            <p:cNvSpPr/>
            <p:nvPr/>
          </p:nvSpPr>
          <p:spPr>
            <a:xfrm>
              <a:off x="8695947" y="3852082"/>
              <a:ext cx="1298287" cy="1298287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  <a:effectLst>
              <a:outerShdw blurRad="63500" sx="104000" sy="104000" algn="ctr" rotWithShape="0">
                <a:schemeClr val="accent3">
                  <a:lumMod val="5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8035443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: zaokrąglone rogi u góry 1">
            <a:extLst>
              <a:ext uri="{FF2B5EF4-FFF2-40B4-BE49-F238E27FC236}">
                <a16:creationId xmlns:a16="http://schemas.microsoft.com/office/drawing/2014/main" id="{2CF0601E-996B-0F6E-0FC4-45AFD22262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5400000">
            <a:off x="-3102429" y="3102428"/>
            <a:ext cx="6858000" cy="653143"/>
          </a:xfrm>
          <a:prstGeom prst="round2SameRect">
            <a:avLst>
              <a:gd name="adj1" fmla="val 16559"/>
              <a:gd name="adj2" fmla="val 0"/>
            </a:avLst>
          </a:prstGeom>
          <a:solidFill>
            <a:srgbClr val="FFFFFF"/>
          </a:solidFill>
          <a:ln>
            <a:noFill/>
          </a:ln>
          <a:effectLst>
            <a:outerShdw blurRad="952500" dist="215900" algn="l" rotWithShape="0">
              <a:schemeClr val="accent1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27FD0282-AAA7-99D3-A8F3-4D13F509918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70771" y="6086174"/>
            <a:ext cx="994685" cy="306414"/>
          </a:xfrm>
          <a:prstGeom prst="rect">
            <a:avLst/>
          </a:prstGeom>
        </p:spPr>
      </p:pic>
      <p:pic>
        <p:nvPicPr>
          <p:cNvPr id="24" name="Obraz 4">
            <a:hlinkClick r:id="rId3" action="ppaction://hlinksldjump"/>
            <a:extLst>
              <a:ext uri="{FF2B5EF4-FFF2-40B4-BE49-F238E27FC236}">
                <a16:creationId xmlns:a16="http://schemas.microsoft.com/office/drawing/2014/main" id="{B4F576B0-5A53-247E-B85C-44BEACCA31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71" y="230592"/>
            <a:ext cx="548771" cy="305640"/>
          </a:xfrm>
          <a:prstGeom prst="rect">
            <a:avLst/>
          </a:prstGeom>
        </p:spPr>
      </p:pic>
      <p:sp>
        <p:nvSpPr>
          <p:cNvPr id="25" name="Google Shape;695;p5">
            <a:extLst>
              <a:ext uri="{FF2B5EF4-FFF2-40B4-BE49-F238E27FC236}">
                <a16:creationId xmlns:a16="http://schemas.microsoft.com/office/drawing/2014/main" id="{F0EC9E78-D836-19E3-AC10-0A93F9D337BA}"/>
              </a:ext>
            </a:extLst>
          </p:cNvPr>
          <p:cNvSpPr txBox="1"/>
          <p:nvPr/>
        </p:nvSpPr>
        <p:spPr>
          <a:xfrm>
            <a:off x="2808960" y="390075"/>
            <a:ext cx="6574079" cy="1077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400"/>
              <a:buFont typeface="Roboto"/>
              <a:buNone/>
              <a:tabLst/>
              <a:defRPr/>
            </a:pPr>
            <a:r>
              <a:rPr kumimoji="0" lang="pl-PL" sz="3200" b="0" i="0" u="none" strike="noStrike" kern="1200" cap="none" spc="0" normalizeH="0" baseline="0" noProof="0">
                <a:ln>
                  <a:noFill/>
                </a:ln>
                <a:solidFill>
                  <a:srgbClr val="DA3A7F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10 korzyści</a:t>
            </a:r>
            <a:r>
              <a:rPr kumimoji="0" lang="pl-PL" sz="3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, które obserwują klienci stosujący </a:t>
            </a:r>
            <a:r>
              <a:rPr kumimoji="0" lang="pl-PL" sz="3200" b="0" i="0" u="none" strike="noStrike" kern="1200" cap="none" spc="0" normalizeH="0" baseline="0" noProof="0">
                <a:ln>
                  <a:noFill/>
                </a:ln>
                <a:solidFill>
                  <a:srgbClr val="DA3A7F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Extended DISC</a:t>
            </a:r>
            <a:r>
              <a:rPr lang="pl-PL" sz="3200" baseline="30000">
                <a:solidFill>
                  <a:srgbClr val="DA3A7F"/>
                </a:solidFill>
                <a:latin typeface="Roboto Black"/>
                <a:ea typeface="Roboto Black"/>
                <a:cs typeface="Fredoka Medium"/>
              </a:rPr>
              <a:t>®</a:t>
            </a:r>
            <a:r>
              <a:rPr kumimoji="0" lang="pl-PL" sz="3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:</a:t>
            </a:r>
            <a:endParaRPr kumimoji="0" lang="pl-PL" sz="3200" b="0" i="0" u="none" strike="noStrike" kern="1200" cap="none" spc="0" normalizeH="0" baseline="0" noProof="0">
              <a:ln>
                <a:noFill/>
              </a:ln>
              <a:solidFill>
                <a:srgbClr val="D61B6B"/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Fredoka Medium" pitchFamily="2" charset="-79"/>
              <a:sym typeface="Arial"/>
            </a:endParaRPr>
          </a:p>
        </p:txBody>
      </p:sp>
      <p:sp>
        <p:nvSpPr>
          <p:cNvPr id="30" name="Rectangle: Rounded Corners 56">
            <a:extLst>
              <a:ext uri="{FF2B5EF4-FFF2-40B4-BE49-F238E27FC236}">
                <a16:creationId xmlns:a16="http://schemas.microsoft.com/office/drawing/2014/main" id="{3FA490C1-EAE9-E8A6-2882-3F1AADACCBDB}"/>
              </a:ext>
            </a:extLst>
          </p:cNvPr>
          <p:cNvSpPr/>
          <p:nvPr/>
        </p:nvSpPr>
        <p:spPr>
          <a:xfrm>
            <a:off x="1371840" y="6144155"/>
            <a:ext cx="4449840" cy="548640"/>
          </a:xfrm>
          <a:prstGeom prst="roundRect">
            <a:avLst>
              <a:gd name="adj" fmla="val 20834"/>
            </a:avLst>
          </a:prstGeom>
          <a:solidFill>
            <a:schemeClr val="bg1">
              <a:alpha val="60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31" name="Rectangle: Rounded Corners 1">
            <a:extLst>
              <a:ext uri="{FF2B5EF4-FFF2-40B4-BE49-F238E27FC236}">
                <a16:creationId xmlns:a16="http://schemas.microsoft.com/office/drawing/2014/main" id="{6B1BA1C8-6B1A-65B7-922D-D431FEB3C694}"/>
              </a:ext>
            </a:extLst>
          </p:cNvPr>
          <p:cNvSpPr/>
          <p:nvPr/>
        </p:nvSpPr>
        <p:spPr>
          <a:xfrm>
            <a:off x="1097519" y="1736575"/>
            <a:ext cx="4998481" cy="4682794"/>
          </a:xfrm>
          <a:prstGeom prst="roundRect">
            <a:avLst>
              <a:gd name="adj" fmla="val 3466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47" name="Rectangle: Rounded Corners 56">
            <a:extLst>
              <a:ext uri="{FF2B5EF4-FFF2-40B4-BE49-F238E27FC236}">
                <a16:creationId xmlns:a16="http://schemas.microsoft.com/office/drawing/2014/main" id="{C082BCED-9750-A9D8-0D07-9D571AD4FB26}"/>
              </a:ext>
            </a:extLst>
          </p:cNvPr>
          <p:cNvSpPr/>
          <p:nvPr/>
        </p:nvSpPr>
        <p:spPr>
          <a:xfrm>
            <a:off x="7079485" y="6144155"/>
            <a:ext cx="4449840" cy="548640"/>
          </a:xfrm>
          <a:prstGeom prst="roundRect">
            <a:avLst>
              <a:gd name="adj" fmla="val 20834"/>
            </a:avLst>
          </a:prstGeom>
          <a:solidFill>
            <a:schemeClr val="bg1">
              <a:alpha val="60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48" name="Rectangle: Rounded Corners 1">
            <a:extLst>
              <a:ext uri="{FF2B5EF4-FFF2-40B4-BE49-F238E27FC236}">
                <a16:creationId xmlns:a16="http://schemas.microsoft.com/office/drawing/2014/main" id="{37F846EE-F09D-FB28-BF4F-3DDB297434F3}"/>
              </a:ext>
            </a:extLst>
          </p:cNvPr>
          <p:cNvSpPr/>
          <p:nvPr/>
        </p:nvSpPr>
        <p:spPr>
          <a:xfrm>
            <a:off x="6805164" y="1736575"/>
            <a:ext cx="4998481" cy="4682794"/>
          </a:xfrm>
          <a:prstGeom prst="roundRect">
            <a:avLst>
              <a:gd name="adj" fmla="val 3466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27" name="Obraz 26" descr="Obraz zawierający zrzut ekranu, krąg, Grafika, sztuka&#10;&#10;Opis wygenerowany automatycznie">
            <a:extLst>
              <a:ext uri="{FF2B5EF4-FFF2-40B4-BE49-F238E27FC236}">
                <a16:creationId xmlns:a16="http://schemas.microsoft.com/office/drawing/2014/main" id="{7A6AC5F3-6479-F3DC-4F7F-B8CB6C7323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3693" y="1808152"/>
            <a:ext cx="1900497" cy="2736716"/>
          </a:xfrm>
          <a:prstGeom prst="rect">
            <a:avLst/>
          </a:prstGeom>
        </p:spPr>
      </p:pic>
      <p:pic>
        <p:nvPicPr>
          <p:cNvPr id="29" name="Obraz 28" descr="Obraz zawierający zrzut ekranu, krąg, Grafika, sztuka&#10;&#10;Opis wygenerowany automatycznie">
            <a:extLst>
              <a:ext uri="{FF2B5EF4-FFF2-40B4-BE49-F238E27FC236}">
                <a16:creationId xmlns:a16="http://schemas.microsoft.com/office/drawing/2014/main" id="{D1AA5A78-D5A1-42BC-6FBA-97FC52F2AB4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2092"/>
          <a:stretch/>
        </p:blipFill>
        <p:spPr>
          <a:xfrm>
            <a:off x="1142744" y="4342024"/>
            <a:ext cx="1900497" cy="1858461"/>
          </a:xfrm>
          <a:prstGeom prst="rect">
            <a:avLst/>
          </a:prstGeom>
        </p:spPr>
      </p:pic>
      <p:sp>
        <p:nvSpPr>
          <p:cNvPr id="37" name="TextBox 28">
            <a:extLst>
              <a:ext uri="{FF2B5EF4-FFF2-40B4-BE49-F238E27FC236}">
                <a16:creationId xmlns:a16="http://schemas.microsoft.com/office/drawing/2014/main" id="{2F7BC16F-386B-F721-08BC-C4701DCB5848}"/>
              </a:ext>
            </a:extLst>
          </p:cNvPr>
          <p:cNvSpPr txBox="1"/>
          <p:nvPr/>
        </p:nvSpPr>
        <p:spPr>
          <a:xfrm>
            <a:off x="2119591" y="2372724"/>
            <a:ext cx="292018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l-PL" sz="1600"/>
              <a:t>Niższa rotacja pracowników</a:t>
            </a:r>
            <a:endParaRPr lang="en-US" sz="1600"/>
          </a:p>
        </p:txBody>
      </p:sp>
      <p:sp>
        <p:nvSpPr>
          <p:cNvPr id="38" name="TextBox 28">
            <a:extLst>
              <a:ext uri="{FF2B5EF4-FFF2-40B4-BE49-F238E27FC236}">
                <a16:creationId xmlns:a16="http://schemas.microsoft.com/office/drawing/2014/main" id="{2A8F1BBB-DD0E-236A-150C-004FF7E94F6C}"/>
              </a:ext>
            </a:extLst>
          </p:cNvPr>
          <p:cNvSpPr txBox="1"/>
          <p:nvPr/>
        </p:nvSpPr>
        <p:spPr>
          <a:xfrm>
            <a:off x="2128336" y="3094910"/>
            <a:ext cx="315183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l-PL" sz="1600"/>
              <a:t>Lepsza komunikacja i współpraca w zespołach</a:t>
            </a:r>
            <a:endParaRPr lang="en-US" sz="1600"/>
          </a:p>
        </p:txBody>
      </p:sp>
      <p:sp>
        <p:nvSpPr>
          <p:cNvPr id="39" name="TextBox 28">
            <a:extLst>
              <a:ext uri="{FF2B5EF4-FFF2-40B4-BE49-F238E27FC236}">
                <a16:creationId xmlns:a16="http://schemas.microsoft.com/office/drawing/2014/main" id="{FDA5F541-C03D-687B-5FE2-C4C645219045}"/>
              </a:ext>
            </a:extLst>
          </p:cNvPr>
          <p:cNvSpPr txBox="1"/>
          <p:nvPr/>
        </p:nvSpPr>
        <p:spPr>
          <a:xfrm>
            <a:off x="2098867" y="4040648"/>
            <a:ext cx="369596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l-PL" sz="1600"/>
              <a:t>Skuteczniejsze programy rozwojowe</a:t>
            </a:r>
            <a:endParaRPr lang="en-US" sz="1600"/>
          </a:p>
        </p:txBody>
      </p:sp>
      <p:sp>
        <p:nvSpPr>
          <p:cNvPr id="40" name="TextBox 28">
            <a:extLst>
              <a:ext uri="{FF2B5EF4-FFF2-40B4-BE49-F238E27FC236}">
                <a16:creationId xmlns:a16="http://schemas.microsoft.com/office/drawing/2014/main" id="{96734656-BF8D-DBBF-674D-261F2930715A}"/>
              </a:ext>
            </a:extLst>
          </p:cNvPr>
          <p:cNvSpPr txBox="1"/>
          <p:nvPr/>
        </p:nvSpPr>
        <p:spPr>
          <a:xfrm>
            <a:off x="2119591" y="4891165"/>
            <a:ext cx="369596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l-PL" sz="1600"/>
              <a:t>Sprawniejsza realizacja projektów</a:t>
            </a:r>
            <a:endParaRPr lang="en-US" sz="1600"/>
          </a:p>
        </p:txBody>
      </p:sp>
      <p:sp>
        <p:nvSpPr>
          <p:cNvPr id="41" name="TextBox 28">
            <a:extLst>
              <a:ext uri="{FF2B5EF4-FFF2-40B4-BE49-F238E27FC236}">
                <a16:creationId xmlns:a16="http://schemas.microsoft.com/office/drawing/2014/main" id="{D71A825E-B82C-7DB2-08B4-321A88F0ED16}"/>
              </a:ext>
            </a:extLst>
          </p:cNvPr>
          <p:cNvSpPr txBox="1"/>
          <p:nvPr/>
        </p:nvSpPr>
        <p:spPr>
          <a:xfrm>
            <a:off x="2092992" y="5706136"/>
            <a:ext cx="369596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l-PL" sz="1600"/>
              <a:t>Większe zaangażowanie pracowników</a:t>
            </a:r>
            <a:endParaRPr lang="en-US" sz="1600"/>
          </a:p>
        </p:txBody>
      </p:sp>
      <p:pic>
        <p:nvPicPr>
          <p:cNvPr id="42" name="Obraz 41" descr="Obraz zawierający zrzut ekranu, krąg, Grafika, sztuka&#10;&#10;Opis wygenerowany automatycznie">
            <a:extLst>
              <a:ext uri="{FF2B5EF4-FFF2-40B4-BE49-F238E27FC236}">
                <a16:creationId xmlns:a16="http://schemas.microsoft.com/office/drawing/2014/main" id="{1FE253ED-B776-F0FF-2956-501206860D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34874" y="1807084"/>
            <a:ext cx="1900497" cy="2736716"/>
          </a:xfrm>
          <a:prstGeom prst="rect">
            <a:avLst/>
          </a:prstGeom>
        </p:spPr>
      </p:pic>
      <p:pic>
        <p:nvPicPr>
          <p:cNvPr id="43" name="Obraz 42" descr="Obraz zawierający zrzut ekranu, krąg, Grafika, sztuka&#10;&#10;Opis wygenerowany automatycznie">
            <a:extLst>
              <a:ext uri="{FF2B5EF4-FFF2-40B4-BE49-F238E27FC236}">
                <a16:creationId xmlns:a16="http://schemas.microsoft.com/office/drawing/2014/main" id="{9CD7D7FD-882B-C39B-8DCF-C38271F8F7D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2092"/>
          <a:stretch/>
        </p:blipFill>
        <p:spPr>
          <a:xfrm>
            <a:off x="6833925" y="4340956"/>
            <a:ext cx="1900497" cy="1858461"/>
          </a:xfrm>
          <a:prstGeom prst="rect">
            <a:avLst/>
          </a:prstGeom>
        </p:spPr>
      </p:pic>
      <p:sp>
        <p:nvSpPr>
          <p:cNvPr id="44" name="TextBox 28">
            <a:extLst>
              <a:ext uri="{FF2B5EF4-FFF2-40B4-BE49-F238E27FC236}">
                <a16:creationId xmlns:a16="http://schemas.microsoft.com/office/drawing/2014/main" id="{318E75E4-09CC-11A8-5505-26EE67A05380}"/>
              </a:ext>
            </a:extLst>
          </p:cNvPr>
          <p:cNvSpPr txBox="1"/>
          <p:nvPr/>
        </p:nvSpPr>
        <p:spPr>
          <a:xfrm>
            <a:off x="7810772" y="2294721"/>
            <a:ext cx="292018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l-PL" sz="1600"/>
              <a:t>Mniej nieporozumień na linii „przełożony – podwładny”</a:t>
            </a:r>
            <a:endParaRPr lang="en-US" sz="1600"/>
          </a:p>
        </p:txBody>
      </p:sp>
      <p:sp>
        <p:nvSpPr>
          <p:cNvPr id="45" name="TextBox 28">
            <a:extLst>
              <a:ext uri="{FF2B5EF4-FFF2-40B4-BE49-F238E27FC236}">
                <a16:creationId xmlns:a16="http://schemas.microsoft.com/office/drawing/2014/main" id="{167187A9-D207-DEC8-CC42-5EF794F38AC3}"/>
              </a:ext>
            </a:extLst>
          </p:cNvPr>
          <p:cNvSpPr txBox="1"/>
          <p:nvPr/>
        </p:nvSpPr>
        <p:spPr>
          <a:xfrm>
            <a:off x="7784173" y="3218219"/>
            <a:ext cx="366062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l-PL" sz="1600"/>
              <a:t>Efektywniejsze procesy rekrutacyjne</a:t>
            </a:r>
            <a:endParaRPr lang="en-US" sz="1600"/>
          </a:p>
        </p:txBody>
      </p:sp>
      <p:sp>
        <p:nvSpPr>
          <p:cNvPr id="46" name="TextBox 28">
            <a:extLst>
              <a:ext uri="{FF2B5EF4-FFF2-40B4-BE49-F238E27FC236}">
                <a16:creationId xmlns:a16="http://schemas.microsoft.com/office/drawing/2014/main" id="{C4F5444E-6C66-F1BA-4A07-1B705E6E6473}"/>
              </a:ext>
            </a:extLst>
          </p:cNvPr>
          <p:cNvSpPr txBox="1"/>
          <p:nvPr/>
        </p:nvSpPr>
        <p:spPr>
          <a:xfrm>
            <a:off x="7810772" y="3941849"/>
            <a:ext cx="369596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l-PL" sz="1600"/>
              <a:t>Lepsze dopasowanie osób do</a:t>
            </a:r>
            <a:br>
              <a:rPr lang="pl-PL" sz="1600"/>
            </a:br>
            <a:r>
              <a:rPr lang="pl-PL" sz="1600"/>
              <a:t>pełnionych ról</a:t>
            </a:r>
            <a:endParaRPr lang="en-US" sz="1600"/>
          </a:p>
        </p:txBody>
      </p:sp>
      <p:sp>
        <p:nvSpPr>
          <p:cNvPr id="49" name="TextBox 28">
            <a:extLst>
              <a:ext uri="{FF2B5EF4-FFF2-40B4-BE49-F238E27FC236}">
                <a16:creationId xmlns:a16="http://schemas.microsoft.com/office/drawing/2014/main" id="{AF93AA4D-784E-51AF-221B-BABE62377A93}"/>
              </a:ext>
            </a:extLst>
          </p:cNvPr>
          <p:cNvSpPr txBox="1"/>
          <p:nvPr/>
        </p:nvSpPr>
        <p:spPr>
          <a:xfrm>
            <a:off x="7810772" y="4880766"/>
            <a:ext cx="369596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l-PL" sz="1600"/>
              <a:t>Lepsza atmosfera pracy</a:t>
            </a:r>
            <a:endParaRPr lang="en-US" sz="1600"/>
          </a:p>
        </p:txBody>
      </p:sp>
      <p:sp>
        <p:nvSpPr>
          <p:cNvPr id="50" name="TextBox 28">
            <a:extLst>
              <a:ext uri="{FF2B5EF4-FFF2-40B4-BE49-F238E27FC236}">
                <a16:creationId xmlns:a16="http://schemas.microsoft.com/office/drawing/2014/main" id="{2FE7F867-9DED-3B48-BA41-EDF699C59290}"/>
              </a:ext>
            </a:extLst>
          </p:cNvPr>
          <p:cNvSpPr txBox="1"/>
          <p:nvPr/>
        </p:nvSpPr>
        <p:spPr>
          <a:xfrm>
            <a:off x="7810771" y="5592123"/>
            <a:ext cx="369596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l-PL" sz="1600"/>
              <a:t>Zwiększone poczucie bezpieczeństwa psychologicznego i dobrostanu</a:t>
            </a:r>
            <a:endParaRPr lang="en-US" sz="1600"/>
          </a:p>
        </p:txBody>
      </p:sp>
      <p:grpSp>
        <p:nvGrpSpPr>
          <p:cNvPr id="51" name="Grupa 50">
            <a:extLst>
              <a:ext uri="{FF2B5EF4-FFF2-40B4-BE49-F238E27FC236}">
                <a16:creationId xmlns:a16="http://schemas.microsoft.com/office/drawing/2014/main" id="{16F2BAAD-A215-021E-BD28-6341CB4A41BF}"/>
              </a:ext>
            </a:extLst>
          </p:cNvPr>
          <p:cNvGrpSpPr/>
          <p:nvPr/>
        </p:nvGrpSpPr>
        <p:grpSpPr>
          <a:xfrm>
            <a:off x="5359506" y="1905511"/>
            <a:ext cx="429451" cy="429451"/>
            <a:chOff x="1473797" y="2100918"/>
            <a:chExt cx="484050" cy="484050"/>
          </a:xfrm>
        </p:grpSpPr>
        <p:grpSp>
          <p:nvGrpSpPr>
            <p:cNvPr id="52" name="Grupa 51">
              <a:extLst>
                <a:ext uri="{FF2B5EF4-FFF2-40B4-BE49-F238E27FC236}">
                  <a16:creationId xmlns:a16="http://schemas.microsoft.com/office/drawing/2014/main" id="{BD6E8286-5E53-1535-3676-BFDFBE9180AB}"/>
                </a:ext>
              </a:extLst>
            </p:cNvPr>
            <p:cNvGrpSpPr/>
            <p:nvPr/>
          </p:nvGrpSpPr>
          <p:grpSpPr>
            <a:xfrm>
              <a:off x="1473797" y="2100918"/>
              <a:ext cx="484050" cy="484050"/>
              <a:chOff x="1373939" y="899639"/>
              <a:chExt cx="721878" cy="721878"/>
            </a:xfrm>
          </p:grpSpPr>
          <p:sp>
            <p:nvSpPr>
              <p:cNvPr id="56" name="Oval 29">
                <a:extLst>
                  <a:ext uri="{FF2B5EF4-FFF2-40B4-BE49-F238E27FC236}">
                    <a16:creationId xmlns:a16="http://schemas.microsoft.com/office/drawing/2014/main" id="{63407C78-5FAF-0902-9844-32AB46492DDD}"/>
                  </a:ext>
                </a:extLst>
              </p:cNvPr>
              <p:cNvSpPr/>
              <p:nvPr/>
            </p:nvSpPr>
            <p:spPr>
              <a:xfrm>
                <a:off x="1373939" y="899639"/>
                <a:ext cx="721878" cy="721878"/>
              </a:xfrm>
              <a:prstGeom prst="roundRect">
                <a:avLst/>
              </a:prstGeom>
              <a:solidFill>
                <a:srgbClr val="F4CBD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  <p:sp>
            <p:nvSpPr>
              <p:cNvPr id="57" name="Oval 29">
                <a:extLst>
                  <a:ext uri="{FF2B5EF4-FFF2-40B4-BE49-F238E27FC236}">
                    <a16:creationId xmlns:a16="http://schemas.microsoft.com/office/drawing/2014/main" id="{C90F6EAD-02AD-1BF5-2B91-089D13D76D4D}"/>
                  </a:ext>
                </a:extLst>
              </p:cNvPr>
              <p:cNvSpPr/>
              <p:nvPr/>
            </p:nvSpPr>
            <p:spPr>
              <a:xfrm>
                <a:off x="1460558" y="986258"/>
                <a:ext cx="548640" cy="548640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</p:grpSp>
        <p:pic>
          <p:nvPicPr>
            <p:cNvPr id="55" name="Grafika 54">
              <a:extLst>
                <a:ext uri="{FF2B5EF4-FFF2-40B4-BE49-F238E27FC236}">
                  <a16:creationId xmlns:a16="http://schemas.microsoft.com/office/drawing/2014/main" id="{4DDA2950-A1B3-045F-01F1-5E77D3A61F6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613393" y="2230884"/>
              <a:ext cx="210276" cy="210276"/>
            </a:xfrm>
            <a:prstGeom prst="rect">
              <a:avLst/>
            </a:prstGeom>
          </p:spPr>
        </p:pic>
      </p:grpSp>
      <p:grpSp>
        <p:nvGrpSpPr>
          <p:cNvPr id="58" name="Grupa 57">
            <a:extLst>
              <a:ext uri="{FF2B5EF4-FFF2-40B4-BE49-F238E27FC236}">
                <a16:creationId xmlns:a16="http://schemas.microsoft.com/office/drawing/2014/main" id="{683747A2-4AB8-4B57-3BE4-6CE4D7432623}"/>
              </a:ext>
            </a:extLst>
          </p:cNvPr>
          <p:cNvGrpSpPr/>
          <p:nvPr/>
        </p:nvGrpSpPr>
        <p:grpSpPr>
          <a:xfrm>
            <a:off x="11101379" y="1848733"/>
            <a:ext cx="429451" cy="429451"/>
            <a:chOff x="1473797" y="2100918"/>
            <a:chExt cx="484050" cy="484050"/>
          </a:xfrm>
        </p:grpSpPr>
        <p:grpSp>
          <p:nvGrpSpPr>
            <p:cNvPr id="59" name="Grupa 58">
              <a:extLst>
                <a:ext uri="{FF2B5EF4-FFF2-40B4-BE49-F238E27FC236}">
                  <a16:creationId xmlns:a16="http://schemas.microsoft.com/office/drawing/2014/main" id="{0F5F638D-65A5-D81B-1D15-8EABD0D02919}"/>
                </a:ext>
              </a:extLst>
            </p:cNvPr>
            <p:cNvGrpSpPr/>
            <p:nvPr/>
          </p:nvGrpSpPr>
          <p:grpSpPr>
            <a:xfrm>
              <a:off x="1473797" y="2100918"/>
              <a:ext cx="484050" cy="484050"/>
              <a:chOff x="1373939" y="899639"/>
              <a:chExt cx="721878" cy="721878"/>
            </a:xfrm>
          </p:grpSpPr>
          <p:sp>
            <p:nvSpPr>
              <p:cNvPr id="62" name="Oval 29">
                <a:extLst>
                  <a:ext uri="{FF2B5EF4-FFF2-40B4-BE49-F238E27FC236}">
                    <a16:creationId xmlns:a16="http://schemas.microsoft.com/office/drawing/2014/main" id="{BB82A3BB-D68D-AC17-0AED-A021D237239D}"/>
                  </a:ext>
                </a:extLst>
              </p:cNvPr>
              <p:cNvSpPr/>
              <p:nvPr/>
            </p:nvSpPr>
            <p:spPr>
              <a:xfrm>
                <a:off x="1373939" y="899639"/>
                <a:ext cx="721878" cy="721878"/>
              </a:xfrm>
              <a:prstGeom prst="roundRect">
                <a:avLst/>
              </a:prstGeom>
              <a:solidFill>
                <a:srgbClr val="F4CBD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  <p:sp>
            <p:nvSpPr>
              <p:cNvPr id="63" name="Oval 29">
                <a:extLst>
                  <a:ext uri="{FF2B5EF4-FFF2-40B4-BE49-F238E27FC236}">
                    <a16:creationId xmlns:a16="http://schemas.microsoft.com/office/drawing/2014/main" id="{2F81528F-E09F-B762-B6C8-3328DC166CD5}"/>
                  </a:ext>
                </a:extLst>
              </p:cNvPr>
              <p:cNvSpPr/>
              <p:nvPr/>
            </p:nvSpPr>
            <p:spPr>
              <a:xfrm>
                <a:off x="1460558" y="986258"/>
                <a:ext cx="548640" cy="548640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</p:grpSp>
        <p:pic>
          <p:nvPicPr>
            <p:cNvPr id="60" name="Grafika 59">
              <a:extLst>
                <a:ext uri="{FF2B5EF4-FFF2-40B4-BE49-F238E27FC236}">
                  <a16:creationId xmlns:a16="http://schemas.microsoft.com/office/drawing/2014/main" id="{E6573536-EC86-B2CD-1CC8-DC297079E50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613393" y="2230884"/>
              <a:ext cx="210276" cy="2102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8714066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: zaokrąglone rogi u góry 1">
            <a:extLst>
              <a:ext uri="{FF2B5EF4-FFF2-40B4-BE49-F238E27FC236}">
                <a16:creationId xmlns:a16="http://schemas.microsoft.com/office/drawing/2014/main" id="{2CF0601E-996B-0F6E-0FC4-45AFD22262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5400000">
            <a:off x="-3102429" y="3102428"/>
            <a:ext cx="6858000" cy="653143"/>
          </a:xfrm>
          <a:prstGeom prst="round2SameRect">
            <a:avLst>
              <a:gd name="adj1" fmla="val 16559"/>
              <a:gd name="adj2" fmla="val 0"/>
            </a:avLst>
          </a:prstGeom>
          <a:solidFill>
            <a:srgbClr val="FFFFFF"/>
          </a:solidFill>
          <a:ln>
            <a:noFill/>
          </a:ln>
          <a:effectLst>
            <a:outerShdw blurRad="952500" dist="215900" algn="l" rotWithShape="0">
              <a:schemeClr val="accent1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pl-PL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27FD0282-AAA7-99D3-A8F3-4D13F50991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70771" y="6086174"/>
            <a:ext cx="994685" cy="306414"/>
          </a:xfrm>
          <a:prstGeom prst="rect">
            <a:avLst/>
          </a:prstGeom>
        </p:spPr>
      </p:pic>
      <p:pic>
        <p:nvPicPr>
          <p:cNvPr id="24" name="Obraz 4">
            <a:hlinkClick r:id="rId4" action="ppaction://hlinksldjump"/>
            <a:extLst>
              <a:ext uri="{FF2B5EF4-FFF2-40B4-BE49-F238E27FC236}">
                <a16:creationId xmlns:a16="http://schemas.microsoft.com/office/drawing/2014/main" id="{B4F576B0-5A53-247E-B85C-44BEACCA31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571" y="230592"/>
            <a:ext cx="548771" cy="305640"/>
          </a:xfrm>
          <a:prstGeom prst="rect">
            <a:avLst/>
          </a:prstGeom>
        </p:spPr>
      </p:pic>
      <p:sp>
        <p:nvSpPr>
          <p:cNvPr id="44" name="Rectangle: Rounded Corners 50">
            <a:extLst>
              <a:ext uri="{FF2B5EF4-FFF2-40B4-BE49-F238E27FC236}">
                <a16:creationId xmlns:a16="http://schemas.microsoft.com/office/drawing/2014/main" id="{3A377010-9F02-775E-86C4-F80BFD95409F}"/>
              </a:ext>
            </a:extLst>
          </p:cNvPr>
          <p:cNvSpPr/>
          <p:nvPr/>
        </p:nvSpPr>
        <p:spPr>
          <a:xfrm>
            <a:off x="1712437" y="4632778"/>
            <a:ext cx="548640" cy="1734038"/>
          </a:xfrm>
          <a:prstGeom prst="roundRect">
            <a:avLst>
              <a:gd name="adj" fmla="val 15279"/>
            </a:avLst>
          </a:prstGeom>
          <a:solidFill>
            <a:srgbClr val="F3CADE"/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45" name="Rectangle: Rounded Corners 49">
            <a:extLst>
              <a:ext uri="{FF2B5EF4-FFF2-40B4-BE49-F238E27FC236}">
                <a16:creationId xmlns:a16="http://schemas.microsoft.com/office/drawing/2014/main" id="{1BE4DF81-2809-C7C6-B3FA-97F077254834}"/>
              </a:ext>
            </a:extLst>
          </p:cNvPr>
          <p:cNvSpPr/>
          <p:nvPr/>
        </p:nvSpPr>
        <p:spPr>
          <a:xfrm>
            <a:off x="1712437" y="2248883"/>
            <a:ext cx="548640" cy="1734038"/>
          </a:xfrm>
          <a:prstGeom prst="roundRect">
            <a:avLst>
              <a:gd name="adj" fmla="val 15279"/>
            </a:avLst>
          </a:prstGeom>
          <a:solidFill>
            <a:srgbClr val="F3CADE"/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48" name="Rectangle: Rounded Corners 13">
            <a:extLst>
              <a:ext uri="{FF2B5EF4-FFF2-40B4-BE49-F238E27FC236}">
                <a16:creationId xmlns:a16="http://schemas.microsoft.com/office/drawing/2014/main" id="{24669D12-A038-A734-E3FC-93503F77B0DB}"/>
              </a:ext>
            </a:extLst>
          </p:cNvPr>
          <p:cNvSpPr/>
          <p:nvPr/>
        </p:nvSpPr>
        <p:spPr>
          <a:xfrm rot="10800000" flipH="1" flipV="1">
            <a:off x="1935066" y="1974564"/>
            <a:ext cx="3348336" cy="2282677"/>
          </a:xfrm>
          <a:prstGeom prst="roundRect">
            <a:avLst>
              <a:gd name="adj" fmla="val 3438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49" name="Rectangle: Rounded Corners 14">
            <a:extLst>
              <a:ext uri="{FF2B5EF4-FFF2-40B4-BE49-F238E27FC236}">
                <a16:creationId xmlns:a16="http://schemas.microsoft.com/office/drawing/2014/main" id="{EB4D89FF-1A27-C0CE-9DCF-4774448DFC9D}"/>
              </a:ext>
            </a:extLst>
          </p:cNvPr>
          <p:cNvSpPr/>
          <p:nvPr/>
        </p:nvSpPr>
        <p:spPr>
          <a:xfrm rot="10800000" flipH="1" flipV="1">
            <a:off x="1935066" y="4358013"/>
            <a:ext cx="3340139" cy="2283568"/>
          </a:xfrm>
          <a:prstGeom prst="roundRect">
            <a:avLst>
              <a:gd name="adj" fmla="val 3438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50" name="Rectangle: Rounded Corners 7">
            <a:extLst>
              <a:ext uri="{FF2B5EF4-FFF2-40B4-BE49-F238E27FC236}">
                <a16:creationId xmlns:a16="http://schemas.microsoft.com/office/drawing/2014/main" id="{01228547-9E0E-5504-201F-78E4665E3C58}"/>
              </a:ext>
            </a:extLst>
          </p:cNvPr>
          <p:cNvSpPr/>
          <p:nvPr/>
        </p:nvSpPr>
        <p:spPr>
          <a:xfrm rot="10800000" flipH="1" flipV="1">
            <a:off x="4821414" y="1954122"/>
            <a:ext cx="3443367" cy="2294589"/>
          </a:xfrm>
          <a:prstGeom prst="roundRect">
            <a:avLst>
              <a:gd name="adj" fmla="val 3438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60" name="TextBox 20">
            <a:extLst>
              <a:ext uri="{FF2B5EF4-FFF2-40B4-BE49-F238E27FC236}">
                <a16:creationId xmlns:a16="http://schemas.microsoft.com/office/drawing/2014/main" id="{CF0B3C2E-88E2-8F35-E3E5-A03EF1D1DB57}"/>
              </a:ext>
            </a:extLst>
          </p:cNvPr>
          <p:cNvSpPr txBox="1"/>
          <p:nvPr/>
        </p:nvSpPr>
        <p:spPr>
          <a:xfrm>
            <a:off x="2440000" y="3141551"/>
            <a:ext cx="184775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err="1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Międzynarodowa</a:t>
            </a:r>
            <a:r>
              <a:rPr lang="en-US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 </a:t>
            </a:r>
            <a:r>
              <a:rPr lang="en-US" err="1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marka</a:t>
            </a:r>
            <a:endParaRPr lang="en-US">
              <a:solidFill>
                <a:schemeClr val="tx1">
                  <a:lumMod val="85000"/>
                  <a:lumOff val="15000"/>
                </a:schemeClr>
              </a:solidFill>
              <a:ea typeface="Roboto Black" panose="02000000000000000000" pitchFamily="2" charset="0"/>
              <a:cs typeface="Poppins Medium" panose="00000600000000000000" pitchFamily="2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41331B4-6867-536E-B069-7493373B3B23}"/>
              </a:ext>
            </a:extLst>
          </p:cNvPr>
          <p:cNvGrpSpPr/>
          <p:nvPr/>
        </p:nvGrpSpPr>
        <p:grpSpPr>
          <a:xfrm>
            <a:off x="3121560" y="2453541"/>
            <a:ext cx="484632" cy="495652"/>
            <a:chOff x="2704951" y="2107001"/>
            <a:chExt cx="484632" cy="495652"/>
          </a:xfrm>
        </p:grpSpPr>
        <p:sp>
          <p:nvSpPr>
            <p:cNvPr id="61" name="Oval 23">
              <a:extLst>
                <a:ext uri="{FF2B5EF4-FFF2-40B4-BE49-F238E27FC236}">
                  <a16:creationId xmlns:a16="http://schemas.microsoft.com/office/drawing/2014/main" id="{6B1A8E63-1D70-542C-AC04-BB221F9B2B2C}"/>
                </a:ext>
              </a:extLst>
            </p:cNvPr>
            <p:cNvSpPr/>
            <p:nvPr/>
          </p:nvSpPr>
          <p:spPr>
            <a:xfrm>
              <a:off x="2704951" y="2107001"/>
              <a:ext cx="484632" cy="495652"/>
            </a:xfrm>
            <a:prstGeom prst="ellipse">
              <a:avLst/>
            </a:prstGeom>
            <a:solidFill>
              <a:srgbClr val="FDB5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grpSp>
          <p:nvGrpSpPr>
            <p:cNvPr id="62" name="Group 24">
              <a:extLst>
                <a:ext uri="{FF2B5EF4-FFF2-40B4-BE49-F238E27FC236}">
                  <a16:creationId xmlns:a16="http://schemas.microsoft.com/office/drawing/2014/main" id="{01B27E48-BBB5-C8F6-CE70-6216B4E7F08B}"/>
                </a:ext>
              </a:extLst>
            </p:cNvPr>
            <p:cNvGrpSpPr/>
            <p:nvPr/>
          </p:nvGrpSpPr>
          <p:grpSpPr>
            <a:xfrm>
              <a:off x="2864336" y="2247055"/>
              <a:ext cx="183701" cy="233772"/>
              <a:chOff x="7146926" y="512763"/>
              <a:chExt cx="207963" cy="258763"/>
            </a:xfrm>
            <a:solidFill>
              <a:schemeClr val="bg1"/>
            </a:solidFill>
          </p:grpSpPr>
          <p:sp>
            <p:nvSpPr>
              <p:cNvPr id="63" name="Freeform 464">
                <a:extLst>
                  <a:ext uri="{FF2B5EF4-FFF2-40B4-BE49-F238E27FC236}">
                    <a16:creationId xmlns:a16="http://schemas.microsoft.com/office/drawing/2014/main" id="{859A3DD1-66DE-2EEE-5323-AB2F1F146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6926" y="512763"/>
                <a:ext cx="98425" cy="117475"/>
              </a:xfrm>
              <a:custGeom>
                <a:avLst/>
                <a:gdLst>
                  <a:gd name="T0" fmla="*/ 1510 w 2489"/>
                  <a:gd name="T1" fmla="*/ 2970 h 2986"/>
                  <a:gd name="T2" fmla="*/ 1657 w 2489"/>
                  <a:gd name="T3" fmla="*/ 2969 h 2986"/>
                  <a:gd name="T4" fmla="*/ 1730 w 2489"/>
                  <a:gd name="T5" fmla="*/ 2843 h 2986"/>
                  <a:gd name="T6" fmla="*/ 1870 w 2489"/>
                  <a:gd name="T7" fmla="*/ 2682 h 2986"/>
                  <a:gd name="T8" fmla="*/ 2489 w 2489"/>
                  <a:gd name="T9" fmla="*/ 1532 h 2986"/>
                  <a:gd name="T10" fmla="*/ 1748 w 2489"/>
                  <a:gd name="T11" fmla="*/ 155 h 2986"/>
                  <a:gd name="T12" fmla="*/ 1492 w 2489"/>
                  <a:gd name="T13" fmla="*/ 0 h 2986"/>
                  <a:gd name="T14" fmla="*/ 1387 w 2489"/>
                  <a:gd name="T15" fmla="*/ 19 h 2986"/>
                  <a:gd name="T16" fmla="*/ 204 w 2489"/>
                  <a:gd name="T17" fmla="*/ 459 h 2986"/>
                  <a:gd name="T18" fmla="*/ 28 w 2489"/>
                  <a:gd name="T19" fmla="*/ 641 h 2986"/>
                  <a:gd name="T20" fmla="*/ 58 w 2489"/>
                  <a:gd name="T21" fmla="*/ 891 h 2986"/>
                  <a:gd name="T22" fmla="*/ 1382 w 2489"/>
                  <a:gd name="T23" fmla="*/ 2986 h 2986"/>
                  <a:gd name="T24" fmla="*/ 1510 w 2489"/>
                  <a:gd name="T25" fmla="*/ 2970 h 29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89" h="2986">
                    <a:moveTo>
                      <a:pt x="1510" y="2970"/>
                    </a:moveTo>
                    <a:lnTo>
                      <a:pt x="1657" y="2969"/>
                    </a:lnTo>
                    <a:lnTo>
                      <a:pt x="1730" y="2843"/>
                    </a:lnTo>
                    <a:cubicBezTo>
                      <a:pt x="1767" y="2780"/>
                      <a:pt x="1815" y="2726"/>
                      <a:pt x="1870" y="2682"/>
                    </a:cubicBezTo>
                    <a:lnTo>
                      <a:pt x="2489" y="1532"/>
                    </a:lnTo>
                    <a:lnTo>
                      <a:pt x="1748" y="155"/>
                    </a:lnTo>
                    <a:cubicBezTo>
                      <a:pt x="1696" y="58"/>
                      <a:pt x="1596" y="1"/>
                      <a:pt x="1492" y="0"/>
                    </a:cubicBezTo>
                    <a:cubicBezTo>
                      <a:pt x="1457" y="0"/>
                      <a:pt x="1422" y="6"/>
                      <a:pt x="1387" y="19"/>
                    </a:cubicBezTo>
                    <a:lnTo>
                      <a:pt x="204" y="459"/>
                    </a:lnTo>
                    <a:cubicBezTo>
                      <a:pt x="121" y="490"/>
                      <a:pt x="56" y="557"/>
                      <a:pt x="28" y="641"/>
                    </a:cubicBezTo>
                    <a:cubicBezTo>
                      <a:pt x="0" y="725"/>
                      <a:pt x="10" y="817"/>
                      <a:pt x="58" y="891"/>
                    </a:cubicBezTo>
                    <a:lnTo>
                      <a:pt x="1382" y="2986"/>
                    </a:lnTo>
                    <a:cubicBezTo>
                      <a:pt x="1423" y="2976"/>
                      <a:pt x="1466" y="2970"/>
                      <a:pt x="1510" y="29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  <a:latin typeface="Roboto Black" panose="02000000000000000000" pitchFamily="2" charset="0"/>
                  <a:ea typeface="Roboto Black" panose="02000000000000000000" pitchFamily="2" charset="0"/>
                </a:endParaRPr>
              </a:p>
            </p:txBody>
          </p:sp>
          <p:sp>
            <p:nvSpPr>
              <p:cNvPr id="64" name="Freeform 465">
                <a:extLst>
                  <a:ext uri="{FF2B5EF4-FFF2-40B4-BE49-F238E27FC236}">
                    <a16:creationId xmlns:a16="http://schemas.microsoft.com/office/drawing/2014/main" id="{C9865DF4-FBDC-A0BD-C953-95C999B7B7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5826" y="512763"/>
                <a:ext cx="119063" cy="117475"/>
              </a:xfrm>
              <a:custGeom>
                <a:avLst/>
                <a:gdLst>
                  <a:gd name="T0" fmla="*/ 3011 w 3039"/>
                  <a:gd name="T1" fmla="*/ 641 h 2986"/>
                  <a:gd name="T2" fmla="*/ 2835 w 3039"/>
                  <a:gd name="T3" fmla="*/ 459 h 2986"/>
                  <a:gd name="T4" fmla="*/ 1652 w 3039"/>
                  <a:gd name="T5" fmla="*/ 19 h 2986"/>
                  <a:gd name="T6" fmla="*/ 1547 w 3039"/>
                  <a:gd name="T7" fmla="*/ 0 h 2986"/>
                  <a:gd name="T8" fmla="*/ 1291 w 3039"/>
                  <a:gd name="T9" fmla="*/ 155 h 2986"/>
                  <a:gd name="T10" fmla="*/ 0 w 3039"/>
                  <a:gd name="T11" fmla="*/ 2554 h 2986"/>
                  <a:gd name="T12" fmla="*/ 256 w 3039"/>
                  <a:gd name="T13" fmla="*/ 2629 h 2986"/>
                  <a:gd name="T14" fmla="*/ 383 w 3039"/>
                  <a:gd name="T15" fmla="*/ 2701 h 2986"/>
                  <a:gd name="T16" fmla="*/ 509 w 3039"/>
                  <a:gd name="T17" fmla="*/ 2629 h 2986"/>
                  <a:gd name="T18" fmla="*/ 801 w 3039"/>
                  <a:gd name="T19" fmla="*/ 2552 h 2986"/>
                  <a:gd name="T20" fmla="*/ 1309 w 3039"/>
                  <a:gd name="T21" fmla="*/ 2843 h 2986"/>
                  <a:gd name="T22" fmla="*/ 1382 w 3039"/>
                  <a:gd name="T23" fmla="*/ 2970 h 2986"/>
                  <a:gd name="T24" fmla="*/ 1528 w 3039"/>
                  <a:gd name="T25" fmla="*/ 2970 h 2986"/>
                  <a:gd name="T26" fmla="*/ 1657 w 3039"/>
                  <a:gd name="T27" fmla="*/ 2986 h 2986"/>
                  <a:gd name="T28" fmla="*/ 2981 w 3039"/>
                  <a:gd name="T29" fmla="*/ 891 h 2986"/>
                  <a:gd name="T30" fmla="*/ 3011 w 3039"/>
                  <a:gd name="T31" fmla="*/ 641 h 29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39" h="2986">
                    <a:moveTo>
                      <a:pt x="3011" y="641"/>
                    </a:moveTo>
                    <a:cubicBezTo>
                      <a:pt x="2982" y="557"/>
                      <a:pt x="2918" y="490"/>
                      <a:pt x="2835" y="459"/>
                    </a:cubicBezTo>
                    <a:lnTo>
                      <a:pt x="1652" y="19"/>
                    </a:lnTo>
                    <a:cubicBezTo>
                      <a:pt x="1617" y="6"/>
                      <a:pt x="1582" y="0"/>
                      <a:pt x="1547" y="0"/>
                    </a:cubicBezTo>
                    <a:cubicBezTo>
                      <a:pt x="1442" y="1"/>
                      <a:pt x="1343" y="58"/>
                      <a:pt x="1291" y="155"/>
                    </a:cubicBezTo>
                    <a:lnTo>
                      <a:pt x="0" y="2554"/>
                    </a:lnTo>
                    <a:cubicBezTo>
                      <a:pt x="90" y="2559"/>
                      <a:pt x="178" y="2584"/>
                      <a:pt x="256" y="2629"/>
                    </a:cubicBezTo>
                    <a:lnTo>
                      <a:pt x="383" y="2701"/>
                    </a:lnTo>
                    <a:lnTo>
                      <a:pt x="509" y="2629"/>
                    </a:lnTo>
                    <a:cubicBezTo>
                      <a:pt x="598" y="2578"/>
                      <a:pt x="699" y="2552"/>
                      <a:pt x="801" y="2552"/>
                    </a:cubicBezTo>
                    <a:cubicBezTo>
                      <a:pt x="1009" y="2552"/>
                      <a:pt x="1204" y="2663"/>
                      <a:pt x="1309" y="2843"/>
                    </a:cubicBezTo>
                    <a:lnTo>
                      <a:pt x="1382" y="2970"/>
                    </a:lnTo>
                    <a:lnTo>
                      <a:pt x="1528" y="2970"/>
                    </a:lnTo>
                    <a:cubicBezTo>
                      <a:pt x="1572" y="2970"/>
                      <a:pt x="1616" y="2976"/>
                      <a:pt x="1657" y="2986"/>
                    </a:cubicBezTo>
                    <a:lnTo>
                      <a:pt x="2981" y="891"/>
                    </a:lnTo>
                    <a:cubicBezTo>
                      <a:pt x="3028" y="817"/>
                      <a:pt x="3039" y="725"/>
                      <a:pt x="3011" y="6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  <a:latin typeface="Roboto Black" panose="02000000000000000000" pitchFamily="2" charset="0"/>
                  <a:ea typeface="Roboto Black" panose="02000000000000000000" pitchFamily="2" charset="0"/>
                </a:endParaRPr>
              </a:p>
            </p:txBody>
          </p:sp>
          <p:sp>
            <p:nvSpPr>
              <p:cNvPr id="65" name="Freeform 466">
                <a:extLst>
                  <a:ext uri="{FF2B5EF4-FFF2-40B4-BE49-F238E27FC236}">
                    <a16:creationId xmlns:a16="http://schemas.microsoft.com/office/drawing/2014/main" id="{BF862331-88CB-2EB2-E01F-290B67A2F3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77088" y="622301"/>
                <a:ext cx="149225" cy="149225"/>
              </a:xfrm>
              <a:custGeom>
                <a:avLst/>
                <a:gdLst>
                  <a:gd name="T0" fmla="*/ 3605 w 3792"/>
                  <a:gd name="T1" fmla="*/ 1224 h 3791"/>
                  <a:gd name="T2" fmla="*/ 3334 w 3792"/>
                  <a:gd name="T3" fmla="*/ 1066 h 3791"/>
                  <a:gd name="T4" fmla="*/ 3332 w 3792"/>
                  <a:gd name="T5" fmla="*/ 752 h 3791"/>
                  <a:gd name="T6" fmla="*/ 3040 w 3792"/>
                  <a:gd name="T7" fmla="*/ 460 h 3791"/>
                  <a:gd name="T8" fmla="*/ 2726 w 3792"/>
                  <a:gd name="T9" fmla="*/ 458 h 3791"/>
                  <a:gd name="T10" fmla="*/ 2568 w 3792"/>
                  <a:gd name="T11" fmla="*/ 187 h 3791"/>
                  <a:gd name="T12" fmla="*/ 2168 w 3792"/>
                  <a:gd name="T13" fmla="*/ 80 h 3791"/>
                  <a:gd name="T14" fmla="*/ 1896 w 3792"/>
                  <a:gd name="T15" fmla="*/ 236 h 3791"/>
                  <a:gd name="T16" fmla="*/ 1623 w 3792"/>
                  <a:gd name="T17" fmla="*/ 80 h 3791"/>
                  <a:gd name="T18" fmla="*/ 1224 w 3792"/>
                  <a:gd name="T19" fmla="*/ 187 h 3791"/>
                  <a:gd name="T20" fmla="*/ 1065 w 3792"/>
                  <a:gd name="T21" fmla="*/ 458 h 3791"/>
                  <a:gd name="T22" fmla="*/ 752 w 3792"/>
                  <a:gd name="T23" fmla="*/ 460 h 3791"/>
                  <a:gd name="T24" fmla="*/ 460 w 3792"/>
                  <a:gd name="T25" fmla="*/ 752 h 3791"/>
                  <a:gd name="T26" fmla="*/ 458 w 3792"/>
                  <a:gd name="T27" fmla="*/ 1066 h 3791"/>
                  <a:gd name="T28" fmla="*/ 187 w 3792"/>
                  <a:gd name="T29" fmla="*/ 1224 h 3791"/>
                  <a:gd name="T30" fmla="*/ 80 w 3792"/>
                  <a:gd name="T31" fmla="*/ 1623 h 3791"/>
                  <a:gd name="T32" fmla="*/ 236 w 3792"/>
                  <a:gd name="T33" fmla="*/ 1896 h 3791"/>
                  <a:gd name="T34" fmla="*/ 80 w 3792"/>
                  <a:gd name="T35" fmla="*/ 2168 h 3791"/>
                  <a:gd name="T36" fmla="*/ 187 w 3792"/>
                  <a:gd name="T37" fmla="*/ 2568 h 3791"/>
                  <a:gd name="T38" fmla="*/ 458 w 3792"/>
                  <a:gd name="T39" fmla="*/ 2726 h 3791"/>
                  <a:gd name="T40" fmla="*/ 460 w 3792"/>
                  <a:gd name="T41" fmla="*/ 3040 h 3791"/>
                  <a:gd name="T42" fmla="*/ 752 w 3792"/>
                  <a:gd name="T43" fmla="*/ 3332 h 3791"/>
                  <a:gd name="T44" fmla="*/ 1065 w 3792"/>
                  <a:gd name="T45" fmla="*/ 3333 h 3791"/>
                  <a:gd name="T46" fmla="*/ 1224 w 3792"/>
                  <a:gd name="T47" fmla="*/ 3605 h 3791"/>
                  <a:gd name="T48" fmla="*/ 1623 w 3792"/>
                  <a:gd name="T49" fmla="*/ 3712 h 3791"/>
                  <a:gd name="T50" fmla="*/ 1896 w 3792"/>
                  <a:gd name="T51" fmla="*/ 3556 h 3791"/>
                  <a:gd name="T52" fmla="*/ 2168 w 3792"/>
                  <a:gd name="T53" fmla="*/ 3712 h 3791"/>
                  <a:gd name="T54" fmla="*/ 2314 w 3792"/>
                  <a:gd name="T55" fmla="*/ 3750 h 3791"/>
                  <a:gd name="T56" fmla="*/ 2568 w 3792"/>
                  <a:gd name="T57" fmla="*/ 3605 h 3791"/>
                  <a:gd name="T58" fmla="*/ 2726 w 3792"/>
                  <a:gd name="T59" fmla="*/ 3333 h 3791"/>
                  <a:gd name="T60" fmla="*/ 3040 w 3792"/>
                  <a:gd name="T61" fmla="*/ 3332 h 3791"/>
                  <a:gd name="T62" fmla="*/ 3332 w 3792"/>
                  <a:gd name="T63" fmla="*/ 3040 h 3791"/>
                  <a:gd name="T64" fmla="*/ 3334 w 3792"/>
                  <a:gd name="T65" fmla="*/ 2726 h 3791"/>
                  <a:gd name="T66" fmla="*/ 3605 w 3792"/>
                  <a:gd name="T67" fmla="*/ 2568 h 3791"/>
                  <a:gd name="T68" fmla="*/ 3711 w 3792"/>
                  <a:gd name="T69" fmla="*/ 2168 h 3791"/>
                  <a:gd name="T70" fmla="*/ 3556 w 3792"/>
                  <a:gd name="T71" fmla="*/ 1896 h 3791"/>
                  <a:gd name="T72" fmla="*/ 3711 w 3792"/>
                  <a:gd name="T73" fmla="*/ 1623 h 3791"/>
                  <a:gd name="T74" fmla="*/ 3605 w 3792"/>
                  <a:gd name="T75" fmla="*/ 1224 h 3791"/>
                  <a:gd name="T76" fmla="*/ 3014 w 3792"/>
                  <a:gd name="T77" fmla="*/ 1672 h 3791"/>
                  <a:gd name="T78" fmla="*/ 2455 w 3792"/>
                  <a:gd name="T79" fmla="*/ 2080 h 3791"/>
                  <a:gd name="T80" fmla="*/ 2668 w 3792"/>
                  <a:gd name="T81" fmla="*/ 2737 h 3791"/>
                  <a:gd name="T82" fmla="*/ 2618 w 3792"/>
                  <a:gd name="T83" fmla="*/ 2891 h 3791"/>
                  <a:gd name="T84" fmla="*/ 2536 w 3792"/>
                  <a:gd name="T85" fmla="*/ 2918 h 3791"/>
                  <a:gd name="T86" fmla="*/ 2455 w 3792"/>
                  <a:gd name="T87" fmla="*/ 2891 h 3791"/>
                  <a:gd name="T88" fmla="*/ 1896 w 3792"/>
                  <a:gd name="T89" fmla="*/ 2485 h 3791"/>
                  <a:gd name="T90" fmla="*/ 1337 w 3792"/>
                  <a:gd name="T91" fmla="*/ 2891 h 3791"/>
                  <a:gd name="T92" fmla="*/ 1174 w 3792"/>
                  <a:gd name="T93" fmla="*/ 2891 h 3791"/>
                  <a:gd name="T94" fmla="*/ 1123 w 3792"/>
                  <a:gd name="T95" fmla="*/ 2737 h 3791"/>
                  <a:gd name="T96" fmla="*/ 1337 w 3792"/>
                  <a:gd name="T97" fmla="*/ 2080 h 3791"/>
                  <a:gd name="T98" fmla="*/ 778 w 3792"/>
                  <a:gd name="T99" fmla="*/ 1672 h 3791"/>
                  <a:gd name="T100" fmla="*/ 728 w 3792"/>
                  <a:gd name="T101" fmla="*/ 1518 h 3791"/>
                  <a:gd name="T102" fmla="*/ 859 w 3792"/>
                  <a:gd name="T103" fmla="*/ 1422 h 3791"/>
                  <a:gd name="T104" fmla="*/ 1550 w 3792"/>
                  <a:gd name="T105" fmla="*/ 1422 h 3791"/>
                  <a:gd name="T106" fmla="*/ 1764 w 3792"/>
                  <a:gd name="T107" fmla="*/ 765 h 3791"/>
                  <a:gd name="T108" fmla="*/ 1896 w 3792"/>
                  <a:gd name="T109" fmla="*/ 669 h 3791"/>
                  <a:gd name="T110" fmla="*/ 2028 w 3792"/>
                  <a:gd name="T111" fmla="*/ 765 h 3791"/>
                  <a:gd name="T112" fmla="*/ 2241 w 3792"/>
                  <a:gd name="T113" fmla="*/ 1422 h 3791"/>
                  <a:gd name="T114" fmla="*/ 2932 w 3792"/>
                  <a:gd name="T115" fmla="*/ 1422 h 3791"/>
                  <a:gd name="T116" fmla="*/ 3064 w 3792"/>
                  <a:gd name="T117" fmla="*/ 1518 h 3791"/>
                  <a:gd name="T118" fmla="*/ 3014 w 3792"/>
                  <a:gd name="T119" fmla="*/ 1672 h 37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792" h="3791">
                    <a:moveTo>
                      <a:pt x="3605" y="1224"/>
                    </a:moveTo>
                    <a:lnTo>
                      <a:pt x="3334" y="1066"/>
                    </a:lnTo>
                    <a:lnTo>
                      <a:pt x="3332" y="752"/>
                    </a:lnTo>
                    <a:cubicBezTo>
                      <a:pt x="3331" y="591"/>
                      <a:pt x="3201" y="460"/>
                      <a:pt x="3040" y="460"/>
                    </a:cubicBezTo>
                    <a:lnTo>
                      <a:pt x="2726" y="458"/>
                    </a:lnTo>
                    <a:lnTo>
                      <a:pt x="2568" y="187"/>
                    </a:lnTo>
                    <a:cubicBezTo>
                      <a:pt x="2487" y="48"/>
                      <a:pt x="2308" y="0"/>
                      <a:pt x="2168" y="80"/>
                    </a:cubicBezTo>
                    <a:lnTo>
                      <a:pt x="1896" y="236"/>
                    </a:lnTo>
                    <a:lnTo>
                      <a:pt x="1623" y="80"/>
                    </a:lnTo>
                    <a:cubicBezTo>
                      <a:pt x="1484" y="0"/>
                      <a:pt x="1305" y="48"/>
                      <a:pt x="1224" y="187"/>
                    </a:cubicBezTo>
                    <a:lnTo>
                      <a:pt x="1065" y="458"/>
                    </a:lnTo>
                    <a:lnTo>
                      <a:pt x="752" y="460"/>
                    </a:lnTo>
                    <a:cubicBezTo>
                      <a:pt x="591" y="461"/>
                      <a:pt x="461" y="591"/>
                      <a:pt x="460" y="752"/>
                    </a:cubicBezTo>
                    <a:lnTo>
                      <a:pt x="458" y="1066"/>
                    </a:lnTo>
                    <a:lnTo>
                      <a:pt x="187" y="1224"/>
                    </a:lnTo>
                    <a:cubicBezTo>
                      <a:pt x="48" y="1305"/>
                      <a:pt x="0" y="1483"/>
                      <a:pt x="80" y="1623"/>
                    </a:cubicBezTo>
                    <a:lnTo>
                      <a:pt x="236" y="1896"/>
                    </a:lnTo>
                    <a:lnTo>
                      <a:pt x="80" y="2168"/>
                    </a:lnTo>
                    <a:cubicBezTo>
                      <a:pt x="0" y="2307"/>
                      <a:pt x="48" y="2486"/>
                      <a:pt x="187" y="2568"/>
                    </a:cubicBezTo>
                    <a:lnTo>
                      <a:pt x="458" y="2726"/>
                    </a:lnTo>
                    <a:lnTo>
                      <a:pt x="460" y="3040"/>
                    </a:lnTo>
                    <a:cubicBezTo>
                      <a:pt x="461" y="3200"/>
                      <a:pt x="591" y="3331"/>
                      <a:pt x="752" y="3332"/>
                    </a:cubicBezTo>
                    <a:lnTo>
                      <a:pt x="1065" y="3333"/>
                    </a:lnTo>
                    <a:lnTo>
                      <a:pt x="1224" y="3605"/>
                    </a:lnTo>
                    <a:cubicBezTo>
                      <a:pt x="1305" y="3744"/>
                      <a:pt x="1484" y="3791"/>
                      <a:pt x="1623" y="3712"/>
                    </a:cubicBezTo>
                    <a:lnTo>
                      <a:pt x="1896" y="3556"/>
                    </a:lnTo>
                    <a:lnTo>
                      <a:pt x="2168" y="3712"/>
                    </a:lnTo>
                    <a:cubicBezTo>
                      <a:pt x="2214" y="3738"/>
                      <a:pt x="2264" y="3750"/>
                      <a:pt x="2314" y="3750"/>
                    </a:cubicBezTo>
                    <a:cubicBezTo>
                      <a:pt x="2414" y="3750"/>
                      <a:pt x="2513" y="3698"/>
                      <a:pt x="2568" y="3605"/>
                    </a:cubicBezTo>
                    <a:lnTo>
                      <a:pt x="2726" y="3333"/>
                    </a:lnTo>
                    <a:lnTo>
                      <a:pt x="3040" y="3332"/>
                    </a:lnTo>
                    <a:cubicBezTo>
                      <a:pt x="3201" y="3331"/>
                      <a:pt x="3331" y="3200"/>
                      <a:pt x="3332" y="3040"/>
                    </a:cubicBezTo>
                    <a:lnTo>
                      <a:pt x="3334" y="2726"/>
                    </a:lnTo>
                    <a:lnTo>
                      <a:pt x="3605" y="2568"/>
                    </a:lnTo>
                    <a:cubicBezTo>
                      <a:pt x="3744" y="2486"/>
                      <a:pt x="3791" y="2308"/>
                      <a:pt x="3711" y="2168"/>
                    </a:cubicBezTo>
                    <a:lnTo>
                      <a:pt x="3556" y="1896"/>
                    </a:lnTo>
                    <a:lnTo>
                      <a:pt x="3711" y="1623"/>
                    </a:lnTo>
                    <a:cubicBezTo>
                      <a:pt x="3792" y="1483"/>
                      <a:pt x="3744" y="1305"/>
                      <a:pt x="3605" y="1224"/>
                    </a:cubicBezTo>
                    <a:close/>
                    <a:moveTo>
                      <a:pt x="3014" y="1672"/>
                    </a:moveTo>
                    <a:lnTo>
                      <a:pt x="2455" y="2080"/>
                    </a:lnTo>
                    <a:lnTo>
                      <a:pt x="2668" y="2737"/>
                    </a:lnTo>
                    <a:cubicBezTo>
                      <a:pt x="2687" y="2794"/>
                      <a:pt x="2666" y="2856"/>
                      <a:pt x="2618" y="2891"/>
                    </a:cubicBezTo>
                    <a:cubicBezTo>
                      <a:pt x="2593" y="2909"/>
                      <a:pt x="2565" y="2918"/>
                      <a:pt x="2536" y="2918"/>
                    </a:cubicBezTo>
                    <a:cubicBezTo>
                      <a:pt x="2508" y="2918"/>
                      <a:pt x="2479" y="2909"/>
                      <a:pt x="2455" y="2891"/>
                    </a:cubicBezTo>
                    <a:lnTo>
                      <a:pt x="1896" y="2485"/>
                    </a:lnTo>
                    <a:lnTo>
                      <a:pt x="1337" y="2891"/>
                    </a:lnTo>
                    <a:cubicBezTo>
                      <a:pt x="1288" y="2926"/>
                      <a:pt x="1222" y="2926"/>
                      <a:pt x="1174" y="2891"/>
                    </a:cubicBezTo>
                    <a:cubicBezTo>
                      <a:pt x="1125" y="2856"/>
                      <a:pt x="1105" y="2794"/>
                      <a:pt x="1123" y="2737"/>
                    </a:cubicBezTo>
                    <a:lnTo>
                      <a:pt x="1337" y="2080"/>
                    </a:lnTo>
                    <a:lnTo>
                      <a:pt x="778" y="1672"/>
                    </a:lnTo>
                    <a:cubicBezTo>
                      <a:pt x="729" y="1638"/>
                      <a:pt x="709" y="1575"/>
                      <a:pt x="728" y="1518"/>
                    </a:cubicBezTo>
                    <a:cubicBezTo>
                      <a:pt x="746" y="1461"/>
                      <a:pt x="799" y="1422"/>
                      <a:pt x="859" y="1422"/>
                    </a:cubicBezTo>
                    <a:lnTo>
                      <a:pt x="1550" y="1422"/>
                    </a:lnTo>
                    <a:lnTo>
                      <a:pt x="1764" y="765"/>
                    </a:lnTo>
                    <a:cubicBezTo>
                      <a:pt x="1783" y="708"/>
                      <a:pt x="1836" y="669"/>
                      <a:pt x="1896" y="669"/>
                    </a:cubicBezTo>
                    <a:cubicBezTo>
                      <a:pt x="1955" y="669"/>
                      <a:pt x="2009" y="708"/>
                      <a:pt x="2028" y="765"/>
                    </a:cubicBezTo>
                    <a:lnTo>
                      <a:pt x="2241" y="1422"/>
                    </a:lnTo>
                    <a:lnTo>
                      <a:pt x="2932" y="1422"/>
                    </a:lnTo>
                    <a:cubicBezTo>
                      <a:pt x="2992" y="1422"/>
                      <a:pt x="3046" y="1461"/>
                      <a:pt x="3064" y="1518"/>
                    </a:cubicBezTo>
                    <a:cubicBezTo>
                      <a:pt x="3082" y="1575"/>
                      <a:pt x="3062" y="1638"/>
                      <a:pt x="3014" y="16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  <a:latin typeface="Roboto Black" panose="02000000000000000000" pitchFamily="2" charset="0"/>
                  <a:ea typeface="Roboto Black" panose="02000000000000000000" pitchFamily="2" charset="0"/>
                </a:endParaRPr>
              </a:p>
            </p:txBody>
          </p:sp>
        </p:grpSp>
      </p:grpSp>
      <p:sp>
        <p:nvSpPr>
          <p:cNvPr id="81" name="Rectangle: Rounded Corners 50">
            <a:extLst>
              <a:ext uri="{FF2B5EF4-FFF2-40B4-BE49-F238E27FC236}">
                <a16:creationId xmlns:a16="http://schemas.microsoft.com/office/drawing/2014/main" id="{DD8A60E7-F9B4-BAE9-A1CE-F8D184DA01CF}"/>
              </a:ext>
            </a:extLst>
          </p:cNvPr>
          <p:cNvSpPr/>
          <p:nvPr/>
        </p:nvSpPr>
        <p:spPr>
          <a:xfrm>
            <a:off x="10717234" y="4632778"/>
            <a:ext cx="548640" cy="1734038"/>
          </a:xfrm>
          <a:prstGeom prst="roundRect">
            <a:avLst>
              <a:gd name="adj" fmla="val 15279"/>
            </a:avLst>
          </a:prstGeom>
          <a:solidFill>
            <a:schemeClr val="accent1">
              <a:lumMod val="20000"/>
              <a:lumOff val="80000"/>
              <a:alpha val="60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82" name="Rectangle: Rounded Corners 49">
            <a:extLst>
              <a:ext uri="{FF2B5EF4-FFF2-40B4-BE49-F238E27FC236}">
                <a16:creationId xmlns:a16="http://schemas.microsoft.com/office/drawing/2014/main" id="{391663D6-3E07-3E64-8917-892C0EF18C2F}"/>
              </a:ext>
            </a:extLst>
          </p:cNvPr>
          <p:cNvSpPr/>
          <p:nvPr/>
        </p:nvSpPr>
        <p:spPr>
          <a:xfrm>
            <a:off x="10717234" y="2248883"/>
            <a:ext cx="548640" cy="1734038"/>
          </a:xfrm>
          <a:prstGeom prst="roundRect">
            <a:avLst>
              <a:gd name="adj" fmla="val 15279"/>
            </a:avLst>
          </a:prstGeom>
          <a:solidFill>
            <a:schemeClr val="accent1">
              <a:lumMod val="20000"/>
              <a:lumOff val="80000"/>
              <a:alpha val="60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83" name="Rectangle: Rounded Corners 7">
            <a:extLst>
              <a:ext uri="{FF2B5EF4-FFF2-40B4-BE49-F238E27FC236}">
                <a16:creationId xmlns:a16="http://schemas.microsoft.com/office/drawing/2014/main" id="{DF79F035-6208-D9AA-5FB2-3A2C88459314}"/>
              </a:ext>
            </a:extLst>
          </p:cNvPr>
          <p:cNvSpPr/>
          <p:nvPr/>
        </p:nvSpPr>
        <p:spPr>
          <a:xfrm rot="10800000" flipH="1" flipV="1">
            <a:off x="4835097" y="4365172"/>
            <a:ext cx="3421487" cy="2282677"/>
          </a:xfrm>
          <a:prstGeom prst="roundRect">
            <a:avLst>
              <a:gd name="adj" fmla="val 3438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latin typeface="Roboto Black" panose="02000000000000000000" pitchFamily="2" charset="0"/>
                <a:ea typeface="Roboto Black" panose="02000000000000000000" pitchFamily="2" charset="0"/>
              </a:rPr>
              <a:t>  </a:t>
            </a:r>
          </a:p>
        </p:txBody>
      </p:sp>
      <p:sp>
        <p:nvSpPr>
          <p:cNvPr id="98" name="Rectangle: Rounded Corners 7">
            <a:extLst>
              <a:ext uri="{FF2B5EF4-FFF2-40B4-BE49-F238E27FC236}">
                <a16:creationId xmlns:a16="http://schemas.microsoft.com/office/drawing/2014/main" id="{3F2BD526-AE35-C537-BABB-5CA88F3E459D}"/>
              </a:ext>
            </a:extLst>
          </p:cNvPr>
          <p:cNvSpPr/>
          <p:nvPr/>
        </p:nvSpPr>
        <p:spPr>
          <a:xfrm rot="10800000" flipH="1" flipV="1">
            <a:off x="7735855" y="1974564"/>
            <a:ext cx="3348336" cy="2282677"/>
          </a:xfrm>
          <a:prstGeom prst="roundRect">
            <a:avLst>
              <a:gd name="adj" fmla="val 3438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99" name="Rectangle: Rounded Corners 8">
            <a:extLst>
              <a:ext uri="{FF2B5EF4-FFF2-40B4-BE49-F238E27FC236}">
                <a16:creationId xmlns:a16="http://schemas.microsoft.com/office/drawing/2014/main" id="{9B759C2C-8EA7-D8C3-2F7E-FA398DF6895B}"/>
              </a:ext>
            </a:extLst>
          </p:cNvPr>
          <p:cNvSpPr/>
          <p:nvPr/>
        </p:nvSpPr>
        <p:spPr>
          <a:xfrm rot="10800000" flipH="1" flipV="1">
            <a:off x="7735855" y="4358013"/>
            <a:ext cx="3348336" cy="2283568"/>
          </a:xfrm>
          <a:prstGeom prst="roundRect">
            <a:avLst>
              <a:gd name="adj" fmla="val 3438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111" name="TextBox 22">
            <a:extLst>
              <a:ext uri="{FF2B5EF4-FFF2-40B4-BE49-F238E27FC236}">
                <a16:creationId xmlns:a16="http://schemas.microsoft.com/office/drawing/2014/main" id="{27D3E84A-D600-D08A-AD4A-CD27E1C4C2DD}"/>
              </a:ext>
            </a:extLst>
          </p:cNvPr>
          <p:cNvSpPr txBox="1"/>
          <p:nvPr/>
        </p:nvSpPr>
        <p:spPr>
          <a:xfrm>
            <a:off x="5275205" y="5499797"/>
            <a:ext cx="199078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  <a:sym typeface="Arial"/>
              </a:rPr>
              <a:t>Ponad </a:t>
            </a:r>
            <a:r>
              <a:rPr lang="en-US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200 000 </a:t>
            </a:r>
          </a:p>
          <a:p>
            <a:pPr algn="ctr"/>
            <a:r>
              <a:rPr lang="pl-PL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wykonanych analiz </a:t>
            </a:r>
            <a:br>
              <a:rPr lang="pl-PL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</a:br>
            <a:r>
              <a:rPr lang="pl-PL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w Polsce</a:t>
            </a:r>
            <a:endParaRPr lang="en-US">
              <a:solidFill>
                <a:schemeClr val="tx1">
                  <a:lumMod val="85000"/>
                  <a:lumOff val="15000"/>
                </a:schemeClr>
              </a:solidFill>
              <a:ea typeface="Roboto Black" panose="020000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115" name="TextBox 22">
            <a:extLst>
              <a:ext uri="{FF2B5EF4-FFF2-40B4-BE49-F238E27FC236}">
                <a16:creationId xmlns:a16="http://schemas.microsoft.com/office/drawing/2014/main" id="{EB038B9B-BF54-DB81-28DB-2743E37C7CDA}"/>
              </a:ext>
            </a:extLst>
          </p:cNvPr>
          <p:cNvSpPr txBox="1"/>
          <p:nvPr/>
        </p:nvSpPr>
        <p:spPr>
          <a:xfrm>
            <a:off x="5233648" y="3141551"/>
            <a:ext cx="19907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Sprawdzony </a:t>
            </a:r>
            <a:br>
              <a:rPr lang="pl-PL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</a:br>
            <a:r>
              <a:rPr lang="pl-PL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i prosty model</a:t>
            </a:r>
          </a:p>
        </p:txBody>
      </p:sp>
      <p:sp>
        <p:nvSpPr>
          <p:cNvPr id="119" name="TextBox 22">
            <a:extLst>
              <a:ext uri="{FF2B5EF4-FFF2-40B4-BE49-F238E27FC236}">
                <a16:creationId xmlns:a16="http://schemas.microsoft.com/office/drawing/2014/main" id="{B084B37F-4797-28AF-1128-9CCF91B1A79A}"/>
              </a:ext>
            </a:extLst>
          </p:cNvPr>
          <p:cNvSpPr txBox="1"/>
          <p:nvPr/>
        </p:nvSpPr>
        <p:spPr>
          <a:xfrm>
            <a:off x="8336276" y="5499797"/>
            <a:ext cx="199078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Stabilne w czasie </a:t>
            </a:r>
            <a:br>
              <a:rPr lang="pl-PL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</a:br>
            <a:r>
              <a:rPr lang="pl-PL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i wiarygodne wyniki</a:t>
            </a:r>
          </a:p>
        </p:txBody>
      </p:sp>
      <p:sp>
        <p:nvSpPr>
          <p:cNvPr id="125" name="Graphic 49">
            <a:extLst>
              <a:ext uri="{FF2B5EF4-FFF2-40B4-BE49-F238E27FC236}">
                <a16:creationId xmlns:a16="http://schemas.microsoft.com/office/drawing/2014/main" id="{621A1BF9-E2B5-1003-5BFD-EC4B80CCD9A0}"/>
              </a:ext>
            </a:extLst>
          </p:cNvPr>
          <p:cNvSpPr/>
          <p:nvPr/>
        </p:nvSpPr>
        <p:spPr>
          <a:xfrm rot="6201201" flipH="1">
            <a:off x="1462328" y="1932546"/>
            <a:ext cx="556308" cy="514083"/>
          </a:xfrm>
          <a:custGeom>
            <a:avLst/>
            <a:gdLst>
              <a:gd name="connsiteX0" fmla="*/ -429 w 718318"/>
              <a:gd name="connsiteY0" fmla="*/ 697770 h 698277"/>
              <a:gd name="connsiteX1" fmla="*/ 717089 w 718318"/>
              <a:gd name="connsiteY1" fmla="*/ -507 h 698277"/>
              <a:gd name="connsiteX0" fmla="*/ 0 w 704320"/>
              <a:gd name="connsiteY0" fmla="*/ 691271 h 691271"/>
              <a:gd name="connsiteX1" fmla="*/ 703505 w 704320"/>
              <a:gd name="connsiteY1" fmla="*/ 0 h 691271"/>
              <a:gd name="connsiteX0" fmla="*/ 0 w 697321"/>
              <a:gd name="connsiteY0" fmla="*/ 684265 h 684265"/>
              <a:gd name="connsiteX1" fmla="*/ 696499 w 697321"/>
              <a:gd name="connsiteY1" fmla="*/ 0 h 684265"/>
              <a:gd name="connsiteX0" fmla="*/ 0 w 777373"/>
              <a:gd name="connsiteY0" fmla="*/ 684265 h 718368"/>
              <a:gd name="connsiteX1" fmla="*/ 696499 w 777373"/>
              <a:gd name="connsiteY1" fmla="*/ 0 h 71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77373" h="718368">
                <a:moveTo>
                  <a:pt x="0" y="684265"/>
                </a:moveTo>
                <a:cubicBezTo>
                  <a:pt x="0" y="684265"/>
                  <a:pt x="1075388" y="949610"/>
                  <a:pt x="696499" y="0"/>
                </a:cubicBezTo>
              </a:path>
            </a:pathLst>
          </a:custGeom>
          <a:noFill/>
          <a:ln w="25400" cap="rnd">
            <a:solidFill>
              <a:schemeClr val="accent1"/>
            </a:solidFill>
            <a:prstDash val="solid"/>
            <a:round/>
            <a:tailEnd type="arrow" w="med" len="sm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26" name="Freeform: Shape 34">
            <a:extLst>
              <a:ext uri="{FF2B5EF4-FFF2-40B4-BE49-F238E27FC236}">
                <a16:creationId xmlns:a16="http://schemas.microsoft.com/office/drawing/2014/main" id="{7C658E88-411E-3F06-54B9-390E17DE3DEB}"/>
              </a:ext>
            </a:extLst>
          </p:cNvPr>
          <p:cNvSpPr/>
          <p:nvPr/>
        </p:nvSpPr>
        <p:spPr>
          <a:xfrm>
            <a:off x="982663" y="5144397"/>
            <a:ext cx="569816" cy="831865"/>
          </a:xfrm>
          <a:custGeom>
            <a:avLst/>
            <a:gdLst>
              <a:gd name="connsiteX0" fmla="*/ 546957 w 569816"/>
              <a:gd name="connsiteY0" fmla="*/ 786146 h 831865"/>
              <a:gd name="connsiteX1" fmla="*/ 569816 w 569816"/>
              <a:gd name="connsiteY1" fmla="*/ 809006 h 831865"/>
              <a:gd name="connsiteX2" fmla="*/ 546957 w 569816"/>
              <a:gd name="connsiteY2" fmla="*/ 831865 h 831865"/>
              <a:gd name="connsiteX3" fmla="*/ 524097 w 569816"/>
              <a:gd name="connsiteY3" fmla="*/ 809006 h 831865"/>
              <a:gd name="connsiteX4" fmla="*/ 546957 w 569816"/>
              <a:gd name="connsiteY4" fmla="*/ 786146 h 831865"/>
              <a:gd name="connsiteX5" fmla="*/ 284908 w 569816"/>
              <a:gd name="connsiteY5" fmla="*/ 786146 h 831865"/>
              <a:gd name="connsiteX6" fmla="*/ 307767 w 569816"/>
              <a:gd name="connsiteY6" fmla="*/ 809006 h 831865"/>
              <a:gd name="connsiteX7" fmla="*/ 284908 w 569816"/>
              <a:gd name="connsiteY7" fmla="*/ 831865 h 831865"/>
              <a:gd name="connsiteX8" fmla="*/ 262048 w 569816"/>
              <a:gd name="connsiteY8" fmla="*/ 809006 h 831865"/>
              <a:gd name="connsiteX9" fmla="*/ 284908 w 569816"/>
              <a:gd name="connsiteY9" fmla="*/ 786146 h 831865"/>
              <a:gd name="connsiteX10" fmla="*/ 22860 w 569816"/>
              <a:gd name="connsiteY10" fmla="*/ 786146 h 831865"/>
              <a:gd name="connsiteX11" fmla="*/ 45719 w 569816"/>
              <a:gd name="connsiteY11" fmla="*/ 809006 h 831865"/>
              <a:gd name="connsiteX12" fmla="*/ 22860 w 569816"/>
              <a:gd name="connsiteY12" fmla="*/ 831865 h 831865"/>
              <a:gd name="connsiteX13" fmla="*/ 0 w 569816"/>
              <a:gd name="connsiteY13" fmla="*/ 809006 h 831865"/>
              <a:gd name="connsiteX14" fmla="*/ 22860 w 569816"/>
              <a:gd name="connsiteY14" fmla="*/ 786146 h 831865"/>
              <a:gd name="connsiteX15" fmla="*/ 546957 w 569816"/>
              <a:gd name="connsiteY15" fmla="*/ 524097 h 831865"/>
              <a:gd name="connsiteX16" fmla="*/ 569816 w 569816"/>
              <a:gd name="connsiteY16" fmla="*/ 546957 h 831865"/>
              <a:gd name="connsiteX17" fmla="*/ 546957 w 569816"/>
              <a:gd name="connsiteY17" fmla="*/ 569816 h 831865"/>
              <a:gd name="connsiteX18" fmla="*/ 524097 w 569816"/>
              <a:gd name="connsiteY18" fmla="*/ 546957 h 831865"/>
              <a:gd name="connsiteX19" fmla="*/ 546957 w 569816"/>
              <a:gd name="connsiteY19" fmla="*/ 524097 h 831865"/>
              <a:gd name="connsiteX20" fmla="*/ 284908 w 569816"/>
              <a:gd name="connsiteY20" fmla="*/ 524097 h 831865"/>
              <a:gd name="connsiteX21" fmla="*/ 307767 w 569816"/>
              <a:gd name="connsiteY21" fmla="*/ 546957 h 831865"/>
              <a:gd name="connsiteX22" fmla="*/ 284908 w 569816"/>
              <a:gd name="connsiteY22" fmla="*/ 569816 h 831865"/>
              <a:gd name="connsiteX23" fmla="*/ 262048 w 569816"/>
              <a:gd name="connsiteY23" fmla="*/ 546957 h 831865"/>
              <a:gd name="connsiteX24" fmla="*/ 284908 w 569816"/>
              <a:gd name="connsiteY24" fmla="*/ 524097 h 831865"/>
              <a:gd name="connsiteX25" fmla="*/ 22860 w 569816"/>
              <a:gd name="connsiteY25" fmla="*/ 524097 h 831865"/>
              <a:gd name="connsiteX26" fmla="*/ 45719 w 569816"/>
              <a:gd name="connsiteY26" fmla="*/ 546957 h 831865"/>
              <a:gd name="connsiteX27" fmla="*/ 22860 w 569816"/>
              <a:gd name="connsiteY27" fmla="*/ 569816 h 831865"/>
              <a:gd name="connsiteX28" fmla="*/ 0 w 569816"/>
              <a:gd name="connsiteY28" fmla="*/ 546957 h 831865"/>
              <a:gd name="connsiteX29" fmla="*/ 22860 w 569816"/>
              <a:gd name="connsiteY29" fmla="*/ 524097 h 831865"/>
              <a:gd name="connsiteX30" fmla="*/ 546957 w 569816"/>
              <a:gd name="connsiteY30" fmla="*/ 262048 h 831865"/>
              <a:gd name="connsiteX31" fmla="*/ 569816 w 569816"/>
              <a:gd name="connsiteY31" fmla="*/ 284908 h 831865"/>
              <a:gd name="connsiteX32" fmla="*/ 546957 w 569816"/>
              <a:gd name="connsiteY32" fmla="*/ 307767 h 831865"/>
              <a:gd name="connsiteX33" fmla="*/ 524097 w 569816"/>
              <a:gd name="connsiteY33" fmla="*/ 284908 h 831865"/>
              <a:gd name="connsiteX34" fmla="*/ 546957 w 569816"/>
              <a:gd name="connsiteY34" fmla="*/ 262048 h 831865"/>
              <a:gd name="connsiteX35" fmla="*/ 284908 w 569816"/>
              <a:gd name="connsiteY35" fmla="*/ 262048 h 831865"/>
              <a:gd name="connsiteX36" fmla="*/ 307767 w 569816"/>
              <a:gd name="connsiteY36" fmla="*/ 284908 h 831865"/>
              <a:gd name="connsiteX37" fmla="*/ 284908 w 569816"/>
              <a:gd name="connsiteY37" fmla="*/ 307767 h 831865"/>
              <a:gd name="connsiteX38" fmla="*/ 262048 w 569816"/>
              <a:gd name="connsiteY38" fmla="*/ 284908 h 831865"/>
              <a:gd name="connsiteX39" fmla="*/ 284908 w 569816"/>
              <a:gd name="connsiteY39" fmla="*/ 262048 h 831865"/>
              <a:gd name="connsiteX40" fmla="*/ 22860 w 569816"/>
              <a:gd name="connsiteY40" fmla="*/ 262048 h 831865"/>
              <a:gd name="connsiteX41" fmla="*/ 45719 w 569816"/>
              <a:gd name="connsiteY41" fmla="*/ 284908 h 831865"/>
              <a:gd name="connsiteX42" fmla="*/ 22860 w 569816"/>
              <a:gd name="connsiteY42" fmla="*/ 307767 h 831865"/>
              <a:gd name="connsiteX43" fmla="*/ 0 w 569816"/>
              <a:gd name="connsiteY43" fmla="*/ 284908 h 831865"/>
              <a:gd name="connsiteX44" fmla="*/ 22860 w 569816"/>
              <a:gd name="connsiteY44" fmla="*/ 262048 h 831865"/>
              <a:gd name="connsiteX45" fmla="*/ 546957 w 569816"/>
              <a:gd name="connsiteY45" fmla="*/ 0 h 831865"/>
              <a:gd name="connsiteX46" fmla="*/ 569816 w 569816"/>
              <a:gd name="connsiteY46" fmla="*/ 22860 h 831865"/>
              <a:gd name="connsiteX47" fmla="*/ 546957 w 569816"/>
              <a:gd name="connsiteY47" fmla="*/ 45719 h 831865"/>
              <a:gd name="connsiteX48" fmla="*/ 524097 w 569816"/>
              <a:gd name="connsiteY48" fmla="*/ 22860 h 831865"/>
              <a:gd name="connsiteX49" fmla="*/ 546957 w 569816"/>
              <a:gd name="connsiteY49" fmla="*/ 0 h 831865"/>
              <a:gd name="connsiteX50" fmla="*/ 284908 w 569816"/>
              <a:gd name="connsiteY50" fmla="*/ 0 h 831865"/>
              <a:gd name="connsiteX51" fmla="*/ 307767 w 569816"/>
              <a:gd name="connsiteY51" fmla="*/ 22860 h 831865"/>
              <a:gd name="connsiteX52" fmla="*/ 284908 w 569816"/>
              <a:gd name="connsiteY52" fmla="*/ 45719 h 831865"/>
              <a:gd name="connsiteX53" fmla="*/ 262048 w 569816"/>
              <a:gd name="connsiteY53" fmla="*/ 22860 h 831865"/>
              <a:gd name="connsiteX54" fmla="*/ 284908 w 569816"/>
              <a:gd name="connsiteY54" fmla="*/ 0 h 831865"/>
              <a:gd name="connsiteX55" fmla="*/ 22860 w 569816"/>
              <a:gd name="connsiteY55" fmla="*/ 0 h 831865"/>
              <a:gd name="connsiteX56" fmla="*/ 45719 w 569816"/>
              <a:gd name="connsiteY56" fmla="*/ 22860 h 831865"/>
              <a:gd name="connsiteX57" fmla="*/ 22860 w 569816"/>
              <a:gd name="connsiteY57" fmla="*/ 45719 h 831865"/>
              <a:gd name="connsiteX58" fmla="*/ 0 w 569816"/>
              <a:gd name="connsiteY58" fmla="*/ 22860 h 831865"/>
              <a:gd name="connsiteX59" fmla="*/ 22860 w 569816"/>
              <a:gd name="connsiteY59" fmla="*/ 0 h 831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569816" h="831865">
                <a:moveTo>
                  <a:pt x="546957" y="786146"/>
                </a:moveTo>
                <a:cubicBezTo>
                  <a:pt x="559582" y="786146"/>
                  <a:pt x="569816" y="796380"/>
                  <a:pt x="569816" y="809006"/>
                </a:cubicBezTo>
                <a:cubicBezTo>
                  <a:pt x="569816" y="821631"/>
                  <a:pt x="559582" y="831865"/>
                  <a:pt x="546957" y="831865"/>
                </a:cubicBezTo>
                <a:cubicBezTo>
                  <a:pt x="534332" y="831865"/>
                  <a:pt x="524097" y="821631"/>
                  <a:pt x="524097" y="809006"/>
                </a:cubicBezTo>
                <a:cubicBezTo>
                  <a:pt x="524097" y="796380"/>
                  <a:pt x="534332" y="786146"/>
                  <a:pt x="546957" y="786146"/>
                </a:cubicBezTo>
                <a:close/>
                <a:moveTo>
                  <a:pt x="284908" y="786146"/>
                </a:moveTo>
                <a:cubicBezTo>
                  <a:pt x="297533" y="786146"/>
                  <a:pt x="307767" y="796380"/>
                  <a:pt x="307767" y="809006"/>
                </a:cubicBezTo>
                <a:cubicBezTo>
                  <a:pt x="307767" y="821631"/>
                  <a:pt x="297533" y="831865"/>
                  <a:pt x="284908" y="831865"/>
                </a:cubicBezTo>
                <a:cubicBezTo>
                  <a:pt x="272283" y="831865"/>
                  <a:pt x="262048" y="821631"/>
                  <a:pt x="262048" y="809006"/>
                </a:cubicBezTo>
                <a:cubicBezTo>
                  <a:pt x="262048" y="796380"/>
                  <a:pt x="272283" y="786146"/>
                  <a:pt x="284908" y="786146"/>
                </a:cubicBezTo>
                <a:close/>
                <a:moveTo>
                  <a:pt x="22860" y="786146"/>
                </a:moveTo>
                <a:cubicBezTo>
                  <a:pt x="35485" y="786146"/>
                  <a:pt x="45719" y="796380"/>
                  <a:pt x="45719" y="809006"/>
                </a:cubicBezTo>
                <a:cubicBezTo>
                  <a:pt x="45719" y="821631"/>
                  <a:pt x="35485" y="831865"/>
                  <a:pt x="22860" y="831865"/>
                </a:cubicBezTo>
                <a:cubicBezTo>
                  <a:pt x="10235" y="831865"/>
                  <a:pt x="0" y="821631"/>
                  <a:pt x="0" y="809006"/>
                </a:cubicBezTo>
                <a:cubicBezTo>
                  <a:pt x="0" y="796380"/>
                  <a:pt x="10235" y="786146"/>
                  <a:pt x="22860" y="786146"/>
                </a:cubicBezTo>
                <a:close/>
                <a:moveTo>
                  <a:pt x="546957" y="524097"/>
                </a:moveTo>
                <a:cubicBezTo>
                  <a:pt x="559582" y="524097"/>
                  <a:pt x="569816" y="534331"/>
                  <a:pt x="569816" y="546957"/>
                </a:cubicBezTo>
                <a:cubicBezTo>
                  <a:pt x="569816" y="559582"/>
                  <a:pt x="559582" y="569816"/>
                  <a:pt x="546957" y="569816"/>
                </a:cubicBezTo>
                <a:cubicBezTo>
                  <a:pt x="534332" y="569816"/>
                  <a:pt x="524097" y="559582"/>
                  <a:pt x="524097" y="546957"/>
                </a:cubicBezTo>
                <a:cubicBezTo>
                  <a:pt x="524097" y="534331"/>
                  <a:pt x="534332" y="524097"/>
                  <a:pt x="546957" y="524097"/>
                </a:cubicBezTo>
                <a:close/>
                <a:moveTo>
                  <a:pt x="284908" y="524097"/>
                </a:moveTo>
                <a:cubicBezTo>
                  <a:pt x="297533" y="524097"/>
                  <a:pt x="307767" y="534331"/>
                  <a:pt x="307767" y="546957"/>
                </a:cubicBezTo>
                <a:cubicBezTo>
                  <a:pt x="307767" y="559582"/>
                  <a:pt x="297533" y="569816"/>
                  <a:pt x="284908" y="569816"/>
                </a:cubicBezTo>
                <a:cubicBezTo>
                  <a:pt x="272283" y="569816"/>
                  <a:pt x="262048" y="559582"/>
                  <a:pt x="262048" y="546957"/>
                </a:cubicBezTo>
                <a:cubicBezTo>
                  <a:pt x="262048" y="534331"/>
                  <a:pt x="272283" y="524097"/>
                  <a:pt x="284908" y="524097"/>
                </a:cubicBezTo>
                <a:close/>
                <a:moveTo>
                  <a:pt x="22860" y="524097"/>
                </a:moveTo>
                <a:cubicBezTo>
                  <a:pt x="35485" y="524097"/>
                  <a:pt x="45719" y="534331"/>
                  <a:pt x="45719" y="546957"/>
                </a:cubicBezTo>
                <a:cubicBezTo>
                  <a:pt x="45719" y="559582"/>
                  <a:pt x="35485" y="569816"/>
                  <a:pt x="22860" y="569816"/>
                </a:cubicBezTo>
                <a:cubicBezTo>
                  <a:pt x="10235" y="569816"/>
                  <a:pt x="0" y="559582"/>
                  <a:pt x="0" y="546957"/>
                </a:cubicBezTo>
                <a:cubicBezTo>
                  <a:pt x="0" y="534331"/>
                  <a:pt x="10235" y="524097"/>
                  <a:pt x="22860" y="524097"/>
                </a:cubicBezTo>
                <a:close/>
                <a:moveTo>
                  <a:pt x="546957" y="262048"/>
                </a:moveTo>
                <a:cubicBezTo>
                  <a:pt x="559582" y="262048"/>
                  <a:pt x="569816" y="272282"/>
                  <a:pt x="569816" y="284908"/>
                </a:cubicBezTo>
                <a:cubicBezTo>
                  <a:pt x="569816" y="297533"/>
                  <a:pt x="559582" y="307767"/>
                  <a:pt x="546957" y="307767"/>
                </a:cubicBezTo>
                <a:cubicBezTo>
                  <a:pt x="534332" y="307767"/>
                  <a:pt x="524097" y="297533"/>
                  <a:pt x="524097" y="284908"/>
                </a:cubicBezTo>
                <a:cubicBezTo>
                  <a:pt x="524097" y="272282"/>
                  <a:pt x="534332" y="262048"/>
                  <a:pt x="546957" y="262048"/>
                </a:cubicBezTo>
                <a:close/>
                <a:moveTo>
                  <a:pt x="284908" y="262048"/>
                </a:moveTo>
                <a:cubicBezTo>
                  <a:pt x="297533" y="262048"/>
                  <a:pt x="307767" y="272282"/>
                  <a:pt x="307767" y="284908"/>
                </a:cubicBezTo>
                <a:cubicBezTo>
                  <a:pt x="307767" y="297533"/>
                  <a:pt x="297533" y="307767"/>
                  <a:pt x="284908" y="307767"/>
                </a:cubicBezTo>
                <a:cubicBezTo>
                  <a:pt x="272283" y="307767"/>
                  <a:pt x="262048" y="297533"/>
                  <a:pt x="262048" y="284908"/>
                </a:cubicBezTo>
                <a:cubicBezTo>
                  <a:pt x="262048" y="272282"/>
                  <a:pt x="272283" y="262048"/>
                  <a:pt x="284908" y="262048"/>
                </a:cubicBezTo>
                <a:close/>
                <a:moveTo>
                  <a:pt x="22860" y="262048"/>
                </a:moveTo>
                <a:cubicBezTo>
                  <a:pt x="35485" y="262048"/>
                  <a:pt x="45719" y="272282"/>
                  <a:pt x="45719" y="284908"/>
                </a:cubicBezTo>
                <a:cubicBezTo>
                  <a:pt x="45719" y="297533"/>
                  <a:pt x="35485" y="307767"/>
                  <a:pt x="22860" y="307767"/>
                </a:cubicBezTo>
                <a:cubicBezTo>
                  <a:pt x="10235" y="307767"/>
                  <a:pt x="0" y="297533"/>
                  <a:pt x="0" y="284908"/>
                </a:cubicBezTo>
                <a:cubicBezTo>
                  <a:pt x="0" y="272282"/>
                  <a:pt x="10235" y="262048"/>
                  <a:pt x="22860" y="262048"/>
                </a:cubicBezTo>
                <a:close/>
                <a:moveTo>
                  <a:pt x="546957" y="0"/>
                </a:moveTo>
                <a:cubicBezTo>
                  <a:pt x="559582" y="0"/>
                  <a:pt x="569816" y="10234"/>
                  <a:pt x="569816" y="22860"/>
                </a:cubicBezTo>
                <a:cubicBezTo>
                  <a:pt x="569816" y="35485"/>
                  <a:pt x="559582" y="45719"/>
                  <a:pt x="546957" y="45719"/>
                </a:cubicBezTo>
                <a:cubicBezTo>
                  <a:pt x="534332" y="45719"/>
                  <a:pt x="524097" y="35485"/>
                  <a:pt x="524097" y="22860"/>
                </a:cubicBezTo>
                <a:cubicBezTo>
                  <a:pt x="524097" y="10234"/>
                  <a:pt x="534332" y="0"/>
                  <a:pt x="546957" y="0"/>
                </a:cubicBezTo>
                <a:close/>
                <a:moveTo>
                  <a:pt x="284908" y="0"/>
                </a:moveTo>
                <a:cubicBezTo>
                  <a:pt x="297533" y="0"/>
                  <a:pt x="307767" y="10234"/>
                  <a:pt x="307767" y="22860"/>
                </a:cubicBezTo>
                <a:cubicBezTo>
                  <a:pt x="307767" y="35485"/>
                  <a:pt x="297533" y="45719"/>
                  <a:pt x="284908" y="45719"/>
                </a:cubicBezTo>
                <a:cubicBezTo>
                  <a:pt x="272283" y="45719"/>
                  <a:pt x="262048" y="35485"/>
                  <a:pt x="262048" y="22860"/>
                </a:cubicBezTo>
                <a:cubicBezTo>
                  <a:pt x="262048" y="10234"/>
                  <a:pt x="272283" y="0"/>
                  <a:pt x="284908" y="0"/>
                </a:cubicBezTo>
                <a:close/>
                <a:moveTo>
                  <a:pt x="22860" y="0"/>
                </a:moveTo>
                <a:cubicBezTo>
                  <a:pt x="35485" y="0"/>
                  <a:pt x="45719" y="10234"/>
                  <a:pt x="45719" y="22860"/>
                </a:cubicBezTo>
                <a:cubicBezTo>
                  <a:pt x="45719" y="35485"/>
                  <a:pt x="35485" y="45719"/>
                  <a:pt x="22860" y="45719"/>
                </a:cubicBezTo>
                <a:cubicBezTo>
                  <a:pt x="10235" y="45719"/>
                  <a:pt x="0" y="35485"/>
                  <a:pt x="0" y="22860"/>
                </a:cubicBezTo>
                <a:cubicBezTo>
                  <a:pt x="0" y="10234"/>
                  <a:pt x="10235" y="0"/>
                  <a:pt x="22860" y="0"/>
                </a:cubicBezTo>
                <a:close/>
              </a:path>
            </a:pathLst>
          </a:custGeom>
          <a:solidFill>
            <a:srgbClr val="D61B6B"/>
          </a:solidFill>
          <a:ln w="645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7" name="Freeform: Shape 34">
            <a:extLst>
              <a:ext uri="{FF2B5EF4-FFF2-40B4-BE49-F238E27FC236}">
                <a16:creationId xmlns:a16="http://schemas.microsoft.com/office/drawing/2014/main" id="{38CAEF9F-4722-0508-678C-B4E4618FF73C}"/>
              </a:ext>
            </a:extLst>
          </p:cNvPr>
          <p:cNvSpPr/>
          <p:nvPr/>
        </p:nvSpPr>
        <p:spPr>
          <a:xfrm>
            <a:off x="11339503" y="4805678"/>
            <a:ext cx="569816" cy="831865"/>
          </a:xfrm>
          <a:custGeom>
            <a:avLst/>
            <a:gdLst>
              <a:gd name="connsiteX0" fmla="*/ 546957 w 569816"/>
              <a:gd name="connsiteY0" fmla="*/ 786146 h 831865"/>
              <a:gd name="connsiteX1" fmla="*/ 569816 w 569816"/>
              <a:gd name="connsiteY1" fmla="*/ 809006 h 831865"/>
              <a:gd name="connsiteX2" fmla="*/ 546957 w 569816"/>
              <a:gd name="connsiteY2" fmla="*/ 831865 h 831865"/>
              <a:gd name="connsiteX3" fmla="*/ 524097 w 569816"/>
              <a:gd name="connsiteY3" fmla="*/ 809006 h 831865"/>
              <a:gd name="connsiteX4" fmla="*/ 546957 w 569816"/>
              <a:gd name="connsiteY4" fmla="*/ 786146 h 831865"/>
              <a:gd name="connsiteX5" fmla="*/ 284908 w 569816"/>
              <a:gd name="connsiteY5" fmla="*/ 786146 h 831865"/>
              <a:gd name="connsiteX6" fmla="*/ 307767 w 569816"/>
              <a:gd name="connsiteY6" fmla="*/ 809006 h 831865"/>
              <a:gd name="connsiteX7" fmla="*/ 284908 w 569816"/>
              <a:gd name="connsiteY7" fmla="*/ 831865 h 831865"/>
              <a:gd name="connsiteX8" fmla="*/ 262048 w 569816"/>
              <a:gd name="connsiteY8" fmla="*/ 809006 h 831865"/>
              <a:gd name="connsiteX9" fmla="*/ 284908 w 569816"/>
              <a:gd name="connsiteY9" fmla="*/ 786146 h 831865"/>
              <a:gd name="connsiteX10" fmla="*/ 22860 w 569816"/>
              <a:gd name="connsiteY10" fmla="*/ 786146 h 831865"/>
              <a:gd name="connsiteX11" fmla="*/ 45719 w 569816"/>
              <a:gd name="connsiteY11" fmla="*/ 809006 h 831865"/>
              <a:gd name="connsiteX12" fmla="*/ 22860 w 569816"/>
              <a:gd name="connsiteY12" fmla="*/ 831865 h 831865"/>
              <a:gd name="connsiteX13" fmla="*/ 0 w 569816"/>
              <a:gd name="connsiteY13" fmla="*/ 809006 h 831865"/>
              <a:gd name="connsiteX14" fmla="*/ 22860 w 569816"/>
              <a:gd name="connsiteY14" fmla="*/ 786146 h 831865"/>
              <a:gd name="connsiteX15" fmla="*/ 546957 w 569816"/>
              <a:gd name="connsiteY15" fmla="*/ 524097 h 831865"/>
              <a:gd name="connsiteX16" fmla="*/ 569816 w 569816"/>
              <a:gd name="connsiteY16" fmla="*/ 546957 h 831865"/>
              <a:gd name="connsiteX17" fmla="*/ 546957 w 569816"/>
              <a:gd name="connsiteY17" fmla="*/ 569816 h 831865"/>
              <a:gd name="connsiteX18" fmla="*/ 524097 w 569816"/>
              <a:gd name="connsiteY18" fmla="*/ 546957 h 831865"/>
              <a:gd name="connsiteX19" fmla="*/ 546957 w 569816"/>
              <a:gd name="connsiteY19" fmla="*/ 524097 h 831865"/>
              <a:gd name="connsiteX20" fmla="*/ 284908 w 569816"/>
              <a:gd name="connsiteY20" fmla="*/ 524097 h 831865"/>
              <a:gd name="connsiteX21" fmla="*/ 307767 w 569816"/>
              <a:gd name="connsiteY21" fmla="*/ 546957 h 831865"/>
              <a:gd name="connsiteX22" fmla="*/ 284908 w 569816"/>
              <a:gd name="connsiteY22" fmla="*/ 569816 h 831865"/>
              <a:gd name="connsiteX23" fmla="*/ 262048 w 569816"/>
              <a:gd name="connsiteY23" fmla="*/ 546957 h 831865"/>
              <a:gd name="connsiteX24" fmla="*/ 284908 w 569816"/>
              <a:gd name="connsiteY24" fmla="*/ 524097 h 831865"/>
              <a:gd name="connsiteX25" fmla="*/ 22860 w 569816"/>
              <a:gd name="connsiteY25" fmla="*/ 524097 h 831865"/>
              <a:gd name="connsiteX26" fmla="*/ 45719 w 569816"/>
              <a:gd name="connsiteY26" fmla="*/ 546957 h 831865"/>
              <a:gd name="connsiteX27" fmla="*/ 22860 w 569816"/>
              <a:gd name="connsiteY27" fmla="*/ 569816 h 831865"/>
              <a:gd name="connsiteX28" fmla="*/ 0 w 569816"/>
              <a:gd name="connsiteY28" fmla="*/ 546957 h 831865"/>
              <a:gd name="connsiteX29" fmla="*/ 22860 w 569816"/>
              <a:gd name="connsiteY29" fmla="*/ 524097 h 831865"/>
              <a:gd name="connsiteX30" fmla="*/ 546957 w 569816"/>
              <a:gd name="connsiteY30" fmla="*/ 262048 h 831865"/>
              <a:gd name="connsiteX31" fmla="*/ 569816 w 569816"/>
              <a:gd name="connsiteY31" fmla="*/ 284908 h 831865"/>
              <a:gd name="connsiteX32" fmla="*/ 546957 w 569816"/>
              <a:gd name="connsiteY32" fmla="*/ 307767 h 831865"/>
              <a:gd name="connsiteX33" fmla="*/ 524097 w 569816"/>
              <a:gd name="connsiteY33" fmla="*/ 284908 h 831865"/>
              <a:gd name="connsiteX34" fmla="*/ 546957 w 569816"/>
              <a:gd name="connsiteY34" fmla="*/ 262048 h 831865"/>
              <a:gd name="connsiteX35" fmla="*/ 284908 w 569816"/>
              <a:gd name="connsiteY35" fmla="*/ 262048 h 831865"/>
              <a:gd name="connsiteX36" fmla="*/ 307767 w 569816"/>
              <a:gd name="connsiteY36" fmla="*/ 284908 h 831865"/>
              <a:gd name="connsiteX37" fmla="*/ 284908 w 569816"/>
              <a:gd name="connsiteY37" fmla="*/ 307767 h 831865"/>
              <a:gd name="connsiteX38" fmla="*/ 262048 w 569816"/>
              <a:gd name="connsiteY38" fmla="*/ 284908 h 831865"/>
              <a:gd name="connsiteX39" fmla="*/ 284908 w 569816"/>
              <a:gd name="connsiteY39" fmla="*/ 262048 h 831865"/>
              <a:gd name="connsiteX40" fmla="*/ 22860 w 569816"/>
              <a:gd name="connsiteY40" fmla="*/ 262048 h 831865"/>
              <a:gd name="connsiteX41" fmla="*/ 45719 w 569816"/>
              <a:gd name="connsiteY41" fmla="*/ 284908 h 831865"/>
              <a:gd name="connsiteX42" fmla="*/ 22860 w 569816"/>
              <a:gd name="connsiteY42" fmla="*/ 307767 h 831865"/>
              <a:gd name="connsiteX43" fmla="*/ 0 w 569816"/>
              <a:gd name="connsiteY43" fmla="*/ 284908 h 831865"/>
              <a:gd name="connsiteX44" fmla="*/ 22860 w 569816"/>
              <a:gd name="connsiteY44" fmla="*/ 262048 h 831865"/>
              <a:gd name="connsiteX45" fmla="*/ 546957 w 569816"/>
              <a:gd name="connsiteY45" fmla="*/ 0 h 831865"/>
              <a:gd name="connsiteX46" fmla="*/ 569816 w 569816"/>
              <a:gd name="connsiteY46" fmla="*/ 22860 h 831865"/>
              <a:gd name="connsiteX47" fmla="*/ 546957 w 569816"/>
              <a:gd name="connsiteY47" fmla="*/ 45719 h 831865"/>
              <a:gd name="connsiteX48" fmla="*/ 524097 w 569816"/>
              <a:gd name="connsiteY48" fmla="*/ 22860 h 831865"/>
              <a:gd name="connsiteX49" fmla="*/ 546957 w 569816"/>
              <a:gd name="connsiteY49" fmla="*/ 0 h 831865"/>
              <a:gd name="connsiteX50" fmla="*/ 284908 w 569816"/>
              <a:gd name="connsiteY50" fmla="*/ 0 h 831865"/>
              <a:gd name="connsiteX51" fmla="*/ 307767 w 569816"/>
              <a:gd name="connsiteY51" fmla="*/ 22860 h 831865"/>
              <a:gd name="connsiteX52" fmla="*/ 284908 w 569816"/>
              <a:gd name="connsiteY52" fmla="*/ 45719 h 831865"/>
              <a:gd name="connsiteX53" fmla="*/ 262048 w 569816"/>
              <a:gd name="connsiteY53" fmla="*/ 22860 h 831865"/>
              <a:gd name="connsiteX54" fmla="*/ 284908 w 569816"/>
              <a:gd name="connsiteY54" fmla="*/ 0 h 831865"/>
              <a:gd name="connsiteX55" fmla="*/ 22860 w 569816"/>
              <a:gd name="connsiteY55" fmla="*/ 0 h 831865"/>
              <a:gd name="connsiteX56" fmla="*/ 45719 w 569816"/>
              <a:gd name="connsiteY56" fmla="*/ 22860 h 831865"/>
              <a:gd name="connsiteX57" fmla="*/ 22860 w 569816"/>
              <a:gd name="connsiteY57" fmla="*/ 45719 h 831865"/>
              <a:gd name="connsiteX58" fmla="*/ 0 w 569816"/>
              <a:gd name="connsiteY58" fmla="*/ 22860 h 831865"/>
              <a:gd name="connsiteX59" fmla="*/ 22860 w 569816"/>
              <a:gd name="connsiteY59" fmla="*/ 0 h 831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569816" h="831865">
                <a:moveTo>
                  <a:pt x="546957" y="786146"/>
                </a:moveTo>
                <a:cubicBezTo>
                  <a:pt x="559582" y="786146"/>
                  <a:pt x="569816" y="796380"/>
                  <a:pt x="569816" y="809006"/>
                </a:cubicBezTo>
                <a:cubicBezTo>
                  <a:pt x="569816" y="821631"/>
                  <a:pt x="559582" y="831865"/>
                  <a:pt x="546957" y="831865"/>
                </a:cubicBezTo>
                <a:cubicBezTo>
                  <a:pt x="534332" y="831865"/>
                  <a:pt x="524097" y="821631"/>
                  <a:pt x="524097" y="809006"/>
                </a:cubicBezTo>
                <a:cubicBezTo>
                  <a:pt x="524097" y="796380"/>
                  <a:pt x="534332" y="786146"/>
                  <a:pt x="546957" y="786146"/>
                </a:cubicBezTo>
                <a:close/>
                <a:moveTo>
                  <a:pt x="284908" y="786146"/>
                </a:moveTo>
                <a:cubicBezTo>
                  <a:pt x="297533" y="786146"/>
                  <a:pt x="307767" y="796380"/>
                  <a:pt x="307767" y="809006"/>
                </a:cubicBezTo>
                <a:cubicBezTo>
                  <a:pt x="307767" y="821631"/>
                  <a:pt x="297533" y="831865"/>
                  <a:pt x="284908" y="831865"/>
                </a:cubicBezTo>
                <a:cubicBezTo>
                  <a:pt x="272283" y="831865"/>
                  <a:pt x="262048" y="821631"/>
                  <a:pt x="262048" y="809006"/>
                </a:cubicBezTo>
                <a:cubicBezTo>
                  <a:pt x="262048" y="796380"/>
                  <a:pt x="272283" y="786146"/>
                  <a:pt x="284908" y="786146"/>
                </a:cubicBezTo>
                <a:close/>
                <a:moveTo>
                  <a:pt x="22860" y="786146"/>
                </a:moveTo>
                <a:cubicBezTo>
                  <a:pt x="35485" y="786146"/>
                  <a:pt x="45719" y="796380"/>
                  <a:pt x="45719" y="809006"/>
                </a:cubicBezTo>
                <a:cubicBezTo>
                  <a:pt x="45719" y="821631"/>
                  <a:pt x="35485" y="831865"/>
                  <a:pt x="22860" y="831865"/>
                </a:cubicBezTo>
                <a:cubicBezTo>
                  <a:pt x="10235" y="831865"/>
                  <a:pt x="0" y="821631"/>
                  <a:pt x="0" y="809006"/>
                </a:cubicBezTo>
                <a:cubicBezTo>
                  <a:pt x="0" y="796380"/>
                  <a:pt x="10235" y="786146"/>
                  <a:pt x="22860" y="786146"/>
                </a:cubicBezTo>
                <a:close/>
                <a:moveTo>
                  <a:pt x="546957" y="524097"/>
                </a:moveTo>
                <a:cubicBezTo>
                  <a:pt x="559582" y="524097"/>
                  <a:pt x="569816" y="534331"/>
                  <a:pt x="569816" y="546957"/>
                </a:cubicBezTo>
                <a:cubicBezTo>
                  <a:pt x="569816" y="559582"/>
                  <a:pt x="559582" y="569816"/>
                  <a:pt x="546957" y="569816"/>
                </a:cubicBezTo>
                <a:cubicBezTo>
                  <a:pt x="534332" y="569816"/>
                  <a:pt x="524097" y="559582"/>
                  <a:pt x="524097" y="546957"/>
                </a:cubicBezTo>
                <a:cubicBezTo>
                  <a:pt x="524097" y="534331"/>
                  <a:pt x="534332" y="524097"/>
                  <a:pt x="546957" y="524097"/>
                </a:cubicBezTo>
                <a:close/>
                <a:moveTo>
                  <a:pt x="284908" y="524097"/>
                </a:moveTo>
                <a:cubicBezTo>
                  <a:pt x="297533" y="524097"/>
                  <a:pt x="307767" y="534331"/>
                  <a:pt x="307767" y="546957"/>
                </a:cubicBezTo>
                <a:cubicBezTo>
                  <a:pt x="307767" y="559582"/>
                  <a:pt x="297533" y="569816"/>
                  <a:pt x="284908" y="569816"/>
                </a:cubicBezTo>
                <a:cubicBezTo>
                  <a:pt x="272283" y="569816"/>
                  <a:pt x="262048" y="559582"/>
                  <a:pt x="262048" y="546957"/>
                </a:cubicBezTo>
                <a:cubicBezTo>
                  <a:pt x="262048" y="534331"/>
                  <a:pt x="272283" y="524097"/>
                  <a:pt x="284908" y="524097"/>
                </a:cubicBezTo>
                <a:close/>
                <a:moveTo>
                  <a:pt x="22860" y="524097"/>
                </a:moveTo>
                <a:cubicBezTo>
                  <a:pt x="35485" y="524097"/>
                  <a:pt x="45719" y="534331"/>
                  <a:pt x="45719" y="546957"/>
                </a:cubicBezTo>
                <a:cubicBezTo>
                  <a:pt x="45719" y="559582"/>
                  <a:pt x="35485" y="569816"/>
                  <a:pt x="22860" y="569816"/>
                </a:cubicBezTo>
                <a:cubicBezTo>
                  <a:pt x="10235" y="569816"/>
                  <a:pt x="0" y="559582"/>
                  <a:pt x="0" y="546957"/>
                </a:cubicBezTo>
                <a:cubicBezTo>
                  <a:pt x="0" y="534331"/>
                  <a:pt x="10235" y="524097"/>
                  <a:pt x="22860" y="524097"/>
                </a:cubicBezTo>
                <a:close/>
                <a:moveTo>
                  <a:pt x="546957" y="262048"/>
                </a:moveTo>
                <a:cubicBezTo>
                  <a:pt x="559582" y="262048"/>
                  <a:pt x="569816" y="272282"/>
                  <a:pt x="569816" y="284908"/>
                </a:cubicBezTo>
                <a:cubicBezTo>
                  <a:pt x="569816" y="297533"/>
                  <a:pt x="559582" y="307767"/>
                  <a:pt x="546957" y="307767"/>
                </a:cubicBezTo>
                <a:cubicBezTo>
                  <a:pt x="534332" y="307767"/>
                  <a:pt x="524097" y="297533"/>
                  <a:pt x="524097" y="284908"/>
                </a:cubicBezTo>
                <a:cubicBezTo>
                  <a:pt x="524097" y="272282"/>
                  <a:pt x="534332" y="262048"/>
                  <a:pt x="546957" y="262048"/>
                </a:cubicBezTo>
                <a:close/>
                <a:moveTo>
                  <a:pt x="284908" y="262048"/>
                </a:moveTo>
                <a:cubicBezTo>
                  <a:pt x="297533" y="262048"/>
                  <a:pt x="307767" y="272282"/>
                  <a:pt x="307767" y="284908"/>
                </a:cubicBezTo>
                <a:cubicBezTo>
                  <a:pt x="307767" y="297533"/>
                  <a:pt x="297533" y="307767"/>
                  <a:pt x="284908" y="307767"/>
                </a:cubicBezTo>
                <a:cubicBezTo>
                  <a:pt x="272283" y="307767"/>
                  <a:pt x="262048" y="297533"/>
                  <a:pt x="262048" y="284908"/>
                </a:cubicBezTo>
                <a:cubicBezTo>
                  <a:pt x="262048" y="272282"/>
                  <a:pt x="272283" y="262048"/>
                  <a:pt x="284908" y="262048"/>
                </a:cubicBezTo>
                <a:close/>
                <a:moveTo>
                  <a:pt x="22860" y="262048"/>
                </a:moveTo>
                <a:cubicBezTo>
                  <a:pt x="35485" y="262048"/>
                  <a:pt x="45719" y="272282"/>
                  <a:pt x="45719" y="284908"/>
                </a:cubicBezTo>
                <a:cubicBezTo>
                  <a:pt x="45719" y="297533"/>
                  <a:pt x="35485" y="307767"/>
                  <a:pt x="22860" y="307767"/>
                </a:cubicBezTo>
                <a:cubicBezTo>
                  <a:pt x="10235" y="307767"/>
                  <a:pt x="0" y="297533"/>
                  <a:pt x="0" y="284908"/>
                </a:cubicBezTo>
                <a:cubicBezTo>
                  <a:pt x="0" y="272282"/>
                  <a:pt x="10235" y="262048"/>
                  <a:pt x="22860" y="262048"/>
                </a:cubicBezTo>
                <a:close/>
                <a:moveTo>
                  <a:pt x="546957" y="0"/>
                </a:moveTo>
                <a:cubicBezTo>
                  <a:pt x="559582" y="0"/>
                  <a:pt x="569816" y="10234"/>
                  <a:pt x="569816" y="22860"/>
                </a:cubicBezTo>
                <a:cubicBezTo>
                  <a:pt x="569816" y="35485"/>
                  <a:pt x="559582" y="45719"/>
                  <a:pt x="546957" y="45719"/>
                </a:cubicBezTo>
                <a:cubicBezTo>
                  <a:pt x="534332" y="45719"/>
                  <a:pt x="524097" y="35485"/>
                  <a:pt x="524097" y="22860"/>
                </a:cubicBezTo>
                <a:cubicBezTo>
                  <a:pt x="524097" y="10234"/>
                  <a:pt x="534332" y="0"/>
                  <a:pt x="546957" y="0"/>
                </a:cubicBezTo>
                <a:close/>
                <a:moveTo>
                  <a:pt x="284908" y="0"/>
                </a:moveTo>
                <a:cubicBezTo>
                  <a:pt x="297533" y="0"/>
                  <a:pt x="307767" y="10234"/>
                  <a:pt x="307767" y="22860"/>
                </a:cubicBezTo>
                <a:cubicBezTo>
                  <a:pt x="307767" y="35485"/>
                  <a:pt x="297533" y="45719"/>
                  <a:pt x="284908" y="45719"/>
                </a:cubicBezTo>
                <a:cubicBezTo>
                  <a:pt x="272283" y="45719"/>
                  <a:pt x="262048" y="35485"/>
                  <a:pt x="262048" y="22860"/>
                </a:cubicBezTo>
                <a:cubicBezTo>
                  <a:pt x="262048" y="10234"/>
                  <a:pt x="272283" y="0"/>
                  <a:pt x="284908" y="0"/>
                </a:cubicBezTo>
                <a:close/>
                <a:moveTo>
                  <a:pt x="22860" y="0"/>
                </a:moveTo>
                <a:cubicBezTo>
                  <a:pt x="35485" y="0"/>
                  <a:pt x="45719" y="10234"/>
                  <a:pt x="45719" y="22860"/>
                </a:cubicBezTo>
                <a:cubicBezTo>
                  <a:pt x="45719" y="35485"/>
                  <a:pt x="35485" y="45719"/>
                  <a:pt x="22860" y="45719"/>
                </a:cubicBezTo>
                <a:cubicBezTo>
                  <a:pt x="10235" y="45719"/>
                  <a:pt x="0" y="35485"/>
                  <a:pt x="0" y="22860"/>
                </a:cubicBezTo>
                <a:cubicBezTo>
                  <a:pt x="0" y="10234"/>
                  <a:pt x="10235" y="0"/>
                  <a:pt x="22860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645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F5B2FD9-98E9-27E5-3F86-2B4C67E7541F}"/>
              </a:ext>
            </a:extLst>
          </p:cNvPr>
          <p:cNvGrpSpPr/>
          <p:nvPr/>
        </p:nvGrpSpPr>
        <p:grpSpPr>
          <a:xfrm>
            <a:off x="5986726" y="2453541"/>
            <a:ext cx="484632" cy="495652"/>
            <a:chOff x="5701401" y="2097246"/>
            <a:chExt cx="484632" cy="495652"/>
          </a:xfrm>
        </p:grpSpPr>
        <p:sp>
          <p:nvSpPr>
            <p:cNvPr id="54" name="Oval 28">
              <a:extLst>
                <a:ext uri="{FF2B5EF4-FFF2-40B4-BE49-F238E27FC236}">
                  <a16:creationId xmlns:a16="http://schemas.microsoft.com/office/drawing/2014/main" id="{1CF4AB37-CE26-F215-64E3-EF1AD1A465D4}"/>
                </a:ext>
              </a:extLst>
            </p:cNvPr>
            <p:cNvSpPr/>
            <p:nvPr/>
          </p:nvSpPr>
          <p:spPr>
            <a:xfrm>
              <a:off x="5701401" y="2097246"/>
              <a:ext cx="484632" cy="495652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pic>
          <p:nvPicPr>
            <p:cNvPr id="35" name="Grafika 34">
              <a:extLst>
                <a:ext uri="{FF2B5EF4-FFF2-40B4-BE49-F238E27FC236}">
                  <a16:creationId xmlns:a16="http://schemas.microsoft.com/office/drawing/2014/main" id="{77374A99-B205-1B65-8EB9-24E78175748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842053" y="2243408"/>
              <a:ext cx="203328" cy="203328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29010AE-C479-19FB-4470-2C1F97C5AD2A}"/>
              </a:ext>
            </a:extLst>
          </p:cNvPr>
          <p:cNvGrpSpPr/>
          <p:nvPr/>
        </p:nvGrpSpPr>
        <p:grpSpPr>
          <a:xfrm>
            <a:off x="9089354" y="4845125"/>
            <a:ext cx="484632" cy="495652"/>
            <a:chOff x="8827000" y="4469383"/>
            <a:chExt cx="484632" cy="495652"/>
          </a:xfrm>
        </p:grpSpPr>
        <p:sp>
          <p:nvSpPr>
            <p:cNvPr id="103" name="Oval 37">
              <a:extLst>
                <a:ext uri="{FF2B5EF4-FFF2-40B4-BE49-F238E27FC236}">
                  <a16:creationId xmlns:a16="http://schemas.microsoft.com/office/drawing/2014/main" id="{44EB13B8-C285-0F1F-79A9-BE5943EBA0AD}"/>
                </a:ext>
              </a:extLst>
            </p:cNvPr>
            <p:cNvSpPr/>
            <p:nvPr/>
          </p:nvSpPr>
          <p:spPr>
            <a:xfrm>
              <a:off x="8827000" y="4469383"/>
              <a:ext cx="484632" cy="495652"/>
            </a:xfrm>
            <a:prstGeom prst="ellipse">
              <a:avLst/>
            </a:prstGeom>
            <a:solidFill>
              <a:srgbClr val="DAE0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pic>
          <p:nvPicPr>
            <p:cNvPr id="46" name="Grafika 45">
              <a:extLst>
                <a:ext uri="{FF2B5EF4-FFF2-40B4-BE49-F238E27FC236}">
                  <a16:creationId xmlns:a16="http://schemas.microsoft.com/office/drawing/2014/main" id="{AD99EB41-B168-9742-6B5A-F53D627F8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936581" y="4584474"/>
              <a:ext cx="265471" cy="265471"/>
            </a:xfrm>
            <a:prstGeom prst="rect">
              <a:avLst/>
            </a:prstGeom>
          </p:spPr>
        </p:pic>
      </p:grpSp>
      <p:sp>
        <p:nvSpPr>
          <p:cNvPr id="53" name="TextBox 22">
            <a:extLst>
              <a:ext uri="{FF2B5EF4-FFF2-40B4-BE49-F238E27FC236}">
                <a16:creationId xmlns:a16="http://schemas.microsoft.com/office/drawing/2014/main" id="{9E436537-0A20-9061-1E56-684FD623E65D}"/>
              </a:ext>
            </a:extLst>
          </p:cNvPr>
          <p:cNvSpPr txBox="1"/>
          <p:nvPr/>
        </p:nvSpPr>
        <p:spPr>
          <a:xfrm>
            <a:off x="8193124" y="3141551"/>
            <a:ext cx="223275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Kwestionariusz </a:t>
            </a:r>
            <a:br>
              <a:rPr lang="pl-PL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</a:br>
            <a:r>
              <a:rPr lang="pl-PL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w ponad 80 językach</a:t>
            </a:r>
          </a:p>
        </p:txBody>
      </p:sp>
      <p:sp>
        <p:nvSpPr>
          <p:cNvPr id="25" name="TextBox 20">
            <a:extLst>
              <a:ext uri="{FF2B5EF4-FFF2-40B4-BE49-F238E27FC236}">
                <a16:creationId xmlns:a16="http://schemas.microsoft.com/office/drawing/2014/main" id="{D6709029-C3BA-3064-48D1-E32D2BC2E91A}"/>
              </a:ext>
            </a:extLst>
          </p:cNvPr>
          <p:cNvSpPr txBox="1"/>
          <p:nvPr/>
        </p:nvSpPr>
        <p:spPr>
          <a:xfrm>
            <a:off x="2500803" y="5499797"/>
            <a:ext cx="184775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err="1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Najwyższe</a:t>
            </a:r>
            <a:r>
              <a:rPr lang="en-US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 </a:t>
            </a:r>
            <a:r>
              <a:rPr lang="en-US" err="1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standardy</a:t>
            </a:r>
            <a:r>
              <a:rPr lang="en-US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 RODO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BA77687-B936-FCC6-7E31-818E324698C9}"/>
              </a:ext>
            </a:extLst>
          </p:cNvPr>
          <p:cNvGrpSpPr/>
          <p:nvPr/>
        </p:nvGrpSpPr>
        <p:grpSpPr>
          <a:xfrm>
            <a:off x="6028283" y="4808102"/>
            <a:ext cx="484632" cy="495652"/>
            <a:chOff x="5701401" y="4469383"/>
            <a:chExt cx="484632" cy="495652"/>
          </a:xfrm>
        </p:grpSpPr>
        <p:sp>
          <p:nvSpPr>
            <p:cNvPr id="33" name="Oval 28">
              <a:extLst>
                <a:ext uri="{FF2B5EF4-FFF2-40B4-BE49-F238E27FC236}">
                  <a16:creationId xmlns:a16="http://schemas.microsoft.com/office/drawing/2014/main" id="{85681471-F660-31F0-F8EA-BFD7B9F7E5DB}"/>
                </a:ext>
              </a:extLst>
            </p:cNvPr>
            <p:cNvSpPr/>
            <p:nvPr/>
          </p:nvSpPr>
          <p:spPr>
            <a:xfrm>
              <a:off x="5701401" y="4469383"/>
              <a:ext cx="484632" cy="495652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pic>
          <p:nvPicPr>
            <p:cNvPr id="37" name="Grafika 36">
              <a:extLst>
                <a:ext uri="{FF2B5EF4-FFF2-40B4-BE49-F238E27FC236}">
                  <a16:creationId xmlns:a16="http://schemas.microsoft.com/office/drawing/2014/main" id="{39D84766-7FDA-32BB-FF22-B8AB7724FF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824122" y="4592769"/>
              <a:ext cx="239190" cy="23919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2DB54DE7-C447-6E54-CF72-C7ECBF31F0DA}"/>
              </a:ext>
            </a:extLst>
          </p:cNvPr>
          <p:cNvGrpSpPr/>
          <p:nvPr/>
        </p:nvGrpSpPr>
        <p:grpSpPr>
          <a:xfrm>
            <a:off x="3182363" y="4808102"/>
            <a:ext cx="484632" cy="495652"/>
            <a:chOff x="2704951" y="4469383"/>
            <a:chExt cx="484632" cy="495652"/>
          </a:xfrm>
        </p:grpSpPr>
        <p:sp>
          <p:nvSpPr>
            <p:cNvPr id="79" name="Oval 45">
              <a:extLst>
                <a:ext uri="{FF2B5EF4-FFF2-40B4-BE49-F238E27FC236}">
                  <a16:creationId xmlns:a16="http://schemas.microsoft.com/office/drawing/2014/main" id="{3523ABCF-A75B-890D-1AE8-F628722133D2}"/>
                </a:ext>
              </a:extLst>
            </p:cNvPr>
            <p:cNvSpPr/>
            <p:nvPr/>
          </p:nvSpPr>
          <p:spPr>
            <a:xfrm>
              <a:off x="2704951" y="4469383"/>
              <a:ext cx="484632" cy="495652"/>
            </a:xfrm>
            <a:prstGeom prst="ellipse">
              <a:avLst/>
            </a:prstGeom>
            <a:solidFill>
              <a:srgbClr val="FDB5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pic>
          <p:nvPicPr>
            <p:cNvPr id="40" name="Grafika 39">
              <a:extLst>
                <a:ext uri="{FF2B5EF4-FFF2-40B4-BE49-F238E27FC236}">
                  <a16:creationId xmlns:a16="http://schemas.microsoft.com/office/drawing/2014/main" id="{1ED86F83-CC78-15A3-84DC-662853EEC2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2824222" y="4592769"/>
              <a:ext cx="252000" cy="25200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E1F7488-7E46-9705-BD1B-8E72962CEF5A}"/>
              </a:ext>
            </a:extLst>
          </p:cNvPr>
          <p:cNvGrpSpPr/>
          <p:nvPr/>
        </p:nvGrpSpPr>
        <p:grpSpPr>
          <a:xfrm>
            <a:off x="9067184" y="2453541"/>
            <a:ext cx="484632" cy="495652"/>
            <a:chOff x="8827000" y="2097246"/>
            <a:chExt cx="484632" cy="495652"/>
          </a:xfrm>
        </p:grpSpPr>
        <p:sp>
          <p:nvSpPr>
            <p:cNvPr id="26" name="Oval 37">
              <a:extLst>
                <a:ext uri="{FF2B5EF4-FFF2-40B4-BE49-F238E27FC236}">
                  <a16:creationId xmlns:a16="http://schemas.microsoft.com/office/drawing/2014/main" id="{8CCB4857-E985-445C-335D-DB0AED3411FE}"/>
                </a:ext>
              </a:extLst>
            </p:cNvPr>
            <p:cNvSpPr/>
            <p:nvPr/>
          </p:nvSpPr>
          <p:spPr>
            <a:xfrm>
              <a:off x="8827000" y="2097246"/>
              <a:ext cx="484632" cy="495652"/>
            </a:xfrm>
            <a:prstGeom prst="ellipse">
              <a:avLst/>
            </a:prstGeom>
            <a:solidFill>
              <a:srgbClr val="DAE0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pic>
          <p:nvPicPr>
            <p:cNvPr id="42" name="Grafika 41">
              <a:extLst>
                <a:ext uri="{FF2B5EF4-FFF2-40B4-BE49-F238E27FC236}">
                  <a16:creationId xmlns:a16="http://schemas.microsoft.com/office/drawing/2014/main" id="{B161D841-EFAE-F445-8F8F-1B21694A26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8943316" y="2228827"/>
              <a:ext cx="252000" cy="252000"/>
            </a:xfrm>
            <a:prstGeom prst="rect">
              <a:avLst/>
            </a:prstGeom>
          </p:spPr>
        </p:pic>
      </p:grpSp>
      <p:sp>
        <p:nvSpPr>
          <p:cNvPr id="4" name="Google Shape;695;p5">
            <a:extLst>
              <a:ext uri="{FF2B5EF4-FFF2-40B4-BE49-F238E27FC236}">
                <a16:creationId xmlns:a16="http://schemas.microsoft.com/office/drawing/2014/main" id="{EFDF314E-732D-2196-9DF6-ECDA1CF87D7D}"/>
              </a:ext>
            </a:extLst>
          </p:cNvPr>
          <p:cNvSpPr txBox="1"/>
          <p:nvPr/>
        </p:nvSpPr>
        <p:spPr>
          <a:xfrm>
            <a:off x="1935065" y="318173"/>
            <a:ext cx="9149126" cy="9786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400"/>
              <a:buFont typeface="Roboto"/>
              <a:buNone/>
              <a:tabLst/>
              <a:defRPr/>
            </a:pPr>
            <a:r>
              <a:rPr lang="pl-PL" sz="3200">
                <a:solidFill>
                  <a:srgbClr val="D61B6B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Extended </a:t>
            </a:r>
            <a:r>
              <a:rPr lang="pl-PL" sz="3200">
                <a:solidFill>
                  <a:schemeClr val="accent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DISC</a:t>
            </a:r>
            <a:r>
              <a:rPr lang="pl-PL" sz="3200" baseline="30000">
                <a:solidFill>
                  <a:schemeClr val="accent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®</a:t>
            </a:r>
            <a:r>
              <a:rPr lang="pl-PL" sz="3200">
                <a:solidFill>
                  <a:prstClr val="black">
                    <a:lumMod val="85000"/>
                    <a:lumOff val="15000"/>
                  </a:prst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 to unikalne narzędzie odkrywające style </a:t>
            </a:r>
            <a:r>
              <a:rPr lang="pl-PL" sz="3200" err="1">
                <a:solidFill>
                  <a:prstClr val="black">
                    <a:lumMod val="85000"/>
                    <a:lumOff val="15000"/>
                  </a:prst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zachowań</a:t>
            </a:r>
            <a:r>
              <a:rPr lang="pl-PL" sz="3200">
                <a:solidFill>
                  <a:prstClr val="black">
                    <a:lumMod val="85000"/>
                    <a:lumOff val="15000"/>
                  </a:prst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.</a:t>
            </a:r>
            <a:endParaRPr sz="3200">
              <a:solidFill>
                <a:schemeClr val="accent1"/>
              </a:solidFill>
              <a:latin typeface="Roboto Black" panose="02000000000000000000" pitchFamily="2" charset="0"/>
              <a:ea typeface="Roboto Black" panose="02000000000000000000" pitchFamily="2" charset="0"/>
              <a:cs typeface="Fredoka Medium" pitchFamily="2" charset="-79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C3B7AF2-2EE9-BE70-93DC-4B110A4F50D1}"/>
              </a:ext>
            </a:extLst>
          </p:cNvPr>
          <p:cNvSpPr txBox="1"/>
          <p:nvPr/>
        </p:nvSpPr>
        <p:spPr>
          <a:xfrm>
            <a:off x="1986756" y="1352863"/>
            <a:ext cx="90974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l-PL" sz="1800">
                <a:solidFill>
                  <a:prstClr val="black">
                    <a:lumMod val="85000"/>
                    <a:lumOff val="15000"/>
                  </a:prst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Co jeszcze nas </a:t>
            </a:r>
            <a:r>
              <a:rPr lang="pl-PL" sz="1800">
                <a:solidFill>
                  <a:srgbClr val="D61B6B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wyróżnia</a:t>
            </a:r>
            <a:r>
              <a:rPr lang="pl-PL" sz="1800">
                <a:solidFill>
                  <a:prstClr val="black">
                    <a:lumMod val="85000"/>
                    <a:lumOff val="15000"/>
                  </a:prst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?</a:t>
            </a:r>
            <a:endParaRPr lang="en-PL"/>
          </a:p>
        </p:txBody>
      </p:sp>
    </p:spTree>
    <p:extLst>
      <p:ext uri="{BB962C8B-B14F-4D97-AF65-F5344CB8AC3E}">
        <p14:creationId xmlns:p14="http://schemas.microsoft.com/office/powerpoint/2010/main" val="268134376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: zaokrąglone rogi u góry 1">
            <a:extLst>
              <a:ext uri="{FF2B5EF4-FFF2-40B4-BE49-F238E27FC236}">
                <a16:creationId xmlns:a16="http://schemas.microsoft.com/office/drawing/2014/main" id="{2CF0601E-996B-0F6E-0FC4-45AFD22262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5400000">
            <a:off x="-3102429" y="3102428"/>
            <a:ext cx="6858000" cy="653143"/>
          </a:xfrm>
          <a:prstGeom prst="round2SameRect">
            <a:avLst>
              <a:gd name="adj1" fmla="val 16559"/>
              <a:gd name="adj2" fmla="val 0"/>
            </a:avLst>
          </a:prstGeom>
          <a:solidFill>
            <a:srgbClr val="FFFFFF"/>
          </a:solidFill>
          <a:ln>
            <a:noFill/>
          </a:ln>
          <a:effectLst>
            <a:outerShdw blurRad="952500" dist="215900" algn="l" rotWithShape="0">
              <a:schemeClr val="accent1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pl-PL"/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27FD0282-AAA7-99D3-A8F3-4D13F509918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70771" y="6086174"/>
            <a:ext cx="994685" cy="306414"/>
          </a:xfrm>
          <a:prstGeom prst="rect">
            <a:avLst/>
          </a:prstGeom>
        </p:spPr>
      </p:pic>
      <p:pic>
        <p:nvPicPr>
          <p:cNvPr id="24" name="Obraz 4">
            <a:hlinkClick r:id="rId3" action="ppaction://hlinksldjump"/>
            <a:extLst>
              <a:ext uri="{FF2B5EF4-FFF2-40B4-BE49-F238E27FC236}">
                <a16:creationId xmlns:a16="http://schemas.microsoft.com/office/drawing/2014/main" id="{B4F576B0-5A53-247E-B85C-44BEACCA31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71" y="230592"/>
            <a:ext cx="548771" cy="305640"/>
          </a:xfrm>
          <a:prstGeom prst="rect">
            <a:avLst/>
          </a:prstGeom>
        </p:spPr>
      </p:pic>
      <p:sp>
        <p:nvSpPr>
          <p:cNvPr id="43" name="Google Shape;695;p5">
            <a:extLst>
              <a:ext uri="{FF2B5EF4-FFF2-40B4-BE49-F238E27FC236}">
                <a16:creationId xmlns:a16="http://schemas.microsoft.com/office/drawing/2014/main" id="{9A2FC3CD-E315-B017-988F-78F4BE392D33}"/>
              </a:ext>
            </a:extLst>
          </p:cNvPr>
          <p:cNvSpPr txBox="1"/>
          <p:nvPr/>
        </p:nvSpPr>
        <p:spPr>
          <a:xfrm>
            <a:off x="1895290" y="291223"/>
            <a:ext cx="9191033" cy="9786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400"/>
              <a:buFont typeface="Roboto"/>
              <a:buNone/>
              <a:tabLst/>
              <a:defRPr/>
            </a:pPr>
            <a:r>
              <a:rPr lang="pl-PL" sz="3200">
                <a:solidFill>
                  <a:srgbClr val="0B0B0B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Poznaj </a:t>
            </a:r>
            <a:r>
              <a:rPr lang="pl-PL" sz="3200">
                <a:solidFill>
                  <a:srgbClr val="D61B6B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8 powodów</a:t>
            </a:r>
            <a:r>
              <a:rPr lang="pl-PL" sz="3200">
                <a:solidFill>
                  <a:srgbClr val="0B0B0B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, dla których </a:t>
            </a:r>
            <a:r>
              <a:rPr lang="pl-PL" sz="3200">
                <a:solidFill>
                  <a:srgbClr val="D61B6B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Extended</a:t>
            </a:r>
            <a:r>
              <a:rPr lang="pl-PL" sz="3200">
                <a:solidFill>
                  <a:prstClr val="black">
                    <a:lumMod val="85000"/>
                    <a:lumOff val="15000"/>
                  </a:prst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 </a:t>
            </a:r>
            <a:r>
              <a:rPr lang="pl-PL" sz="3200">
                <a:solidFill>
                  <a:schemeClr val="accent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DISC</a:t>
            </a:r>
            <a:r>
              <a:rPr lang="pl-PL" sz="3200" baseline="30000">
                <a:solidFill>
                  <a:schemeClr val="accent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®</a:t>
            </a:r>
            <a:r>
              <a:rPr lang="pl-PL" sz="3200">
                <a:solidFill>
                  <a:schemeClr val="accent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 </a:t>
            </a:r>
            <a:r>
              <a:rPr lang="pl-PL" sz="3200">
                <a:solidFill>
                  <a:srgbClr val="0B0B0B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może zmienić Twoją karierę i Twoją firmę.</a:t>
            </a:r>
            <a:endParaRPr sz="3200">
              <a:solidFill>
                <a:srgbClr val="0B0B0B"/>
              </a:solidFill>
              <a:latin typeface="Roboto Black" panose="02000000000000000000" pitchFamily="2" charset="0"/>
              <a:ea typeface="Roboto Black" panose="02000000000000000000" pitchFamily="2" charset="0"/>
              <a:cs typeface="Fredoka Medium" pitchFamily="2" charset="-79"/>
              <a:sym typeface="Arial"/>
            </a:endParaRPr>
          </a:p>
        </p:txBody>
      </p:sp>
      <p:sp>
        <p:nvSpPr>
          <p:cNvPr id="44" name="Rectangle: Rounded Corners 50">
            <a:extLst>
              <a:ext uri="{FF2B5EF4-FFF2-40B4-BE49-F238E27FC236}">
                <a16:creationId xmlns:a16="http://schemas.microsoft.com/office/drawing/2014/main" id="{3A377010-9F02-775E-86C4-F80BFD95409F}"/>
              </a:ext>
            </a:extLst>
          </p:cNvPr>
          <p:cNvSpPr/>
          <p:nvPr/>
        </p:nvSpPr>
        <p:spPr>
          <a:xfrm>
            <a:off x="1714569" y="4294059"/>
            <a:ext cx="548640" cy="1734038"/>
          </a:xfrm>
          <a:prstGeom prst="roundRect">
            <a:avLst>
              <a:gd name="adj" fmla="val 15279"/>
            </a:avLst>
          </a:prstGeom>
          <a:solidFill>
            <a:srgbClr val="F3CADE"/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45" name="Rectangle: Rounded Corners 49">
            <a:extLst>
              <a:ext uri="{FF2B5EF4-FFF2-40B4-BE49-F238E27FC236}">
                <a16:creationId xmlns:a16="http://schemas.microsoft.com/office/drawing/2014/main" id="{1BE4DF81-2809-C7C6-B3FA-97F077254834}"/>
              </a:ext>
            </a:extLst>
          </p:cNvPr>
          <p:cNvSpPr/>
          <p:nvPr/>
        </p:nvSpPr>
        <p:spPr>
          <a:xfrm>
            <a:off x="1714569" y="1910164"/>
            <a:ext cx="548640" cy="1734038"/>
          </a:xfrm>
          <a:prstGeom prst="roundRect">
            <a:avLst>
              <a:gd name="adj" fmla="val 15279"/>
            </a:avLst>
          </a:prstGeom>
          <a:solidFill>
            <a:srgbClr val="F3CADE"/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48" name="Rectangle: Rounded Corners 13">
            <a:extLst>
              <a:ext uri="{FF2B5EF4-FFF2-40B4-BE49-F238E27FC236}">
                <a16:creationId xmlns:a16="http://schemas.microsoft.com/office/drawing/2014/main" id="{24669D12-A038-A734-E3FC-93503F77B0DB}"/>
              </a:ext>
            </a:extLst>
          </p:cNvPr>
          <p:cNvSpPr/>
          <p:nvPr/>
        </p:nvSpPr>
        <p:spPr>
          <a:xfrm rot="10800000" flipH="1" flipV="1">
            <a:off x="1937198" y="1635845"/>
            <a:ext cx="2609549" cy="2282677"/>
          </a:xfrm>
          <a:prstGeom prst="roundRect">
            <a:avLst>
              <a:gd name="adj" fmla="val 3438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49" name="Rectangle: Rounded Corners 14">
            <a:extLst>
              <a:ext uri="{FF2B5EF4-FFF2-40B4-BE49-F238E27FC236}">
                <a16:creationId xmlns:a16="http://schemas.microsoft.com/office/drawing/2014/main" id="{EB4D89FF-1A27-C0CE-9DCF-4774448DFC9D}"/>
              </a:ext>
            </a:extLst>
          </p:cNvPr>
          <p:cNvSpPr/>
          <p:nvPr/>
        </p:nvSpPr>
        <p:spPr>
          <a:xfrm rot="10800000" flipH="1" flipV="1">
            <a:off x="1937198" y="4019294"/>
            <a:ext cx="2606453" cy="2283568"/>
          </a:xfrm>
          <a:prstGeom prst="roundRect">
            <a:avLst>
              <a:gd name="adj" fmla="val 3438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50" name="Rectangle: Rounded Corners 7">
            <a:extLst>
              <a:ext uri="{FF2B5EF4-FFF2-40B4-BE49-F238E27FC236}">
                <a16:creationId xmlns:a16="http://schemas.microsoft.com/office/drawing/2014/main" id="{01228547-9E0E-5504-201F-78E4665E3C58}"/>
              </a:ext>
            </a:extLst>
          </p:cNvPr>
          <p:cNvSpPr/>
          <p:nvPr/>
        </p:nvSpPr>
        <p:spPr>
          <a:xfrm rot="10800000" flipH="1" flipV="1">
            <a:off x="4208612" y="1635845"/>
            <a:ext cx="2674050" cy="2282677"/>
          </a:xfrm>
          <a:prstGeom prst="roundRect">
            <a:avLst>
              <a:gd name="adj" fmla="val 3438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51" name="Rectangle: Rounded Corners 8">
            <a:extLst>
              <a:ext uri="{FF2B5EF4-FFF2-40B4-BE49-F238E27FC236}">
                <a16:creationId xmlns:a16="http://schemas.microsoft.com/office/drawing/2014/main" id="{E3D90E29-9A01-7D94-8063-77D3A247458C}"/>
              </a:ext>
            </a:extLst>
          </p:cNvPr>
          <p:cNvSpPr/>
          <p:nvPr/>
        </p:nvSpPr>
        <p:spPr>
          <a:xfrm rot="10800000" flipH="1" flipV="1">
            <a:off x="4208612" y="4019294"/>
            <a:ext cx="2674050" cy="2283568"/>
          </a:xfrm>
          <a:prstGeom prst="roundRect">
            <a:avLst>
              <a:gd name="adj" fmla="val 3438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B85813E-F060-4A9E-E7C3-1AEA0911B486}"/>
              </a:ext>
            </a:extLst>
          </p:cNvPr>
          <p:cNvGrpSpPr/>
          <p:nvPr/>
        </p:nvGrpSpPr>
        <p:grpSpPr>
          <a:xfrm>
            <a:off x="2843826" y="2147598"/>
            <a:ext cx="484632" cy="495652"/>
            <a:chOff x="2480997" y="2076528"/>
            <a:chExt cx="484632" cy="495652"/>
          </a:xfrm>
        </p:grpSpPr>
        <p:sp>
          <p:nvSpPr>
            <p:cNvPr id="61" name="Oval 23">
              <a:extLst>
                <a:ext uri="{FF2B5EF4-FFF2-40B4-BE49-F238E27FC236}">
                  <a16:creationId xmlns:a16="http://schemas.microsoft.com/office/drawing/2014/main" id="{6B1A8E63-1D70-542C-AC04-BB221F9B2B2C}"/>
                </a:ext>
              </a:extLst>
            </p:cNvPr>
            <p:cNvSpPr/>
            <p:nvPr/>
          </p:nvSpPr>
          <p:spPr>
            <a:xfrm>
              <a:off x="2480997" y="2076528"/>
              <a:ext cx="484632" cy="495652"/>
            </a:xfrm>
            <a:prstGeom prst="ellipse">
              <a:avLst/>
            </a:prstGeom>
            <a:solidFill>
              <a:srgbClr val="FDB5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grpSp>
          <p:nvGrpSpPr>
            <p:cNvPr id="62" name="Group 24">
              <a:extLst>
                <a:ext uri="{FF2B5EF4-FFF2-40B4-BE49-F238E27FC236}">
                  <a16:creationId xmlns:a16="http://schemas.microsoft.com/office/drawing/2014/main" id="{01B27E48-BBB5-C8F6-CE70-6216B4E7F08B}"/>
                </a:ext>
              </a:extLst>
            </p:cNvPr>
            <p:cNvGrpSpPr/>
            <p:nvPr/>
          </p:nvGrpSpPr>
          <p:grpSpPr>
            <a:xfrm>
              <a:off x="2631463" y="2207470"/>
              <a:ext cx="183701" cy="233772"/>
              <a:chOff x="7146926" y="512763"/>
              <a:chExt cx="207963" cy="258763"/>
            </a:xfrm>
            <a:solidFill>
              <a:schemeClr val="bg1"/>
            </a:solidFill>
          </p:grpSpPr>
          <p:sp>
            <p:nvSpPr>
              <p:cNvPr id="63" name="Freeform 464">
                <a:extLst>
                  <a:ext uri="{FF2B5EF4-FFF2-40B4-BE49-F238E27FC236}">
                    <a16:creationId xmlns:a16="http://schemas.microsoft.com/office/drawing/2014/main" id="{859A3DD1-66DE-2EEE-5323-AB2F1F146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6926" y="512763"/>
                <a:ext cx="98425" cy="117475"/>
              </a:xfrm>
              <a:custGeom>
                <a:avLst/>
                <a:gdLst>
                  <a:gd name="T0" fmla="*/ 1510 w 2489"/>
                  <a:gd name="T1" fmla="*/ 2970 h 2986"/>
                  <a:gd name="T2" fmla="*/ 1657 w 2489"/>
                  <a:gd name="T3" fmla="*/ 2969 h 2986"/>
                  <a:gd name="T4" fmla="*/ 1730 w 2489"/>
                  <a:gd name="T5" fmla="*/ 2843 h 2986"/>
                  <a:gd name="T6" fmla="*/ 1870 w 2489"/>
                  <a:gd name="T7" fmla="*/ 2682 h 2986"/>
                  <a:gd name="T8" fmla="*/ 2489 w 2489"/>
                  <a:gd name="T9" fmla="*/ 1532 h 2986"/>
                  <a:gd name="T10" fmla="*/ 1748 w 2489"/>
                  <a:gd name="T11" fmla="*/ 155 h 2986"/>
                  <a:gd name="T12" fmla="*/ 1492 w 2489"/>
                  <a:gd name="T13" fmla="*/ 0 h 2986"/>
                  <a:gd name="T14" fmla="*/ 1387 w 2489"/>
                  <a:gd name="T15" fmla="*/ 19 h 2986"/>
                  <a:gd name="T16" fmla="*/ 204 w 2489"/>
                  <a:gd name="T17" fmla="*/ 459 h 2986"/>
                  <a:gd name="T18" fmla="*/ 28 w 2489"/>
                  <a:gd name="T19" fmla="*/ 641 h 2986"/>
                  <a:gd name="T20" fmla="*/ 58 w 2489"/>
                  <a:gd name="T21" fmla="*/ 891 h 2986"/>
                  <a:gd name="T22" fmla="*/ 1382 w 2489"/>
                  <a:gd name="T23" fmla="*/ 2986 h 2986"/>
                  <a:gd name="T24" fmla="*/ 1510 w 2489"/>
                  <a:gd name="T25" fmla="*/ 2970 h 29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89" h="2986">
                    <a:moveTo>
                      <a:pt x="1510" y="2970"/>
                    </a:moveTo>
                    <a:lnTo>
                      <a:pt x="1657" y="2969"/>
                    </a:lnTo>
                    <a:lnTo>
                      <a:pt x="1730" y="2843"/>
                    </a:lnTo>
                    <a:cubicBezTo>
                      <a:pt x="1767" y="2780"/>
                      <a:pt x="1815" y="2726"/>
                      <a:pt x="1870" y="2682"/>
                    </a:cubicBezTo>
                    <a:lnTo>
                      <a:pt x="2489" y="1532"/>
                    </a:lnTo>
                    <a:lnTo>
                      <a:pt x="1748" y="155"/>
                    </a:lnTo>
                    <a:cubicBezTo>
                      <a:pt x="1696" y="58"/>
                      <a:pt x="1596" y="1"/>
                      <a:pt x="1492" y="0"/>
                    </a:cubicBezTo>
                    <a:cubicBezTo>
                      <a:pt x="1457" y="0"/>
                      <a:pt x="1422" y="6"/>
                      <a:pt x="1387" y="19"/>
                    </a:cubicBezTo>
                    <a:lnTo>
                      <a:pt x="204" y="459"/>
                    </a:lnTo>
                    <a:cubicBezTo>
                      <a:pt x="121" y="490"/>
                      <a:pt x="56" y="557"/>
                      <a:pt x="28" y="641"/>
                    </a:cubicBezTo>
                    <a:cubicBezTo>
                      <a:pt x="0" y="725"/>
                      <a:pt x="10" y="817"/>
                      <a:pt x="58" y="891"/>
                    </a:cubicBezTo>
                    <a:lnTo>
                      <a:pt x="1382" y="2986"/>
                    </a:lnTo>
                    <a:cubicBezTo>
                      <a:pt x="1423" y="2976"/>
                      <a:pt x="1466" y="2970"/>
                      <a:pt x="1510" y="297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  <a:latin typeface="Roboto Black" panose="02000000000000000000" pitchFamily="2" charset="0"/>
                  <a:ea typeface="Roboto Black" panose="02000000000000000000" pitchFamily="2" charset="0"/>
                </a:endParaRPr>
              </a:p>
            </p:txBody>
          </p:sp>
          <p:sp>
            <p:nvSpPr>
              <p:cNvPr id="64" name="Freeform 465">
                <a:extLst>
                  <a:ext uri="{FF2B5EF4-FFF2-40B4-BE49-F238E27FC236}">
                    <a16:creationId xmlns:a16="http://schemas.microsoft.com/office/drawing/2014/main" id="{C9865DF4-FBDC-A0BD-C953-95C999B7B7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35826" y="512763"/>
                <a:ext cx="119063" cy="117475"/>
              </a:xfrm>
              <a:custGeom>
                <a:avLst/>
                <a:gdLst>
                  <a:gd name="T0" fmla="*/ 3011 w 3039"/>
                  <a:gd name="T1" fmla="*/ 641 h 2986"/>
                  <a:gd name="T2" fmla="*/ 2835 w 3039"/>
                  <a:gd name="T3" fmla="*/ 459 h 2986"/>
                  <a:gd name="T4" fmla="*/ 1652 w 3039"/>
                  <a:gd name="T5" fmla="*/ 19 h 2986"/>
                  <a:gd name="T6" fmla="*/ 1547 w 3039"/>
                  <a:gd name="T7" fmla="*/ 0 h 2986"/>
                  <a:gd name="T8" fmla="*/ 1291 w 3039"/>
                  <a:gd name="T9" fmla="*/ 155 h 2986"/>
                  <a:gd name="T10" fmla="*/ 0 w 3039"/>
                  <a:gd name="T11" fmla="*/ 2554 h 2986"/>
                  <a:gd name="T12" fmla="*/ 256 w 3039"/>
                  <a:gd name="T13" fmla="*/ 2629 h 2986"/>
                  <a:gd name="T14" fmla="*/ 383 w 3039"/>
                  <a:gd name="T15" fmla="*/ 2701 h 2986"/>
                  <a:gd name="T16" fmla="*/ 509 w 3039"/>
                  <a:gd name="T17" fmla="*/ 2629 h 2986"/>
                  <a:gd name="T18" fmla="*/ 801 w 3039"/>
                  <a:gd name="T19" fmla="*/ 2552 h 2986"/>
                  <a:gd name="T20" fmla="*/ 1309 w 3039"/>
                  <a:gd name="T21" fmla="*/ 2843 h 2986"/>
                  <a:gd name="T22" fmla="*/ 1382 w 3039"/>
                  <a:gd name="T23" fmla="*/ 2970 h 2986"/>
                  <a:gd name="T24" fmla="*/ 1528 w 3039"/>
                  <a:gd name="T25" fmla="*/ 2970 h 2986"/>
                  <a:gd name="T26" fmla="*/ 1657 w 3039"/>
                  <a:gd name="T27" fmla="*/ 2986 h 2986"/>
                  <a:gd name="T28" fmla="*/ 2981 w 3039"/>
                  <a:gd name="T29" fmla="*/ 891 h 2986"/>
                  <a:gd name="T30" fmla="*/ 3011 w 3039"/>
                  <a:gd name="T31" fmla="*/ 641 h 29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039" h="2986">
                    <a:moveTo>
                      <a:pt x="3011" y="641"/>
                    </a:moveTo>
                    <a:cubicBezTo>
                      <a:pt x="2982" y="557"/>
                      <a:pt x="2918" y="490"/>
                      <a:pt x="2835" y="459"/>
                    </a:cubicBezTo>
                    <a:lnTo>
                      <a:pt x="1652" y="19"/>
                    </a:lnTo>
                    <a:cubicBezTo>
                      <a:pt x="1617" y="6"/>
                      <a:pt x="1582" y="0"/>
                      <a:pt x="1547" y="0"/>
                    </a:cubicBezTo>
                    <a:cubicBezTo>
                      <a:pt x="1442" y="1"/>
                      <a:pt x="1343" y="58"/>
                      <a:pt x="1291" y="155"/>
                    </a:cubicBezTo>
                    <a:lnTo>
                      <a:pt x="0" y="2554"/>
                    </a:lnTo>
                    <a:cubicBezTo>
                      <a:pt x="90" y="2559"/>
                      <a:pt x="178" y="2584"/>
                      <a:pt x="256" y="2629"/>
                    </a:cubicBezTo>
                    <a:lnTo>
                      <a:pt x="383" y="2701"/>
                    </a:lnTo>
                    <a:lnTo>
                      <a:pt x="509" y="2629"/>
                    </a:lnTo>
                    <a:cubicBezTo>
                      <a:pt x="598" y="2578"/>
                      <a:pt x="699" y="2552"/>
                      <a:pt x="801" y="2552"/>
                    </a:cubicBezTo>
                    <a:cubicBezTo>
                      <a:pt x="1009" y="2552"/>
                      <a:pt x="1204" y="2663"/>
                      <a:pt x="1309" y="2843"/>
                    </a:cubicBezTo>
                    <a:lnTo>
                      <a:pt x="1382" y="2970"/>
                    </a:lnTo>
                    <a:lnTo>
                      <a:pt x="1528" y="2970"/>
                    </a:lnTo>
                    <a:cubicBezTo>
                      <a:pt x="1572" y="2970"/>
                      <a:pt x="1616" y="2976"/>
                      <a:pt x="1657" y="2986"/>
                    </a:cubicBezTo>
                    <a:lnTo>
                      <a:pt x="2981" y="891"/>
                    </a:lnTo>
                    <a:cubicBezTo>
                      <a:pt x="3028" y="817"/>
                      <a:pt x="3039" y="725"/>
                      <a:pt x="3011" y="6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  <a:latin typeface="Roboto Black" panose="02000000000000000000" pitchFamily="2" charset="0"/>
                  <a:ea typeface="Roboto Black" panose="02000000000000000000" pitchFamily="2" charset="0"/>
                </a:endParaRPr>
              </a:p>
            </p:txBody>
          </p:sp>
          <p:sp>
            <p:nvSpPr>
              <p:cNvPr id="65" name="Freeform 466">
                <a:extLst>
                  <a:ext uri="{FF2B5EF4-FFF2-40B4-BE49-F238E27FC236}">
                    <a16:creationId xmlns:a16="http://schemas.microsoft.com/office/drawing/2014/main" id="{BF862331-88CB-2EB2-E01F-290B67A2F3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77088" y="622301"/>
                <a:ext cx="149225" cy="149225"/>
              </a:xfrm>
              <a:custGeom>
                <a:avLst/>
                <a:gdLst>
                  <a:gd name="T0" fmla="*/ 3605 w 3792"/>
                  <a:gd name="T1" fmla="*/ 1224 h 3791"/>
                  <a:gd name="T2" fmla="*/ 3334 w 3792"/>
                  <a:gd name="T3" fmla="*/ 1066 h 3791"/>
                  <a:gd name="T4" fmla="*/ 3332 w 3792"/>
                  <a:gd name="T5" fmla="*/ 752 h 3791"/>
                  <a:gd name="T6" fmla="*/ 3040 w 3792"/>
                  <a:gd name="T7" fmla="*/ 460 h 3791"/>
                  <a:gd name="T8" fmla="*/ 2726 w 3792"/>
                  <a:gd name="T9" fmla="*/ 458 h 3791"/>
                  <a:gd name="T10" fmla="*/ 2568 w 3792"/>
                  <a:gd name="T11" fmla="*/ 187 h 3791"/>
                  <a:gd name="T12" fmla="*/ 2168 w 3792"/>
                  <a:gd name="T13" fmla="*/ 80 h 3791"/>
                  <a:gd name="T14" fmla="*/ 1896 w 3792"/>
                  <a:gd name="T15" fmla="*/ 236 h 3791"/>
                  <a:gd name="T16" fmla="*/ 1623 w 3792"/>
                  <a:gd name="T17" fmla="*/ 80 h 3791"/>
                  <a:gd name="T18" fmla="*/ 1224 w 3792"/>
                  <a:gd name="T19" fmla="*/ 187 h 3791"/>
                  <a:gd name="T20" fmla="*/ 1065 w 3792"/>
                  <a:gd name="T21" fmla="*/ 458 h 3791"/>
                  <a:gd name="T22" fmla="*/ 752 w 3792"/>
                  <a:gd name="T23" fmla="*/ 460 h 3791"/>
                  <a:gd name="T24" fmla="*/ 460 w 3792"/>
                  <a:gd name="T25" fmla="*/ 752 h 3791"/>
                  <a:gd name="T26" fmla="*/ 458 w 3792"/>
                  <a:gd name="T27" fmla="*/ 1066 h 3791"/>
                  <a:gd name="T28" fmla="*/ 187 w 3792"/>
                  <a:gd name="T29" fmla="*/ 1224 h 3791"/>
                  <a:gd name="T30" fmla="*/ 80 w 3792"/>
                  <a:gd name="T31" fmla="*/ 1623 h 3791"/>
                  <a:gd name="T32" fmla="*/ 236 w 3792"/>
                  <a:gd name="T33" fmla="*/ 1896 h 3791"/>
                  <a:gd name="T34" fmla="*/ 80 w 3792"/>
                  <a:gd name="T35" fmla="*/ 2168 h 3791"/>
                  <a:gd name="T36" fmla="*/ 187 w 3792"/>
                  <a:gd name="T37" fmla="*/ 2568 h 3791"/>
                  <a:gd name="T38" fmla="*/ 458 w 3792"/>
                  <a:gd name="T39" fmla="*/ 2726 h 3791"/>
                  <a:gd name="T40" fmla="*/ 460 w 3792"/>
                  <a:gd name="T41" fmla="*/ 3040 h 3791"/>
                  <a:gd name="T42" fmla="*/ 752 w 3792"/>
                  <a:gd name="T43" fmla="*/ 3332 h 3791"/>
                  <a:gd name="T44" fmla="*/ 1065 w 3792"/>
                  <a:gd name="T45" fmla="*/ 3333 h 3791"/>
                  <a:gd name="T46" fmla="*/ 1224 w 3792"/>
                  <a:gd name="T47" fmla="*/ 3605 h 3791"/>
                  <a:gd name="T48" fmla="*/ 1623 w 3792"/>
                  <a:gd name="T49" fmla="*/ 3712 h 3791"/>
                  <a:gd name="T50" fmla="*/ 1896 w 3792"/>
                  <a:gd name="T51" fmla="*/ 3556 h 3791"/>
                  <a:gd name="T52" fmla="*/ 2168 w 3792"/>
                  <a:gd name="T53" fmla="*/ 3712 h 3791"/>
                  <a:gd name="T54" fmla="*/ 2314 w 3792"/>
                  <a:gd name="T55" fmla="*/ 3750 h 3791"/>
                  <a:gd name="T56" fmla="*/ 2568 w 3792"/>
                  <a:gd name="T57" fmla="*/ 3605 h 3791"/>
                  <a:gd name="T58" fmla="*/ 2726 w 3792"/>
                  <a:gd name="T59" fmla="*/ 3333 h 3791"/>
                  <a:gd name="T60" fmla="*/ 3040 w 3792"/>
                  <a:gd name="T61" fmla="*/ 3332 h 3791"/>
                  <a:gd name="T62" fmla="*/ 3332 w 3792"/>
                  <a:gd name="T63" fmla="*/ 3040 h 3791"/>
                  <a:gd name="T64" fmla="*/ 3334 w 3792"/>
                  <a:gd name="T65" fmla="*/ 2726 h 3791"/>
                  <a:gd name="T66" fmla="*/ 3605 w 3792"/>
                  <a:gd name="T67" fmla="*/ 2568 h 3791"/>
                  <a:gd name="T68" fmla="*/ 3711 w 3792"/>
                  <a:gd name="T69" fmla="*/ 2168 h 3791"/>
                  <a:gd name="T70" fmla="*/ 3556 w 3792"/>
                  <a:gd name="T71" fmla="*/ 1896 h 3791"/>
                  <a:gd name="T72" fmla="*/ 3711 w 3792"/>
                  <a:gd name="T73" fmla="*/ 1623 h 3791"/>
                  <a:gd name="T74" fmla="*/ 3605 w 3792"/>
                  <a:gd name="T75" fmla="*/ 1224 h 3791"/>
                  <a:gd name="T76" fmla="*/ 3014 w 3792"/>
                  <a:gd name="T77" fmla="*/ 1672 h 3791"/>
                  <a:gd name="T78" fmla="*/ 2455 w 3792"/>
                  <a:gd name="T79" fmla="*/ 2080 h 3791"/>
                  <a:gd name="T80" fmla="*/ 2668 w 3792"/>
                  <a:gd name="T81" fmla="*/ 2737 h 3791"/>
                  <a:gd name="T82" fmla="*/ 2618 w 3792"/>
                  <a:gd name="T83" fmla="*/ 2891 h 3791"/>
                  <a:gd name="T84" fmla="*/ 2536 w 3792"/>
                  <a:gd name="T85" fmla="*/ 2918 h 3791"/>
                  <a:gd name="T86" fmla="*/ 2455 w 3792"/>
                  <a:gd name="T87" fmla="*/ 2891 h 3791"/>
                  <a:gd name="T88" fmla="*/ 1896 w 3792"/>
                  <a:gd name="T89" fmla="*/ 2485 h 3791"/>
                  <a:gd name="T90" fmla="*/ 1337 w 3792"/>
                  <a:gd name="T91" fmla="*/ 2891 h 3791"/>
                  <a:gd name="T92" fmla="*/ 1174 w 3792"/>
                  <a:gd name="T93" fmla="*/ 2891 h 3791"/>
                  <a:gd name="T94" fmla="*/ 1123 w 3792"/>
                  <a:gd name="T95" fmla="*/ 2737 h 3791"/>
                  <a:gd name="T96" fmla="*/ 1337 w 3792"/>
                  <a:gd name="T97" fmla="*/ 2080 h 3791"/>
                  <a:gd name="T98" fmla="*/ 778 w 3792"/>
                  <a:gd name="T99" fmla="*/ 1672 h 3791"/>
                  <a:gd name="T100" fmla="*/ 728 w 3792"/>
                  <a:gd name="T101" fmla="*/ 1518 h 3791"/>
                  <a:gd name="T102" fmla="*/ 859 w 3792"/>
                  <a:gd name="T103" fmla="*/ 1422 h 3791"/>
                  <a:gd name="T104" fmla="*/ 1550 w 3792"/>
                  <a:gd name="T105" fmla="*/ 1422 h 3791"/>
                  <a:gd name="T106" fmla="*/ 1764 w 3792"/>
                  <a:gd name="T107" fmla="*/ 765 h 3791"/>
                  <a:gd name="T108" fmla="*/ 1896 w 3792"/>
                  <a:gd name="T109" fmla="*/ 669 h 3791"/>
                  <a:gd name="T110" fmla="*/ 2028 w 3792"/>
                  <a:gd name="T111" fmla="*/ 765 h 3791"/>
                  <a:gd name="T112" fmla="*/ 2241 w 3792"/>
                  <a:gd name="T113" fmla="*/ 1422 h 3791"/>
                  <a:gd name="T114" fmla="*/ 2932 w 3792"/>
                  <a:gd name="T115" fmla="*/ 1422 h 3791"/>
                  <a:gd name="T116" fmla="*/ 3064 w 3792"/>
                  <a:gd name="T117" fmla="*/ 1518 h 3791"/>
                  <a:gd name="T118" fmla="*/ 3014 w 3792"/>
                  <a:gd name="T119" fmla="*/ 1672 h 37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792" h="3791">
                    <a:moveTo>
                      <a:pt x="3605" y="1224"/>
                    </a:moveTo>
                    <a:lnTo>
                      <a:pt x="3334" y="1066"/>
                    </a:lnTo>
                    <a:lnTo>
                      <a:pt x="3332" y="752"/>
                    </a:lnTo>
                    <a:cubicBezTo>
                      <a:pt x="3331" y="591"/>
                      <a:pt x="3201" y="460"/>
                      <a:pt x="3040" y="460"/>
                    </a:cubicBezTo>
                    <a:lnTo>
                      <a:pt x="2726" y="458"/>
                    </a:lnTo>
                    <a:lnTo>
                      <a:pt x="2568" y="187"/>
                    </a:lnTo>
                    <a:cubicBezTo>
                      <a:pt x="2487" y="48"/>
                      <a:pt x="2308" y="0"/>
                      <a:pt x="2168" y="80"/>
                    </a:cubicBezTo>
                    <a:lnTo>
                      <a:pt x="1896" y="236"/>
                    </a:lnTo>
                    <a:lnTo>
                      <a:pt x="1623" y="80"/>
                    </a:lnTo>
                    <a:cubicBezTo>
                      <a:pt x="1484" y="0"/>
                      <a:pt x="1305" y="48"/>
                      <a:pt x="1224" y="187"/>
                    </a:cubicBezTo>
                    <a:lnTo>
                      <a:pt x="1065" y="458"/>
                    </a:lnTo>
                    <a:lnTo>
                      <a:pt x="752" y="460"/>
                    </a:lnTo>
                    <a:cubicBezTo>
                      <a:pt x="591" y="461"/>
                      <a:pt x="461" y="591"/>
                      <a:pt x="460" y="752"/>
                    </a:cubicBezTo>
                    <a:lnTo>
                      <a:pt x="458" y="1066"/>
                    </a:lnTo>
                    <a:lnTo>
                      <a:pt x="187" y="1224"/>
                    </a:lnTo>
                    <a:cubicBezTo>
                      <a:pt x="48" y="1305"/>
                      <a:pt x="0" y="1483"/>
                      <a:pt x="80" y="1623"/>
                    </a:cubicBezTo>
                    <a:lnTo>
                      <a:pt x="236" y="1896"/>
                    </a:lnTo>
                    <a:lnTo>
                      <a:pt x="80" y="2168"/>
                    </a:lnTo>
                    <a:cubicBezTo>
                      <a:pt x="0" y="2307"/>
                      <a:pt x="48" y="2486"/>
                      <a:pt x="187" y="2568"/>
                    </a:cubicBezTo>
                    <a:lnTo>
                      <a:pt x="458" y="2726"/>
                    </a:lnTo>
                    <a:lnTo>
                      <a:pt x="460" y="3040"/>
                    </a:lnTo>
                    <a:cubicBezTo>
                      <a:pt x="461" y="3200"/>
                      <a:pt x="591" y="3331"/>
                      <a:pt x="752" y="3332"/>
                    </a:cubicBezTo>
                    <a:lnTo>
                      <a:pt x="1065" y="3333"/>
                    </a:lnTo>
                    <a:lnTo>
                      <a:pt x="1224" y="3605"/>
                    </a:lnTo>
                    <a:cubicBezTo>
                      <a:pt x="1305" y="3744"/>
                      <a:pt x="1484" y="3791"/>
                      <a:pt x="1623" y="3712"/>
                    </a:cubicBezTo>
                    <a:lnTo>
                      <a:pt x="1896" y="3556"/>
                    </a:lnTo>
                    <a:lnTo>
                      <a:pt x="2168" y="3712"/>
                    </a:lnTo>
                    <a:cubicBezTo>
                      <a:pt x="2214" y="3738"/>
                      <a:pt x="2264" y="3750"/>
                      <a:pt x="2314" y="3750"/>
                    </a:cubicBezTo>
                    <a:cubicBezTo>
                      <a:pt x="2414" y="3750"/>
                      <a:pt x="2513" y="3698"/>
                      <a:pt x="2568" y="3605"/>
                    </a:cubicBezTo>
                    <a:lnTo>
                      <a:pt x="2726" y="3333"/>
                    </a:lnTo>
                    <a:lnTo>
                      <a:pt x="3040" y="3332"/>
                    </a:lnTo>
                    <a:cubicBezTo>
                      <a:pt x="3201" y="3331"/>
                      <a:pt x="3331" y="3200"/>
                      <a:pt x="3332" y="3040"/>
                    </a:cubicBezTo>
                    <a:lnTo>
                      <a:pt x="3334" y="2726"/>
                    </a:lnTo>
                    <a:lnTo>
                      <a:pt x="3605" y="2568"/>
                    </a:lnTo>
                    <a:cubicBezTo>
                      <a:pt x="3744" y="2486"/>
                      <a:pt x="3791" y="2308"/>
                      <a:pt x="3711" y="2168"/>
                    </a:cubicBezTo>
                    <a:lnTo>
                      <a:pt x="3556" y="1896"/>
                    </a:lnTo>
                    <a:lnTo>
                      <a:pt x="3711" y="1623"/>
                    </a:lnTo>
                    <a:cubicBezTo>
                      <a:pt x="3792" y="1483"/>
                      <a:pt x="3744" y="1305"/>
                      <a:pt x="3605" y="1224"/>
                    </a:cubicBezTo>
                    <a:close/>
                    <a:moveTo>
                      <a:pt x="3014" y="1672"/>
                    </a:moveTo>
                    <a:lnTo>
                      <a:pt x="2455" y="2080"/>
                    </a:lnTo>
                    <a:lnTo>
                      <a:pt x="2668" y="2737"/>
                    </a:lnTo>
                    <a:cubicBezTo>
                      <a:pt x="2687" y="2794"/>
                      <a:pt x="2666" y="2856"/>
                      <a:pt x="2618" y="2891"/>
                    </a:cubicBezTo>
                    <a:cubicBezTo>
                      <a:pt x="2593" y="2909"/>
                      <a:pt x="2565" y="2918"/>
                      <a:pt x="2536" y="2918"/>
                    </a:cubicBezTo>
                    <a:cubicBezTo>
                      <a:pt x="2508" y="2918"/>
                      <a:pt x="2479" y="2909"/>
                      <a:pt x="2455" y="2891"/>
                    </a:cubicBezTo>
                    <a:lnTo>
                      <a:pt x="1896" y="2485"/>
                    </a:lnTo>
                    <a:lnTo>
                      <a:pt x="1337" y="2891"/>
                    </a:lnTo>
                    <a:cubicBezTo>
                      <a:pt x="1288" y="2926"/>
                      <a:pt x="1222" y="2926"/>
                      <a:pt x="1174" y="2891"/>
                    </a:cubicBezTo>
                    <a:cubicBezTo>
                      <a:pt x="1125" y="2856"/>
                      <a:pt x="1105" y="2794"/>
                      <a:pt x="1123" y="2737"/>
                    </a:cubicBezTo>
                    <a:lnTo>
                      <a:pt x="1337" y="2080"/>
                    </a:lnTo>
                    <a:lnTo>
                      <a:pt x="778" y="1672"/>
                    </a:lnTo>
                    <a:cubicBezTo>
                      <a:pt x="729" y="1638"/>
                      <a:pt x="709" y="1575"/>
                      <a:pt x="728" y="1518"/>
                    </a:cubicBezTo>
                    <a:cubicBezTo>
                      <a:pt x="746" y="1461"/>
                      <a:pt x="799" y="1422"/>
                      <a:pt x="859" y="1422"/>
                    </a:cubicBezTo>
                    <a:lnTo>
                      <a:pt x="1550" y="1422"/>
                    </a:lnTo>
                    <a:lnTo>
                      <a:pt x="1764" y="765"/>
                    </a:lnTo>
                    <a:cubicBezTo>
                      <a:pt x="1783" y="708"/>
                      <a:pt x="1836" y="669"/>
                      <a:pt x="1896" y="669"/>
                    </a:cubicBezTo>
                    <a:cubicBezTo>
                      <a:pt x="1955" y="669"/>
                      <a:pt x="2009" y="708"/>
                      <a:pt x="2028" y="765"/>
                    </a:cubicBezTo>
                    <a:lnTo>
                      <a:pt x="2241" y="1422"/>
                    </a:lnTo>
                    <a:lnTo>
                      <a:pt x="2932" y="1422"/>
                    </a:lnTo>
                    <a:cubicBezTo>
                      <a:pt x="2992" y="1422"/>
                      <a:pt x="3046" y="1461"/>
                      <a:pt x="3064" y="1518"/>
                    </a:cubicBezTo>
                    <a:cubicBezTo>
                      <a:pt x="3082" y="1575"/>
                      <a:pt x="3062" y="1638"/>
                      <a:pt x="3014" y="16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  <a:latin typeface="Roboto Black" panose="02000000000000000000" pitchFamily="2" charset="0"/>
                  <a:ea typeface="Roboto Black" panose="02000000000000000000" pitchFamily="2" charset="0"/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00A37E6-BCE8-EFA1-D35E-44DFC3D0F8D4}"/>
              </a:ext>
            </a:extLst>
          </p:cNvPr>
          <p:cNvGrpSpPr/>
          <p:nvPr/>
        </p:nvGrpSpPr>
        <p:grpSpPr>
          <a:xfrm>
            <a:off x="2830504" y="4460424"/>
            <a:ext cx="484632" cy="495652"/>
            <a:chOff x="2480997" y="4460424"/>
            <a:chExt cx="484632" cy="495652"/>
          </a:xfrm>
        </p:grpSpPr>
        <p:sp>
          <p:nvSpPr>
            <p:cNvPr id="79" name="Oval 45">
              <a:extLst>
                <a:ext uri="{FF2B5EF4-FFF2-40B4-BE49-F238E27FC236}">
                  <a16:creationId xmlns:a16="http://schemas.microsoft.com/office/drawing/2014/main" id="{3523ABCF-A75B-890D-1AE8-F628722133D2}"/>
                </a:ext>
              </a:extLst>
            </p:cNvPr>
            <p:cNvSpPr/>
            <p:nvPr/>
          </p:nvSpPr>
          <p:spPr>
            <a:xfrm>
              <a:off x="2480997" y="4460424"/>
              <a:ext cx="484632" cy="495652"/>
            </a:xfrm>
            <a:prstGeom prst="ellipse">
              <a:avLst/>
            </a:prstGeom>
            <a:solidFill>
              <a:srgbClr val="FDB5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sp>
          <p:nvSpPr>
            <p:cNvPr id="80" name="Freeform 523">
              <a:extLst>
                <a:ext uri="{FF2B5EF4-FFF2-40B4-BE49-F238E27FC236}">
                  <a16:creationId xmlns:a16="http://schemas.microsoft.com/office/drawing/2014/main" id="{955F778C-0C2B-A43E-51DB-8C76C2218C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9728" y="4592082"/>
              <a:ext cx="227171" cy="232337"/>
            </a:xfrm>
            <a:custGeom>
              <a:avLst/>
              <a:gdLst>
                <a:gd name="T0" fmla="*/ 6472 w 6555"/>
                <a:gd name="T1" fmla="*/ 1282 h 6554"/>
                <a:gd name="T2" fmla="*/ 5727 w 6555"/>
                <a:gd name="T3" fmla="*/ 910 h 6554"/>
                <a:gd name="T4" fmla="*/ 5661 w 6555"/>
                <a:gd name="T5" fmla="*/ 894 h 6554"/>
                <a:gd name="T6" fmla="*/ 3575 w 6555"/>
                <a:gd name="T7" fmla="*/ 894 h 6554"/>
                <a:gd name="T8" fmla="*/ 3575 w 6555"/>
                <a:gd name="T9" fmla="*/ 297 h 6554"/>
                <a:gd name="T10" fmla="*/ 3278 w 6555"/>
                <a:gd name="T11" fmla="*/ 0 h 6554"/>
                <a:gd name="T12" fmla="*/ 2979 w 6555"/>
                <a:gd name="T13" fmla="*/ 297 h 6554"/>
                <a:gd name="T14" fmla="*/ 2979 w 6555"/>
                <a:gd name="T15" fmla="*/ 2235 h 6554"/>
                <a:gd name="T16" fmla="*/ 894 w 6555"/>
                <a:gd name="T17" fmla="*/ 2235 h 6554"/>
                <a:gd name="T18" fmla="*/ 828 w 6555"/>
                <a:gd name="T19" fmla="*/ 2249 h 6554"/>
                <a:gd name="T20" fmla="*/ 83 w 6555"/>
                <a:gd name="T21" fmla="*/ 2622 h 6554"/>
                <a:gd name="T22" fmla="*/ 0 w 6555"/>
                <a:gd name="T23" fmla="*/ 2756 h 6554"/>
                <a:gd name="T24" fmla="*/ 83 w 6555"/>
                <a:gd name="T25" fmla="*/ 2889 h 6554"/>
                <a:gd name="T26" fmla="*/ 828 w 6555"/>
                <a:gd name="T27" fmla="*/ 3261 h 6554"/>
                <a:gd name="T28" fmla="*/ 894 w 6555"/>
                <a:gd name="T29" fmla="*/ 3277 h 6554"/>
                <a:gd name="T30" fmla="*/ 2979 w 6555"/>
                <a:gd name="T31" fmla="*/ 3277 h 6554"/>
                <a:gd name="T32" fmla="*/ 2979 w 6555"/>
                <a:gd name="T33" fmla="*/ 5446 h 6554"/>
                <a:gd name="T34" fmla="*/ 2342 w 6555"/>
                <a:gd name="T35" fmla="*/ 5446 h 6554"/>
                <a:gd name="T36" fmla="*/ 1490 w 6555"/>
                <a:gd name="T37" fmla="*/ 6149 h 6554"/>
                <a:gd name="T38" fmla="*/ 1490 w 6555"/>
                <a:gd name="T39" fmla="*/ 6256 h 6554"/>
                <a:gd name="T40" fmla="*/ 1788 w 6555"/>
                <a:gd name="T41" fmla="*/ 6554 h 6554"/>
                <a:gd name="T42" fmla="*/ 4767 w 6555"/>
                <a:gd name="T43" fmla="*/ 6554 h 6554"/>
                <a:gd name="T44" fmla="*/ 5065 w 6555"/>
                <a:gd name="T45" fmla="*/ 6256 h 6554"/>
                <a:gd name="T46" fmla="*/ 5065 w 6555"/>
                <a:gd name="T47" fmla="*/ 6149 h 6554"/>
                <a:gd name="T48" fmla="*/ 4213 w 6555"/>
                <a:gd name="T49" fmla="*/ 5446 h 6554"/>
                <a:gd name="T50" fmla="*/ 3575 w 6555"/>
                <a:gd name="T51" fmla="*/ 5446 h 6554"/>
                <a:gd name="T52" fmla="*/ 3575 w 6555"/>
                <a:gd name="T53" fmla="*/ 1936 h 6554"/>
                <a:gd name="T54" fmla="*/ 5661 w 6555"/>
                <a:gd name="T55" fmla="*/ 1936 h 6554"/>
                <a:gd name="T56" fmla="*/ 5727 w 6555"/>
                <a:gd name="T57" fmla="*/ 1921 h 6554"/>
                <a:gd name="T58" fmla="*/ 6472 w 6555"/>
                <a:gd name="T59" fmla="*/ 1548 h 6554"/>
                <a:gd name="T60" fmla="*/ 6555 w 6555"/>
                <a:gd name="T61" fmla="*/ 1415 h 6554"/>
                <a:gd name="T62" fmla="*/ 6472 w 6555"/>
                <a:gd name="T63" fmla="*/ 1282 h 6554"/>
                <a:gd name="T64" fmla="*/ 5625 w 6555"/>
                <a:gd name="T65" fmla="*/ 1638 h 6554"/>
                <a:gd name="T66" fmla="*/ 3575 w 6555"/>
                <a:gd name="T67" fmla="*/ 1638 h 6554"/>
                <a:gd name="T68" fmla="*/ 3575 w 6555"/>
                <a:gd name="T69" fmla="*/ 1191 h 6554"/>
                <a:gd name="T70" fmla="*/ 5625 w 6555"/>
                <a:gd name="T71" fmla="*/ 1191 h 6554"/>
                <a:gd name="T72" fmla="*/ 6073 w 6555"/>
                <a:gd name="T73" fmla="*/ 1415 h 6554"/>
                <a:gd name="T74" fmla="*/ 5625 w 6555"/>
                <a:gd name="T75" fmla="*/ 1638 h 6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555" h="6554">
                  <a:moveTo>
                    <a:pt x="6472" y="1282"/>
                  </a:moveTo>
                  <a:lnTo>
                    <a:pt x="5727" y="910"/>
                  </a:lnTo>
                  <a:cubicBezTo>
                    <a:pt x="5707" y="899"/>
                    <a:pt x="5684" y="894"/>
                    <a:pt x="5661" y="894"/>
                  </a:cubicBezTo>
                  <a:lnTo>
                    <a:pt x="3575" y="894"/>
                  </a:lnTo>
                  <a:lnTo>
                    <a:pt x="3575" y="297"/>
                  </a:lnTo>
                  <a:cubicBezTo>
                    <a:pt x="3575" y="133"/>
                    <a:pt x="3442" y="0"/>
                    <a:pt x="3278" y="0"/>
                  </a:cubicBezTo>
                  <a:cubicBezTo>
                    <a:pt x="3113" y="0"/>
                    <a:pt x="2979" y="133"/>
                    <a:pt x="2979" y="297"/>
                  </a:cubicBezTo>
                  <a:lnTo>
                    <a:pt x="2979" y="2235"/>
                  </a:lnTo>
                  <a:lnTo>
                    <a:pt x="894" y="2235"/>
                  </a:lnTo>
                  <a:cubicBezTo>
                    <a:pt x="871" y="2235"/>
                    <a:pt x="848" y="2239"/>
                    <a:pt x="828" y="2249"/>
                  </a:cubicBezTo>
                  <a:lnTo>
                    <a:pt x="83" y="2622"/>
                  </a:lnTo>
                  <a:cubicBezTo>
                    <a:pt x="32" y="2647"/>
                    <a:pt x="0" y="2699"/>
                    <a:pt x="0" y="2756"/>
                  </a:cubicBezTo>
                  <a:cubicBezTo>
                    <a:pt x="0" y="2812"/>
                    <a:pt x="32" y="2864"/>
                    <a:pt x="83" y="2889"/>
                  </a:cubicBezTo>
                  <a:lnTo>
                    <a:pt x="828" y="3261"/>
                  </a:lnTo>
                  <a:cubicBezTo>
                    <a:pt x="848" y="3272"/>
                    <a:pt x="871" y="3277"/>
                    <a:pt x="894" y="3277"/>
                  </a:cubicBezTo>
                  <a:lnTo>
                    <a:pt x="2979" y="3277"/>
                  </a:lnTo>
                  <a:lnTo>
                    <a:pt x="2979" y="5446"/>
                  </a:lnTo>
                  <a:lnTo>
                    <a:pt x="2342" y="5446"/>
                  </a:lnTo>
                  <a:cubicBezTo>
                    <a:pt x="1551" y="5446"/>
                    <a:pt x="1490" y="5984"/>
                    <a:pt x="1490" y="6149"/>
                  </a:cubicBezTo>
                  <a:lnTo>
                    <a:pt x="1490" y="6256"/>
                  </a:lnTo>
                  <a:cubicBezTo>
                    <a:pt x="1490" y="6421"/>
                    <a:pt x="1624" y="6554"/>
                    <a:pt x="1788" y="6554"/>
                  </a:cubicBezTo>
                  <a:lnTo>
                    <a:pt x="4767" y="6554"/>
                  </a:lnTo>
                  <a:cubicBezTo>
                    <a:pt x="4931" y="6554"/>
                    <a:pt x="5065" y="6421"/>
                    <a:pt x="5065" y="6256"/>
                  </a:cubicBezTo>
                  <a:lnTo>
                    <a:pt x="5065" y="6149"/>
                  </a:lnTo>
                  <a:cubicBezTo>
                    <a:pt x="5065" y="5984"/>
                    <a:pt x="5004" y="5446"/>
                    <a:pt x="4213" y="5446"/>
                  </a:cubicBezTo>
                  <a:lnTo>
                    <a:pt x="3575" y="5446"/>
                  </a:lnTo>
                  <a:lnTo>
                    <a:pt x="3575" y="1936"/>
                  </a:lnTo>
                  <a:lnTo>
                    <a:pt x="5661" y="1936"/>
                  </a:lnTo>
                  <a:cubicBezTo>
                    <a:pt x="5684" y="1936"/>
                    <a:pt x="5707" y="1931"/>
                    <a:pt x="5727" y="1921"/>
                  </a:cubicBezTo>
                  <a:lnTo>
                    <a:pt x="6472" y="1548"/>
                  </a:lnTo>
                  <a:cubicBezTo>
                    <a:pt x="6523" y="1523"/>
                    <a:pt x="6555" y="1471"/>
                    <a:pt x="6555" y="1415"/>
                  </a:cubicBezTo>
                  <a:cubicBezTo>
                    <a:pt x="6555" y="1358"/>
                    <a:pt x="6523" y="1307"/>
                    <a:pt x="6472" y="1282"/>
                  </a:cubicBezTo>
                  <a:close/>
                  <a:moveTo>
                    <a:pt x="5625" y="1638"/>
                  </a:moveTo>
                  <a:lnTo>
                    <a:pt x="3575" y="1638"/>
                  </a:lnTo>
                  <a:lnTo>
                    <a:pt x="3575" y="1191"/>
                  </a:lnTo>
                  <a:lnTo>
                    <a:pt x="5625" y="1191"/>
                  </a:lnTo>
                  <a:lnTo>
                    <a:pt x="6073" y="1415"/>
                  </a:lnTo>
                  <a:lnTo>
                    <a:pt x="5625" y="16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</p:grpSp>
      <p:sp>
        <p:nvSpPr>
          <p:cNvPr id="81" name="Rectangle: Rounded Corners 50">
            <a:extLst>
              <a:ext uri="{FF2B5EF4-FFF2-40B4-BE49-F238E27FC236}">
                <a16:creationId xmlns:a16="http://schemas.microsoft.com/office/drawing/2014/main" id="{DD8A60E7-F9B4-BAE9-A1CE-F8D184DA01CF}"/>
              </a:ext>
            </a:extLst>
          </p:cNvPr>
          <p:cNvSpPr/>
          <p:nvPr/>
        </p:nvSpPr>
        <p:spPr>
          <a:xfrm>
            <a:off x="10719366" y="4294059"/>
            <a:ext cx="548640" cy="1734038"/>
          </a:xfrm>
          <a:prstGeom prst="roundRect">
            <a:avLst>
              <a:gd name="adj" fmla="val 15279"/>
            </a:avLst>
          </a:prstGeom>
          <a:solidFill>
            <a:schemeClr val="accent1">
              <a:lumMod val="20000"/>
              <a:lumOff val="80000"/>
              <a:alpha val="60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82" name="Rectangle: Rounded Corners 49">
            <a:extLst>
              <a:ext uri="{FF2B5EF4-FFF2-40B4-BE49-F238E27FC236}">
                <a16:creationId xmlns:a16="http://schemas.microsoft.com/office/drawing/2014/main" id="{391663D6-3E07-3E64-8917-892C0EF18C2F}"/>
              </a:ext>
            </a:extLst>
          </p:cNvPr>
          <p:cNvSpPr/>
          <p:nvPr/>
        </p:nvSpPr>
        <p:spPr>
          <a:xfrm>
            <a:off x="10719366" y="1910164"/>
            <a:ext cx="548640" cy="1734038"/>
          </a:xfrm>
          <a:prstGeom prst="roundRect">
            <a:avLst>
              <a:gd name="adj" fmla="val 15279"/>
            </a:avLst>
          </a:prstGeom>
          <a:solidFill>
            <a:schemeClr val="accent1">
              <a:lumMod val="20000"/>
              <a:lumOff val="80000"/>
              <a:alpha val="60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83" name="Rectangle: Rounded Corners 7">
            <a:extLst>
              <a:ext uri="{FF2B5EF4-FFF2-40B4-BE49-F238E27FC236}">
                <a16:creationId xmlns:a16="http://schemas.microsoft.com/office/drawing/2014/main" id="{DF79F035-6208-D9AA-5FB2-3A2C88459314}"/>
              </a:ext>
            </a:extLst>
          </p:cNvPr>
          <p:cNvSpPr/>
          <p:nvPr/>
        </p:nvSpPr>
        <p:spPr>
          <a:xfrm rot="10800000" flipH="1" flipV="1">
            <a:off x="6492149" y="1635845"/>
            <a:ext cx="2655758" cy="2282677"/>
          </a:xfrm>
          <a:prstGeom prst="roundRect">
            <a:avLst>
              <a:gd name="adj" fmla="val 3438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84" name="Rectangle: Rounded Corners 8">
            <a:extLst>
              <a:ext uri="{FF2B5EF4-FFF2-40B4-BE49-F238E27FC236}">
                <a16:creationId xmlns:a16="http://schemas.microsoft.com/office/drawing/2014/main" id="{BB3DB6E8-8A37-CC76-0A0F-BABFC7649B57}"/>
              </a:ext>
            </a:extLst>
          </p:cNvPr>
          <p:cNvSpPr/>
          <p:nvPr/>
        </p:nvSpPr>
        <p:spPr>
          <a:xfrm rot="10800000" flipH="1" flipV="1">
            <a:off x="6492149" y="4019294"/>
            <a:ext cx="2655758" cy="2283568"/>
          </a:xfrm>
          <a:prstGeom prst="roundRect">
            <a:avLst>
              <a:gd name="adj" fmla="val 3438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98" name="Rectangle: Rounded Corners 7">
            <a:extLst>
              <a:ext uri="{FF2B5EF4-FFF2-40B4-BE49-F238E27FC236}">
                <a16:creationId xmlns:a16="http://schemas.microsoft.com/office/drawing/2014/main" id="{3F2BD526-AE35-C537-BABB-5CA88F3E459D}"/>
              </a:ext>
            </a:extLst>
          </p:cNvPr>
          <p:cNvSpPr/>
          <p:nvPr/>
        </p:nvSpPr>
        <p:spPr>
          <a:xfrm rot="10800000" flipH="1" flipV="1">
            <a:off x="8783273" y="1635845"/>
            <a:ext cx="2303050" cy="2282677"/>
          </a:xfrm>
          <a:prstGeom prst="roundRect">
            <a:avLst>
              <a:gd name="adj" fmla="val 3438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99" name="Rectangle: Rounded Corners 8">
            <a:extLst>
              <a:ext uri="{FF2B5EF4-FFF2-40B4-BE49-F238E27FC236}">
                <a16:creationId xmlns:a16="http://schemas.microsoft.com/office/drawing/2014/main" id="{9B759C2C-8EA7-D8C3-2F7E-FA398DF6895B}"/>
              </a:ext>
            </a:extLst>
          </p:cNvPr>
          <p:cNvSpPr/>
          <p:nvPr/>
        </p:nvSpPr>
        <p:spPr>
          <a:xfrm rot="10800000" flipH="1" flipV="1">
            <a:off x="8783273" y="4019294"/>
            <a:ext cx="2303050" cy="2283568"/>
          </a:xfrm>
          <a:prstGeom prst="roundRect">
            <a:avLst>
              <a:gd name="adj" fmla="val 3438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116" name="TextBox 22">
            <a:extLst>
              <a:ext uri="{FF2B5EF4-FFF2-40B4-BE49-F238E27FC236}">
                <a16:creationId xmlns:a16="http://schemas.microsoft.com/office/drawing/2014/main" id="{A4C59959-79A2-7B54-296E-24A8EA2451EB}"/>
              </a:ext>
            </a:extLst>
          </p:cNvPr>
          <p:cNvSpPr txBox="1"/>
          <p:nvPr/>
        </p:nvSpPr>
        <p:spPr>
          <a:xfrm>
            <a:off x="4352992" y="5223594"/>
            <a:ext cx="1990789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Integracja z platformami ATS typu </a:t>
            </a:r>
            <a:r>
              <a:rPr lang="pl-PL" sz="1400" err="1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eRecruiter</a:t>
            </a:r>
            <a:b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</a:br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i HR-link​</a:t>
            </a:r>
          </a:p>
        </p:txBody>
      </p:sp>
      <p:sp>
        <p:nvSpPr>
          <p:cNvPr id="117" name="TextBox 20">
            <a:extLst>
              <a:ext uri="{FF2B5EF4-FFF2-40B4-BE49-F238E27FC236}">
                <a16:creationId xmlns:a16="http://schemas.microsoft.com/office/drawing/2014/main" id="{4CFC0F98-BD3E-9057-E32B-D165A5B6DE6D}"/>
              </a:ext>
            </a:extLst>
          </p:cNvPr>
          <p:cNvSpPr txBox="1"/>
          <p:nvPr/>
        </p:nvSpPr>
        <p:spPr>
          <a:xfrm>
            <a:off x="2065508" y="5223594"/>
            <a:ext cx="205367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Adaptacja kulturowa </a:t>
            </a:r>
            <a:b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</a:br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i walidacja dla polskiej populacji</a:t>
            </a:r>
          </a:p>
        </p:txBody>
      </p:sp>
      <p:sp>
        <p:nvSpPr>
          <p:cNvPr id="118" name="TextBox 22">
            <a:extLst>
              <a:ext uri="{FF2B5EF4-FFF2-40B4-BE49-F238E27FC236}">
                <a16:creationId xmlns:a16="http://schemas.microsoft.com/office/drawing/2014/main" id="{DF8C5C39-C90A-29AF-0655-B8AEF2E80C71}"/>
              </a:ext>
            </a:extLst>
          </p:cNvPr>
          <p:cNvSpPr txBox="1"/>
          <p:nvPr/>
        </p:nvSpPr>
        <p:spPr>
          <a:xfrm>
            <a:off x="6557391" y="5223594"/>
            <a:ext cx="2150769" cy="6463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/>
                <a:cs typeface="Poppins Medium"/>
              </a:rPr>
              <a:t>Analiza naturalnych </a:t>
            </a:r>
            <a:r>
              <a:rPr lang="pl-PL" sz="1400" err="1">
                <a:solidFill>
                  <a:schemeClr val="tx1">
                    <a:lumMod val="85000"/>
                    <a:lumOff val="15000"/>
                  </a:schemeClr>
                </a:solidFill>
                <a:ea typeface="Roboto Black"/>
                <a:cs typeface="Poppins Medium"/>
              </a:rPr>
              <a:t>zachowań</a:t>
            </a:r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/>
                <a:cs typeface="Poppins Medium"/>
              </a:rPr>
              <a:t> oraz </a:t>
            </a:r>
            <a:endParaRPr lang="pl-PL" sz="1400">
              <a:solidFill>
                <a:schemeClr val="tx1">
                  <a:lumMod val="85000"/>
                  <a:lumOff val="15000"/>
                </a:schemeClr>
              </a:solidFill>
              <a:ea typeface="Roboto Black" panose="02000000000000000000" pitchFamily="2" charset="0"/>
              <a:cs typeface="Poppins Medium" panose="00000600000000000000" pitchFamily="2" charset="0"/>
            </a:endParaRPr>
          </a:p>
          <a:p>
            <a:pPr algn="ctr"/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potrzeby adaptacji</a:t>
            </a:r>
          </a:p>
        </p:txBody>
      </p:sp>
      <p:sp>
        <p:nvSpPr>
          <p:cNvPr id="125" name="Graphic 49">
            <a:extLst>
              <a:ext uri="{FF2B5EF4-FFF2-40B4-BE49-F238E27FC236}">
                <a16:creationId xmlns:a16="http://schemas.microsoft.com/office/drawing/2014/main" id="{621A1BF9-E2B5-1003-5BFD-EC4B80CCD9A0}"/>
              </a:ext>
            </a:extLst>
          </p:cNvPr>
          <p:cNvSpPr/>
          <p:nvPr/>
        </p:nvSpPr>
        <p:spPr>
          <a:xfrm rot="6201201" flipH="1">
            <a:off x="1462328" y="1628822"/>
            <a:ext cx="556308" cy="514083"/>
          </a:xfrm>
          <a:custGeom>
            <a:avLst/>
            <a:gdLst>
              <a:gd name="connsiteX0" fmla="*/ -429 w 718318"/>
              <a:gd name="connsiteY0" fmla="*/ 697770 h 698277"/>
              <a:gd name="connsiteX1" fmla="*/ 717089 w 718318"/>
              <a:gd name="connsiteY1" fmla="*/ -507 h 698277"/>
              <a:gd name="connsiteX0" fmla="*/ 0 w 704320"/>
              <a:gd name="connsiteY0" fmla="*/ 691271 h 691271"/>
              <a:gd name="connsiteX1" fmla="*/ 703505 w 704320"/>
              <a:gd name="connsiteY1" fmla="*/ 0 h 691271"/>
              <a:gd name="connsiteX0" fmla="*/ 0 w 697321"/>
              <a:gd name="connsiteY0" fmla="*/ 684265 h 684265"/>
              <a:gd name="connsiteX1" fmla="*/ 696499 w 697321"/>
              <a:gd name="connsiteY1" fmla="*/ 0 h 684265"/>
              <a:gd name="connsiteX0" fmla="*/ 0 w 777373"/>
              <a:gd name="connsiteY0" fmla="*/ 684265 h 718368"/>
              <a:gd name="connsiteX1" fmla="*/ 696499 w 777373"/>
              <a:gd name="connsiteY1" fmla="*/ 0 h 71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77373" h="718368">
                <a:moveTo>
                  <a:pt x="0" y="684265"/>
                </a:moveTo>
                <a:cubicBezTo>
                  <a:pt x="0" y="684265"/>
                  <a:pt x="1075388" y="949610"/>
                  <a:pt x="696499" y="0"/>
                </a:cubicBezTo>
              </a:path>
            </a:pathLst>
          </a:custGeom>
          <a:noFill/>
          <a:ln w="25400" cap="rnd">
            <a:solidFill>
              <a:schemeClr val="accent1"/>
            </a:solidFill>
            <a:prstDash val="solid"/>
            <a:round/>
            <a:tailEnd type="arrow" w="med" len="sm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sp>
        <p:nvSpPr>
          <p:cNvPr id="126" name="Freeform: Shape 34">
            <a:extLst>
              <a:ext uri="{FF2B5EF4-FFF2-40B4-BE49-F238E27FC236}">
                <a16:creationId xmlns:a16="http://schemas.microsoft.com/office/drawing/2014/main" id="{7C658E88-411E-3F06-54B9-390E17DE3DEB}"/>
              </a:ext>
            </a:extLst>
          </p:cNvPr>
          <p:cNvSpPr/>
          <p:nvPr/>
        </p:nvSpPr>
        <p:spPr>
          <a:xfrm>
            <a:off x="984795" y="4805678"/>
            <a:ext cx="569816" cy="831865"/>
          </a:xfrm>
          <a:custGeom>
            <a:avLst/>
            <a:gdLst>
              <a:gd name="connsiteX0" fmla="*/ 546957 w 569816"/>
              <a:gd name="connsiteY0" fmla="*/ 786146 h 831865"/>
              <a:gd name="connsiteX1" fmla="*/ 569816 w 569816"/>
              <a:gd name="connsiteY1" fmla="*/ 809006 h 831865"/>
              <a:gd name="connsiteX2" fmla="*/ 546957 w 569816"/>
              <a:gd name="connsiteY2" fmla="*/ 831865 h 831865"/>
              <a:gd name="connsiteX3" fmla="*/ 524097 w 569816"/>
              <a:gd name="connsiteY3" fmla="*/ 809006 h 831865"/>
              <a:gd name="connsiteX4" fmla="*/ 546957 w 569816"/>
              <a:gd name="connsiteY4" fmla="*/ 786146 h 831865"/>
              <a:gd name="connsiteX5" fmla="*/ 284908 w 569816"/>
              <a:gd name="connsiteY5" fmla="*/ 786146 h 831865"/>
              <a:gd name="connsiteX6" fmla="*/ 307767 w 569816"/>
              <a:gd name="connsiteY6" fmla="*/ 809006 h 831865"/>
              <a:gd name="connsiteX7" fmla="*/ 284908 w 569816"/>
              <a:gd name="connsiteY7" fmla="*/ 831865 h 831865"/>
              <a:gd name="connsiteX8" fmla="*/ 262048 w 569816"/>
              <a:gd name="connsiteY8" fmla="*/ 809006 h 831865"/>
              <a:gd name="connsiteX9" fmla="*/ 284908 w 569816"/>
              <a:gd name="connsiteY9" fmla="*/ 786146 h 831865"/>
              <a:gd name="connsiteX10" fmla="*/ 22860 w 569816"/>
              <a:gd name="connsiteY10" fmla="*/ 786146 h 831865"/>
              <a:gd name="connsiteX11" fmla="*/ 45719 w 569816"/>
              <a:gd name="connsiteY11" fmla="*/ 809006 h 831865"/>
              <a:gd name="connsiteX12" fmla="*/ 22860 w 569816"/>
              <a:gd name="connsiteY12" fmla="*/ 831865 h 831865"/>
              <a:gd name="connsiteX13" fmla="*/ 0 w 569816"/>
              <a:gd name="connsiteY13" fmla="*/ 809006 h 831865"/>
              <a:gd name="connsiteX14" fmla="*/ 22860 w 569816"/>
              <a:gd name="connsiteY14" fmla="*/ 786146 h 831865"/>
              <a:gd name="connsiteX15" fmla="*/ 546957 w 569816"/>
              <a:gd name="connsiteY15" fmla="*/ 524097 h 831865"/>
              <a:gd name="connsiteX16" fmla="*/ 569816 w 569816"/>
              <a:gd name="connsiteY16" fmla="*/ 546957 h 831865"/>
              <a:gd name="connsiteX17" fmla="*/ 546957 w 569816"/>
              <a:gd name="connsiteY17" fmla="*/ 569816 h 831865"/>
              <a:gd name="connsiteX18" fmla="*/ 524097 w 569816"/>
              <a:gd name="connsiteY18" fmla="*/ 546957 h 831865"/>
              <a:gd name="connsiteX19" fmla="*/ 546957 w 569816"/>
              <a:gd name="connsiteY19" fmla="*/ 524097 h 831865"/>
              <a:gd name="connsiteX20" fmla="*/ 284908 w 569816"/>
              <a:gd name="connsiteY20" fmla="*/ 524097 h 831865"/>
              <a:gd name="connsiteX21" fmla="*/ 307767 w 569816"/>
              <a:gd name="connsiteY21" fmla="*/ 546957 h 831865"/>
              <a:gd name="connsiteX22" fmla="*/ 284908 w 569816"/>
              <a:gd name="connsiteY22" fmla="*/ 569816 h 831865"/>
              <a:gd name="connsiteX23" fmla="*/ 262048 w 569816"/>
              <a:gd name="connsiteY23" fmla="*/ 546957 h 831865"/>
              <a:gd name="connsiteX24" fmla="*/ 284908 w 569816"/>
              <a:gd name="connsiteY24" fmla="*/ 524097 h 831865"/>
              <a:gd name="connsiteX25" fmla="*/ 22860 w 569816"/>
              <a:gd name="connsiteY25" fmla="*/ 524097 h 831865"/>
              <a:gd name="connsiteX26" fmla="*/ 45719 w 569816"/>
              <a:gd name="connsiteY26" fmla="*/ 546957 h 831865"/>
              <a:gd name="connsiteX27" fmla="*/ 22860 w 569816"/>
              <a:gd name="connsiteY27" fmla="*/ 569816 h 831865"/>
              <a:gd name="connsiteX28" fmla="*/ 0 w 569816"/>
              <a:gd name="connsiteY28" fmla="*/ 546957 h 831865"/>
              <a:gd name="connsiteX29" fmla="*/ 22860 w 569816"/>
              <a:gd name="connsiteY29" fmla="*/ 524097 h 831865"/>
              <a:gd name="connsiteX30" fmla="*/ 546957 w 569816"/>
              <a:gd name="connsiteY30" fmla="*/ 262048 h 831865"/>
              <a:gd name="connsiteX31" fmla="*/ 569816 w 569816"/>
              <a:gd name="connsiteY31" fmla="*/ 284908 h 831865"/>
              <a:gd name="connsiteX32" fmla="*/ 546957 w 569816"/>
              <a:gd name="connsiteY32" fmla="*/ 307767 h 831865"/>
              <a:gd name="connsiteX33" fmla="*/ 524097 w 569816"/>
              <a:gd name="connsiteY33" fmla="*/ 284908 h 831865"/>
              <a:gd name="connsiteX34" fmla="*/ 546957 w 569816"/>
              <a:gd name="connsiteY34" fmla="*/ 262048 h 831865"/>
              <a:gd name="connsiteX35" fmla="*/ 284908 w 569816"/>
              <a:gd name="connsiteY35" fmla="*/ 262048 h 831865"/>
              <a:gd name="connsiteX36" fmla="*/ 307767 w 569816"/>
              <a:gd name="connsiteY36" fmla="*/ 284908 h 831865"/>
              <a:gd name="connsiteX37" fmla="*/ 284908 w 569816"/>
              <a:gd name="connsiteY37" fmla="*/ 307767 h 831865"/>
              <a:gd name="connsiteX38" fmla="*/ 262048 w 569816"/>
              <a:gd name="connsiteY38" fmla="*/ 284908 h 831865"/>
              <a:gd name="connsiteX39" fmla="*/ 284908 w 569816"/>
              <a:gd name="connsiteY39" fmla="*/ 262048 h 831865"/>
              <a:gd name="connsiteX40" fmla="*/ 22860 w 569816"/>
              <a:gd name="connsiteY40" fmla="*/ 262048 h 831865"/>
              <a:gd name="connsiteX41" fmla="*/ 45719 w 569816"/>
              <a:gd name="connsiteY41" fmla="*/ 284908 h 831865"/>
              <a:gd name="connsiteX42" fmla="*/ 22860 w 569816"/>
              <a:gd name="connsiteY42" fmla="*/ 307767 h 831865"/>
              <a:gd name="connsiteX43" fmla="*/ 0 w 569816"/>
              <a:gd name="connsiteY43" fmla="*/ 284908 h 831865"/>
              <a:gd name="connsiteX44" fmla="*/ 22860 w 569816"/>
              <a:gd name="connsiteY44" fmla="*/ 262048 h 831865"/>
              <a:gd name="connsiteX45" fmla="*/ 546957 w 569816"/>
              <a:gd name="connsiteY45" fmla="*/ 0 h 831865"/>
              <a:gd name="connsiteX46" fmla="*/ 569816 w 569816"/>
              <a:gd name="connsiteY46" fmla="*/ 22860 h 831865"/>
              <a:gd name="connsiteX47" fmla="*/ 546957 w 569816"/>
              <a:gd name="connsiteY47" fmla="*/ 45719 h 831865"/>
              <a:gd name="connsiteX48" fmla="*/ 524097 w 569816"/>
              <a:gd name="connsiteY48" fmla="*/ 22860 h 831865"/>
              <a:gd name="connsiteX49" fmla="*/ 546957 w 569816"/>
              <a:gd name="connsiteY49" fmla="*/ 0 h 831865"/>
              <a:gd name="connsiteX50" fmla="*/ 284908 w 569816"/>
              <a:gd name="connsiteY50" fmla="*/ 0 h 831865"/>
              <a:gd name="connsiteX51" fmla="*/ 307767 w 569816"/>
              <a:gd name="connsiteY51" fmla="*/ 22860 h 831865"/>
              <a:gd name="connsiteX52" fmla="*/ 284908 w 569816"/>
              <a:gd name="connsiteY52" fmla="*/ 45719 h 831865"/>
              <a:gd name="connsiteX53" fmla="*/ 262048 w 569816"/>
              <a:gd name="connsiteY53" fmla="*/ 22860 h 831865"/>
              <a:gd name="connsiteX54" fmla="*/ 284908 w 569816"/>
              <a:gd name="connsiteY54" fmla="*/ 0 h 831865"/>
              <a:gd name="connsiteX55" fmla="*/ 22860 w 569816"/>
              <a:gd name="connsiteY55" fmla="*/ 0 h 831865"/>
              <a:gd name="connsiteX56" fmla="*/ 45719 w 569816"/>
              <a:gd name="connsiteY56" fmla="*/ 22860 h 831865"/>
              <a:gd name="connsiteX57" fmla="*/ 22860 w 569816"/>
              <a:gd name="connsiteY57" fmla="*/ 45719 h 831865"/>
              <a:gd name="connsiteX58" fmla="*/ 0 w 569816"/>
              <a:gd name="connsiteY58" fmla="*/ 22860 h 831865"/>
              <a:gd name="connsiteX59" fmla="*/ 22860 w 569816"/>
              <a:gd name="connsiteY59" fmla="*/ 0 h 831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569816" h="831865">
                <a:moveTo>
                  <a:pt x="546957" y="786146"/>
                </a:moveTo>
                <a:cubicBezTo>
                  <a:pt x="559582" y="786146"/>
                  <a:pt x="569816" y="796380"/>
                  <a:pt x="569816" y="809006"/>
                </a:cubicBezTo>
                <a:cubicBezTo>
                  <a:pt x="569816" y="821631"/>
                  <a:pt x="559582" y="831865"/>
                  <a:pt x="546957" y="831865"/>
                </a:cubicBezTo>
                <a:cubicBezTo>
                  <a:pt x="534332" y="831865"/>
                  <a:pt x="524097" y="821631"/>
                  <a:pt x="524097" y="809006"/>
                </a:cubicBezTo>
                <a:cubicBezTo>
                  <a:pt x="524097" y="796380"/>
                  <a:pt x="534332" y="786146"/>
                  <a:pt x="546957" y="786146"/>
                </a:cubicBezTo>
                <a:close/>
                <a:moveTo>
                  <a:pt x="284908" y="786146"/>
                </a:moveTo>
                <a:cubicBezTo>
                  <a:pt x="297533" y="786146"/>
                  <a:pt x="307767" y="796380"/>
                  <a:pt x="307767" y="809006"/>
                </a:cubicBezTo>
                <a:cubicBezTo>
                  <a:pt x="307767" y="821631"/>
                  <a:pt x="297533" y="831865"/>
                  <a:pt x="284908" y="831865"/>
                </a:cubicBezTo>
                <a:cubicBezTo>
                  <a:pt x="272283" y="831865"/>
                  <a:pt x="262048" y="821631"/>
                  <a:pt x="262048" y="809006"/>
                </a:cubicBezTo>
                <a:cubicBezTo>
                  <a:pt x="262048" y="796380"/>
                  <a:pt x="272283" y="786146"/>
                  <a:pt x="284908" y="786146"/>
                </a:cubicBezTo>
                <a:close/>
                <a:moveTo>
                  <a:pt x="22860" y="786146"/>
                </a:moveTo>
                <a:cubicBezTo>
                  <a:pt x="35485" y="786146"/>
                  <a:pt x="45719" y="796380"/>
                  <a:pt x="45719" y="809006"/>
                </a:cubicBezTo>
                <a:cubicBezTo>
                  <a:pt x="45719" y="821631"/>
                  <a:pt x="35485" y="831865"/>
                  <a:pt x="22860" y="831865"/>
                </a:cubicBezTo>
                <a:cubicBezTo>
                  <a:pt x="10235" y="831865"/>
                  <a:pt x="0" y="821631"/>
                  <a:pt x="0" y="809006"/>
                </a:cubicBezTo>
                <a:cubicBezTo>
                  <a:pt x="0" y="796380"/>
                  <a:pt x="10235" y="786146"/>
                  <a:pt x="22860" y="786146"/>
                </a:cubicBezTo>
                <a:close/>
                <a:moveTo>
                  <a:pt x="546957" y="524097"/>
                </a:moveTo>
                <a:cubicBezTo>
                  <a:pt x="559582" y="524097"/>
                  <a:pt x="569816" y="534331"/>
                  <a:pt x="569816" y="546957"/>
                </a:cubicBezTo>
                <a:cubicBezTo>
                  <a:pt x="569816" y="559582"/>
                  <a:pt x="559582" y="569816"/>
                  <a:pt x="546957" y="569816"/>
                </a:cubicBezTo>
                <a:cubicBezTo>
                  <a:pt x="534332" y="569816"/>
                  <a:pt x="524097" y="559582"/>
                  <a:pt x="524097" y="546957"/>
                </a:cubicBezTo>
                <a:cubicBezTo>
                  <a:pt x="524097" y="534331"/>
                  <a:pt x="534332" y="524097"/>
                  <a:pt x="546957" y="524097"/>
                </a:cubicBezTo>
                <a:close/>
                <a:moveTo>
                  <a:pt x="284908" y="524097"/>
                </a:moveTo>
                <a:cubicBezTo>
                  <a:pt x="297533" y="524097"/>
                  <a:pt x="307767" y="534331"/>
                  <a:pt x="307767" y="546957"/>
                </a:cubicBezTo>
                <a:cubicBezTo>
                  <a:pt x="307767" y="559582"/>
                  <a:pt x="297533" y="569816"/>
                  <a:pt x="284908" y="569816"/>
                </a:cubicBezTo>
                <a:cubicBezTo>
                  <a:pt x="272283" y="569816"/>
                  <a:pt x="262048" y="559582"/>
                  <a:pt x="262048" y="546957"/>
                </a:cubicBezTo>
                <a:cubicBezTo>
                  <a:pt x="262048" y="534331"/>
                  <a:pt x="272283" y="524097"/>
                  <a:pt x="284908" y="524097"/>
                </a:cubicBezTo>
                <a:close/>
                <a:moveTo>
                  <a:pt x="22860" y="524097"/>
                </a:moveTo>
                <a:cubicBezTo>
                  <a:pt x="35485" y="524097"/>
                  <a:pt x="45719" y="534331"/>
                  <a:pt x="45719" y="546957"/>
                </a:cubicBezTo>
                <a:cubicBezTo>
                  <a:pt x="45719" y="559582"/>
                  <a:pt x="35485" y="569816"/>
                  <a:pt x="22860" y="569816"/>
                </a:cubicBezTo>
                <a:cubicBezTo>
                  <a:pt x="10235" y="569816"/>
                  <a:pt x="0" y="559582"/>
                  <a:pt x="0" y="546957"/>
                </a:cubicBezTo>
                <a:cubicBezTo>
                  <a:pt x="0" y="534331"/>
                  <a:pt x="10235" y="524097"/>
                  <a:pt x="22860" y="524097"/>
                </a:cubicBezTo>
                <a:close/>
                <a:moveTo>
                  <a:pt x="546957" y="262048"/>
                </a:moveTo>
                <a:cubicBezTo>
                  <a:pt x="559582" y="262048"/>
                  <a:pt x="569816" y="272282"/>
                  <a:pt x="569816" y="284908"/>
                </a:cubicBezTo>
                <a:cubicBezTo>
                  <a:pt x="569816" y="297533"/>
                  <a:pt x="559582" y="307767"/>
                  <a:pt x="546957" y="307767"/>
                </a:cubicBezTo>
                <a:cubicBezTo>
                  <a:pt x="534332" y="307767"/>
                  <a:pt x="524097" y="297533"/>
                  <a:pt x="524097" y="284908"/>
                </a:cubicBezTo>
                <a:cubicBezTo>
                  <a:pt x="524097" y="272282"/>
                  <a:pt x="534332" y="262048"/>
                  <a:pt x="546957" y="262048"/>
                </a:cubicBezTo>
                <a:close/>
                <a:moveTo>
                  <a:pt x="284908" y="262048"/>
                </a:moveTo>
                <a:cubicBezTo>
                  <a:pt x="297533" y="262048"/>
                  <a:pt x="307767" y="272282"/>
                  <a:pt x="307767" y="284908"/>
                </a:cubicBezTo>
                <a:cubicBezTo>
                  <a:pt x="307767" y="297533"/>
                  <a:pt x="297533" y="307767"/>
                  <a:pt x="284908" y="307767"/>
                </a:cubicBezTo>
                <a:cubicBezTo>
                  <a:pt x="272283" y="307767"/>
                  <a:pt x="262048" y="297533"/>
                  <a:pt x="262048" y="284908"/>
                </a:cubicBezTo>
                <a:cubicBezTo>
                  <a:pt x="262048" y="272282"/>
                  <a:pt x="272283" y="262048"/>
                  <a:pt x="284908" y="262048"/>
                </a:cubicBezTo>
                <a:close/>
                <a:moveTo>
                  <a:pt x="22860" y="262048"/>
                </a:moveTo>
                <a:cubicBezTo>
                  <a:pt x="35485" y="262048"/>
                  <a:pt x="45719" y="272282"/>
                  <a:pt x="45719" y="284908"/>
                </a:cubicBezTo>
                <a:cubicBezTo>
                  <a:pt x="45719" y="297533"/>
                  <a:pt x="35485" y="307767"/>
                  <a:pt x="22860" y="307767"/>
                </a:cubicBezTo>
                <a:cubicBezTo>
                  <a:pt x="10235" y="307767"/>
                  <a:pt x="0" y="297533"/>
                  <a:pt x="0" y="284908"/>
                </a:cubicBezTo>
                <a:cubicBezTo>
                  <a:pt x="0" y="272282"/>
                  <a:pt x="10235" y="262048"/>
                  <a:pt x="22860" y="262048"/>
                </a:cubicBezTo>
                <a:close/>
                <a:moveTo>
                  <a:pt x="546957" y="0"/>
                </a:moveTo>
                <a:cubicBezTo>
                  <a:pt x="559582" y="0"/>
                  <a:pt x="569816" y="10234"/>
                  <a:pt x="569816" y="22860"/>
                </a:cubicBezTo>
                <a:cubicBezTo>
                  <a:pt x="569816" y="35485"/>
                  <a:pt x="559582" y="45719"/>
                  <a:pt x="546957" y="45719"/>
                </a:cubicBezTo>
                <a:cubicBezTo>
                  <a:pt x="534332" y="45719"/>
                  <a:pt x="524097" y="35485"/>
                  <a:pt x="524097" y="22860"/>
                </a:cubicBezTo>
                <a:cubicBezTo>
                  <a:pt x="524097" y="10234"/>
                  <a:pt x="534332" y="0"/>
                  <a:pt x="546957" y="0"/>
                </a:cubicBezTo>
                <a:close/>
                <a:moveTo>
                  <a:pt x="284908" y="0"/>
                </a:moveTo>
                <a:cubicBezTo>
                  <a:pt x="297533" y="0"/>
                  <a:pt x="307767" y="10234"/>
                  <a:pt x="307767" y="22860"/>
                </a:cubicBezTo>
                <a:cubicBezTo>
                  <a:pt x="307767" y="35485"/>
                  <a:pt x="297533" y="45719"/>
                  <a:pt x="284908" y="45719"/>
                </a:cubicBezTo>
                <a:cubicBezTo>
                  <a:pt x="272283" y="45719"/>
                  <a:pt x="262048" y="35485"/>
                  <a:pt x="262048" y="22860"/>
                </a:cubicBezTo>
                <a:cubicBezTo>
                  <a:pt x="262048" y="10234"/>
                  <a:pt x="272283" y="0"/>
                  <a:pt x="284908" y="0"/>
                </a:cubicBezTo>
                <a:close/>
                <a:moveTo>
                  <a:pt x="22860" y="0"/>
                </a:moveTo>
                <a:cubicBezTo>
                  <a:pt x="35485" y="0"/>
                  <a:pt x="45719" y="10234"/>
                  <a:pt x="45719" y="22860"/>
                </a:cubicBezTo>
                <a:cubicBezTo>
                  <a:pt x="45719" y="35485"/>
                  <a:pt x="35485" y="45719"/>
                  <a:pt x="22860" y="45719"/>
                </a:cubicBezTo>
                <a:cubicBezTo>
                  <a:pt x="10235" y="45719"/>
                  <a:pt x="0" y="35485"/>
                  <a:pt x="0" y="22860"/>
                </a:cubicBezTo>
                <a:cubicBezTo>
                  <a:pt x="0" y="10234"/>
                  <a:pt x="10235" y="0"/>
                  <a:pt x="22860" y="0"/>
                </a:cubicBezTo>
                <a:close/>
              </a:path>
            </a:pathLst>
          </a:custGeom>
          <a:solidFill>
            <a:srgbClr val="D61B6B"/>
          </a:solidFill>
          <a:ln w="645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7" name="Freeform: Shape 34">
            <a:extLst>
              <a:ext uri="{FF2B5EF4-FFF2-40B4-BE49-F238E27FC236}">
                <a16:creationId xmlns:a16="http://schemas.microsoft.com/office/drawing/2014/main" id="{38CAEF9F-4722-0508-678C-B4E4618FF73C}"/>
              </a:ext>
            </a:extLst>
          </p:cNvPr>
          <p:cNvSpPr/>
          <p:nvPr/>
        </p:nvSpPr>
        <p:spPr>
          <a:xfrm>
            <a:off x="11339503" y="4805678"/>
            <a:ext cx="569816" cy="831865"/>
          </a:xfrm>
          <a:custGeom>
            <a:avLst/>
            <a:gdLst>
              <a:gd name="connsiteX0" fmla="*/ 546957 w 569816"/>
              <a:gd name="connsiteY0" fmla="*/ 786146 h 831865"/>
              <a:gd name="connsiteX1" fmla="*/ 569816 w 569816"/>
              <a:gd name="connsiteY1" fmla="*/ 809006 h 831865"/>
              <a:gd name="connsiteX2" fmla="*/ 546957 w 569816"/>
              <a:gd name="connsiteY2" fmla="*/ 831865 h 831865"/>
              <a:gd name="connsiteX3" fmla="*/ 524097 w 569816"/>
              <a:gd name="connsiteY3" fmla="*/ 809006 h 831865"/>
              <a:gd name="connsiteX4" fmla="*/ 546957 w 569816"/>
              <a:gd name="connsiteY4" fmla="*/ 786146 h 831865"/>
              <a:gd name="connsiteX5" fmla="*/ 284908 w 569816"/>
              <a:gd name="connsiteY5" fmla="*/ 786146 h 831865"/>
              <a:gd name="connsiteX6" fmla="*/ 307767 w 569816"/>
              <a:gd name="connsiteY6" fmla="*/ 809006 h 831865"/>
              <a:gd name="connsiteX7" fmla="*/ 284908 w 569816"/>
              <a:gd name="connsiteY7" fmla="*/ 831865 h 831865"/>
              <a:gd name="connsiteX8" fmla="*/ 262048 w 569816"/>
              <a:gd name="connsiteY8" fmla="*/ 809006 h 831865"/>
              <a:gd name="connsiteX9" fmla="*/ 284908 w 569816"/>
              <a:gd name="connsiteY9" fmla="*/ 786146 h 831865"/>
              <a:gd name="connsiteX10" fmla="*/ 22860 w 569816"/>
              <a:gd name="connsiteY10" fmla="*/ 786146 h 831865"/>
              <a:gd name="connsiteX11" fmla="*/ 45719 w 569816"/>
              <a:gd name="connsiteY11" fmla="*/ 809006 h 831865"/>
              <a:gd name="connsiteX12" fmla="*/ 22860 w 569816"/>
              <a:gd name="connsiteY12" fmla="*/ 831865 h 831865"/>
              <a:gd name="connsiteX13" fmla="*/ 0 w 569816"/>
              <a:gd name="connsiteY13" fmla="*/ 809006 h 831865"/>
              <a:gd name="connsiteX14" fmla="*/ 22860 w 569816"/>
              <a:gd name="connsiteY14" fmla="*/ 786146 h 831865"/>
              <a:gd name="connsiteX15" fmla="*/ 546957 w 569816"/>
              <a:gd name="connsiteY15" fmla="*/ 524097 h 831865"/>
              <a:gd name="connsiteX16" fmla="*/ 569816 w 569816"/>
              <a:gd name="connsiteY16" fmla="*/ 546957 h 831865"/>
              <a:gd name="connsiteX17" fmla="*/ 546957 w 569816"/>
              <a:gd name="connsiteY17" fmla="*/ 569816 h 831865"/>
              <a:gd name="connsiteX18" fmla="*/ 524097 w 569816"/>
              <a:gd name="connsiteY18" fmla="*/ 546957 h 831865"/>
              <a:gd name="connsiteX19" fmla="*/ 546957 w 569816"/>
              <a:gd name="connsiteY19" fmla="*/ 524097 h 831865"/>
              <a:gd name="connsiteX20" fmla="*/ 284908 w 569816"/>
              <a:gd name="connsiteY20" fmla="*/ 524097 h 831865"/>
              <a:gd name="connsiteX21" fmla="*/ 307767 w 569816"/>
              <a:gd name="connsiteY21" fmla="*/ 546957 h 831865"/>
              <a:gd name="connsiteX22" fmla="*/ 284908 w 569816"/>
              <a:gd name="connsiteY22" fmla="*/ 569816 h 831865"/>
              <a:gd name="connsiteX23" fmla="*/ 262048 w 569816"/>
              <a:gd name="connsiteY23" fmla="*/ 546957 h 831865"/>
              <a:gd name="connsiteX24" fmla="*/ 284908 w 569816"/>
              <a:gd name="connsiteY24" fmla="*/ 524097 h 831865"/>
              <a:gd name="connsiteX25" fmla="*/ 22860 w 569816"/>
              <a:gd name="connsiteY25" fmla="*/ 524097 h 831865"/>
              <a:gd name="connsiteX26" fmla="*/ 45719 w 569816"/>
              <a:gd name="connsiteY26" fmla="*/ 546957 h 831865"/>
              <a:gd name="connsiteX27" fmla="*/ 22860 w 569816"/>
              <a:gd name="connsiteY27" fmla="*/ 569816 h 831865"/>
              <a:gd name="connsiteX28" fmla="*/ 0 w 569816"/>
              <a:gd name="connsiteY28" fmla="*/ 546957 h 831865"/>
              <a:gd name="connsiteX29" fmla="*/ 22860 w 569816"/>
              <a:gd name="connsiteY29" fmla="*/ 524097 h 831865"/>
              <a:gd name="connsiteX30" fmla="*/ 546957 w 569816"/>
              <a:gd name="connsiteY30" fmla="*/ 262048 h 831865"/>
              <a:gd name="connsiteX31" fmla="*/ 569816 w 569816"/>
              <a:gd name="connsiteY31" fmla="*/ 284908 h 831865"/>
              <a:gd name="connsiteX32" fmla="*/ 546957 w 569816"/>
              <a:gd name="connsiteY32" fmla="*/ 307767 h 831865"/>
              <a:gd name="connsiteX33" fmla="*/ 524097 w 569816"/>
              <a:gd name="connsiteY33" fmla="*/ 284908 h 831865"/>
              <a:gd name="connsiteX34" fmla="*/ 546957 w 569816"/>
              <a:gd name="connsiteY34" fmla="*/ 262048 h 831865"/>
              <a:gd name="connsiteX35" fmla="*/ 284908 w 569816"/>
              <a:gd name="connsiteY35" fmla="*/ 262048 h 831865"/>
              <a:gd name="connsiteX36" fmla="*/ 307767 w 569816"/>
              <a:gd name="connsiteY36" fmla="*/ 284908 h 831865"/>
              <a:gd name="connsiteX37" fmla="*/ 284908 w 569816"/>
              <a:gd name="connsiteY37" fmla="*/ 307767 h 831865"/>
              <a:gd name="connsiteX38" fmla="*/ 262048 w 569816"/>
              <a:gd name="connsiteY38" fmla="*/ 284908 h 831865"/>
              <a:gd name="connsiteX39" fmla="*/ 284908 w 569816"/>
              <a:gd name="connsiteY39" fmla="*/ 262048 h 831865"/>
              <a:gd name="connsiteX40" fmla="*/ 22860 w 569816"/>
              <a:gd name="connsiteY40" fmla="*/ 262048 h 831865"/>
              <a:gd name="connsiteX41" fmla="*/ 45719 w 569816"/>
              <a:gd name="connsiteY41" fmla="*/ 284908 h 831865"/>
              <a:gd name="connsiteX42" fmla="*/ 22860 w 569816"/>
              <a:gd name="connsiteY42" fmla="*/ 307767 h 831865"/>
              <a:gd name="connsiteX43" fmla="*/ 0 w 569816"/>
              <a:gd name="connsiteY43" fmla="*/ 284908 h 831865"/>
              <a:gd name="connsiteX44" fmla="*/ 22860 w 569816"/>
              <a:gd name="connsiteY44" fmla="*/ 262048 h 831865"/>
              <a:gd name="connsiteX45" fmla="*/ 546957 w 569816"/>
              <a:gd name="connsiteY45" fmla="*/ 0 h 831865"/>
              <a:gd name="connsiteX46" fmla="*/ 569816 w 569816"/>
              <a:gd name="connsiteY46" fmla="*/ 22860 h 831865"/>
              <a:gd name="connsiteX47" fmla="*/ 546957 w 569816"/>
              <a:gd name="connsiteY47" fmla="*/ 45719 h 831865"/>
              <a:gd name="connsiteX48" fmla="*/ 524097 w 569816"/>
              <a:gd name="connsiteY48" fmla="*/ 22860 h 831865"/>
              <a:gd name="connsiteX49" fmla="*/ 546957 w 569816"/>
              <a:gd name="connsiteY49" fmla="*/ 0 h 831865"/>
              <a:gd name="connsiteX50" fmla="*/ 284908 w 569816"/>
              <a:gd name="connsiteY50" fmla="*/ 0 h 831865"/>
              <a:gd name="connsiteX51" fmla="*/ 307767 w 569816"/>
              <a:gd name="connsiteY51" fmla="*/ 22860 h 831865"/>
              <a:gd name="connsiteX52" fmla="*/ 284908 w 569816"/>
              <a:gd name="connsiteY52" fmla="*/ 45719 h 831865"/>
              <a:gd name="connsiteX53" fmla="*/ 262048 w 569816"/>
              <a:gd name="connsiteY53" fmla="*/ 22860 h 831865"/>
              <a:gd name="connsiteX54" fmla="*/ 284908 w 569816"/>
              <a:gd name="connsiteY54" fmla="*/ 0 h 831865"/>
              <a:gd name="connsiteX55" fmla="*/ 22860 w 569816"/>
              <a:gd name="connsiteY55" fmla="*/ 0 h 831865"/>
              <a:gd name="connsiteX56" fmla="*/ 45719 w 569816"/>
              <a:gd name="connsiteY56" fmla="*/ 22860 h 831865"/>
              <a:gd name="connsiteX57" fmla="*/ 22860 w 569816"/>
              <a:gd name="connsiteY57" fmla="*/ 45719 h 831865"/>
              <a:gd name="connsiteX58" fmla="*/ 0 w 569816"/>
              <a:gd name="connsiteY58" fmla="*/ 22860 h 831865"/>
              <a:gd name="connsiteX59" fmla="*/ 22860 w 569816"/>
              <a:gd name="connsiteY59" fmla="*/ 0 h 831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569816" h="831865">
                <a:moveTo>
                  <a:pt x="546957" y="786146"/>
                </a:moveTo>
                <a:cubicBezTo>
                  <a:pt x="559582" y="786146"/>
                  <a:pt x="569816" y="796380"/>
                  <a:pt x="569816" y="809006"/>
                </a:cubicBezTo>
                <a:cubicBezTo>
                  <a:pt x="569816" y="821631"/>
                  <a:pt x="559582" y="831865"/>
                  <a:pt x="546957" y="831865"/>
                </a:cubicBezTo>
                <a:cubicBezTo>
                  <a:pt x="534332" y="831865"/>
                  <a:pt x="524097" y="821631"/>
                  <a:pt x="524097" y="809006"/>
                </a:cubicBezTo>
                <a:cubicBezTo>
                  <a:pt x="524097" y="796380"/>
                  <a:pt x="534332" y="786146"/>
                  <a:pt x="546957" y="786146"/>
                </a:cubicBezTo>
                <a:close/>
                <a:moveTo>
                  <a:pt x="284908" y="786146"/>
                </a:moveTo>
                <a:cubicBezTo>
                  <a:pt x="297533" y="786146"/>
                  <a:pt x="307767" y="796380"/>
                  <a:pt x="307767" y="809006"/>
                </a:cubicBezTo>
                <a:cubicBezTo>
                  <a:pt x="307767" y="821631"/>
                  <a:pt x="297533" y="831865"/>
                  <a:pt x="284908" y="831865"/>
                </a:cubicBezTo>
                <a:cubicBezTo>
                  <a:pt x="272283" y="831865"/>
                  <a:pt x="262048" y="821631"/>
                  <a:pt x="262048" y="809006"/>
                </a:cubicBezTo>
                <a:cubicBezTo>
                  <a:pt x="262048" y="796380"/>
                  <a:pt x="272283" y="786146"/>
                  <a:pt x="284908" y="786146"/>
                </a:cubicBezTo>
                <a:close/>
                <a:moveTo>
                  <a:pt x="22860" y="786146"/>
                </a:moveTo>
                <a:cubicBezTo>
                  <a:pt x="35485" y="786146"/>
                  <a:pt x="45719" y="796380"/>
                  <a:pt x="45719" y="809006"/>
                </a:cubicBezTo>
                <a:cubicBezTo>
                  <a:pt x="45719" y="821631"/>
                  <a:pt x="35485" y="831865"/>
                  <a:pt x="22860" y="831865"/>
                </a:cubicBezTo>
                <a:cubicBezTo>
                  <a:pt x="10235" y="831865"/>
                  <a:pt x="0" y="821631"/>
                  <a:pt x="0" y="809006"/>
                </a:cubicBezTo>
                <a:cubicBezTo>
                  <a:pt x="0" y="796380"/>
                  <a:pt x="10235" y="786146"/>
                  <a:pt x="22860" y="786146"/>
                </a:cubicBezTo>
                <a:close/>
                <a:moveTo>
                  <a:pt x="546957" y="524097"/>
                </a:moveTo>
                <a:cubicBezTo>
                  <a:pt x="559582" y="524097"/>
                  <a:pt x="569816" y="534331"/>
                  <a:pt x="569816" y="546957"/>
                </a:cubicBezTo>
                <a:cubicBezTo>
                  <a:pt x="569816" y="559582"/>
                  <a:pt x="559582" y="569816"/>
                  <a:pt x="546957" y="569816"/>
                </a:cubicBezTo>
                <a:cubicBezTo>
                  <a:pt x="534332" y="569816"/>
                  <a:pt x="524097" y="559582"/>
                  <a:pt x="524097" y="546957"/>
                </a:cubicBezTo>
                <a:cubicBezTo>
                  <a:pt x="524097" y="534331"/>
                  <a:pt x="534332" y="524097"/>
                  <a:pt x="546957" y="524097"/>
                </a:cubicBezTo>
                <a:close/>
                <a:moveTo>
                  <a:pt x="284908" y="524097"/>
                </a:moveTo>
                <a:cubicBezTo>
                  <a:pt x="297533" y="524097"/>
                  <a:pt x="307767" y="534331"/>
                  <a:pt x="307767" y="546957"/>
                </a:cubicBezTo>
                <a:cubicBezTo>
                  <a:pt x="307767" y="559582"/>
                  <a:pt x="297533" y="569816"/>
                  <a:pt x="284908" y="569816"/>
                </a:cubicBezTo>
                <a:cubicBezTo>
                  <a:pt x="272283" y="569816"/>
                  <a:pt x="262048" y="559582"/>
                  <a:pt x="262048" y="546957"/>
                </a:cubicBezTo>
                <a:cubicBezTo>
                  <a:pt x="262048" y="534331"/>
                  <a:pt x="272283" y="524097"/>
                  <a:pt x="284908" y="524097"/>
                </a:cubicBezTo>
                <a:close/>
                <a:moveTo>
                  <a:pt x="22860" y="524097"/>
                </a:moveTo>
                <a:cubicBezTo>
                  <a:pt x="35485" y="524097"/>
                  <a:pt x="45719" y="534331"/>
                  <a:pt x="45719" y="546957"/>
                </a:cubicBezTo>
                <a:cubicBezTo>
                  <a:pt x="45719" y="559582"/>
                  <a:pt x="35485" y="569816"/>
                  <a:pt x="22860" y="569816"/>
                </a:cubicBezTo>
                <a:cubicBezTo>
                  <a:pt x="10235" y="569816"/>
                  <a:pt x="0" y="559582"/>
                  <a:pt x="0" y="546957"/>
                </a:cubicBezTo>
                <a:cubicBezTo>
                  <a:pt x="0" y="534331"/>
                  <a:pt x="10235" y="524097"/>
                  <a:pt x="22860" y="524097"/>
                </a:cubicBezTo>
                <a:close/>
                <a:moveTo>
                  <a:pt x="546957" y="262048"/>
                </a:moveTo>
                <a:cubicBezTo>
                  <a:pt x="559582" y="262048"/>
                  <a:pt x="569816" y="272282"/>
                  <a:pt x="569816" y="284908"/>
                </a:cubicBezTo>
                <a:cubicBezTo>
                  <a:pt x="569816" y="297533"/>
                  <a:pt x="559582" y="307767"/>
                  <a:pt x="546957" y="307767"/>
                </a:cubicBezTo>
                <a:cubicBezTo>
                  <a:pt x="534332" y="307767"/>
                  <a:pt x="524097" y="297533"/>
                  <a:pt x="524097" y="284908"/>
                </a:cubicBezTo>
                <a:cubicBezTo>
                  <a:pt x="524097" y="272282"/>
                  <a:pt x="534332" y="262048"/>
                  <a:pt x="546957" y="262048"/>
                </a:cubicBezTo>
                <a:close/>
                <a:moveTo>
                  <a:pt x="284908" y="262048"/>
                </a:moveTo>
                <a:cubicBezTo>
                  <a:pt x="297533" y="262048"/>
                  <a:pt x="307767" y="272282"/>
                  <a:pt x="307767" y="284908"/>
                </a:cubicBezTo>
                <a:cubicBezTo>
                  <a:pt x="307767" y="297533"/>
                  <a:pt x="297533" y="307767"/>
                  <a:pt x="284908" y="307767"/>
                </a:cubicBezTo>
                <a:cubicBezTo>
                  <a:pt x="272283" y="307767"/>
                  <a:pt x="262048" y="297533"/>
                  <a:pt x="262048" y="284908"/>
                </a:cubicBezTo>
                <a:cubicBezTo>
                  <a:pt x="262048" y="272282"/>
                  <a:pt x="272283" y="262048"/>
                  <a:pt x="284908" y="262048"/>
                </a:cubicBezTo>
                <a:close/>
                <a:moveTo>
                  <a:pt x="22860" y="262048"/>
                </a:moveTo>
                <a:cubicBezTo>
                  <a:pt x="35485" y="262048"/>
                  <a:pt x="45719" y="272282"/>
                  <a:pt x="45719" y="284908"/>
                </a:cubicBezTo>
                <a:cubicBezTo>
                  <a:pt x="45719" y="297533"/>
                  <a:pt x="35485" y="307767"/>
                  <a:pt x="22860" y="307767"/>
                </a:cubicBezTo>
                <a:cubicBezTo>
                  <a:pt x="10235" y="307767"/>
                  <a:pt x="0" y="297533"/>
                  <a:pt x="0" y="284908"/>
                </a:cubicBezTo>
                <a:cubicBezTo>
                  <a:pt x="0" y="272282"/>
                  <a:pt x="10235" y="262048"/>
                  <a:pt x="22860" y="262048"/>
                </a:cubicBezTo>
                <a:close/>
                <a:moveTo>
                  <a:pt x="546957" y="0"/>
                </a:moveTo>
                <a:cubicBezTo>
                  <a:pt x="559582" y="0"/>
                  <a:pt x="569816" y="10234"/>
                  <a:pt x="569816" y="22860"/>
                </a:cubicBezTo>
                <a:cubicBezTo>
                  <a:pt x="569816" y="35485"/>
                  <a:pt x="559582" y="45719"/>
                  <a:pt x="546957" y="45719"/>
                </a:cubicBezTo>
                <a:cubicBezTo>
                  <a:pt x="534332" y="45719"/>
                  <a:pt x="524097" y="35485"/>
                  <a:pt x="524097" y="22860"/>
                </a:cubicBezTo>
                <a:cubicBezTo>
                  <a:pt x="524097" y="10234"/>
                  <a:pt x="534332" y="0"/>
                  <a:pt x="546957" y="0"/>
                </a:cubicBezTo>
                <a:close/>
                <a:moveTo>
                  <a:pt x="284908" y="0"/>
                </a:moveTo>
                <a:cubicBezTo>
                  <a:pt x="297533" y="0"/>
                  <a:pt x="307767" y="10234"/>
                  <a:pt x="307767" y="22860"/>
                </a:cubicBezTo>
                <a:cubicBezTo>
                  <a:pt x="307767" y="35485"/>
                  <a:pt x="297533" y="45719"/>
                  <a:pt x="284908" y="45719"/>
                </a:cubicBezTo>
                <a:cubicBezTo>
                  <a:pt x="272283" y="45719"/>
                  <a:pt x="262048" y="35485"/>
                  <a:pt x="262048" y="22860"/>
                </a:cubicBezTo>
                <a:cubicBezTo>
                  <a:pt x="262048" y="10234"/>
                  <a:pt x="272283" y="0"/>
                  <a:pt x="284908" y="0"/>
                </a:cubicBezTo>
                <a:close/>
                <a:moveTo>
                  <a:pt x="22860" y="0"/>
                </a:moveTo>
                <a:cubicBezTo>
                  <a:pt x="35485" y="0"/>
                  <a:pt x="45719" y="10234"/>
                  <a:pt x="45719" y="22860"/>
                </a:cubicBezTo>
                <a:cubicBezTo>
                  <a:pt x="45719" y="35485"/>
                  <a:pt x="35485" y="45719"/>
                  <a:pt x="22860" y="45719"/>
                </a:cubicBezTo>
                <a:cubicBezTo>
                  <a:pt x="10235" y="45719"/>
                  <a:pt x="0" y="35485"/>
                  <a:pt x="0" y="22860"/>
                </a:cubicBezTo>
                <a:cubicBezTo>
                  <a:pt x="0" y="10234"/>
                  <a:pt x="10235" y="0"/>
                  <a:pt x="22860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645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0FCA550-1208-7783-EB9B-2A3BA03CD84A}"/>
              </a:ext>
            </a:extLst>
          </p:cNvPr>
          <p:cNvGrpSpPr/>
          <p:nvPr/>
        </p:nvGrpSpPr>
        <p:grpSpPr>
          <a:xfrm>
            <a:off x="5106070" y="2147598"/>
            <a:ext cx="484632" cy="495652"/>
            <a:chOff x="4758626" y="2076528"/>
            <a:chExt cx="484632" cy="495652"/>
          </a:xfrm>
        </p:grpSpPr>
        <p:sp>
          <p:nvSpPr>
            <p:cNvPr id="54" name="Oval 28">
              <a:extLst>
                <a:ext uri="{FF2B5EF4-FFF2-40B4-BE49-F238E27FC236}">
                  <a16:creationId xmlns:a16="http://schemas.microsoft.com/office/drawing/2014/main" id="{1CF4AB37-CE26-F215-64E3-EF1AD1A465D4}"/>
                </a:ext>
              </a:extLst>
            </p:cNvPr>
            <p:cNvSpPr/>
            <p:nvPr/>
          </p:nvSpPr>
          <p:spPr>
            <a:xfrm>
              <a:off x="4758626" y="2076528"/>
              <a:ext cx="484632" cy="495652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pic>
          <p:nvPicPr>
            <p:cNvPr id="35" name="Grafika 34">
              <a:extLst>
                <a:ext uri="{FF2B5EF4-FFF2-40B4-BE49-F238E27FC236}">
                  <a16:creationId xmlns:a16="http://schemas.microsoft.com/office/drawing/2014/main" id="{77374A99-B205-1B65-8EB9-24E78175748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899278" y="2222690"/>
              <a:ext cx="203328" cy="203328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1FC17A1-4F54-456E-09AB-1A5E583B2E96}"/>
              </a:ext>
            </a:extLst>
          </p:cNvPr>
          <p:cNvGrpSpPr/>
          <p:nvPr/>
        </p:nvGrpSpPr>
        <p:grpSpPr>
          <a:xfrm>
            <a:off x="9686576" y="2147598"/>
            <a:ext cx="484632" cy="495652"/>
            <a:chOff x="9333287" y="2120342"/>
            <a:chExt cx="484632" cy="495652"/>
          </a:xfrm>
        </p:grpSpPr>
        <p:sp>
          <p:nvSpPr>
            <p:cNvPr id="26" name="Oval 37">
              <a:extLst>
                <a:ext uri="{FF2B5EF4-FFF2-40B4-BE49-F238E27FC236}">
                  <a16:creationId xmlns:a16="http://schemas.microsoft.com/office/drawing/2014/main" id="{8CCB4857-E985-445C-335D-DB0AED3411FE}"/>
                </a:ext>
              </a:extLst>
            </p:cNvPr>
            <p:cNvSpPr/>
            <p:nvPr/>
          </p:nvSpPr>
          <p:spPr>
            <a:xfrm>
              <a:off x="9333287" y="2120342"/>
              <a:ext cx="484632" cy="495652"/>
            </a:xfrm>
            <a:prstGeom prst="ellipse">
              <a:avLst/>
            </a:prstGeom>
            <a:solidFill>
              <a:srgbClr val="DAE0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pic>
          <p:nvPicPr>
            <p:cNvPr id="39" name="Grafika 38">
              <a:extLst>
                <a:ext uri="{FF2B5EF4-FFF2-40B4-BE49-F238E27FC236}">
                  <a16:creationId xmlns:a16="http://schemas.microsoft.com/office/drawing/2014/main" id="{E48F6C3E-D827-3B51-28E3-C9ADFF0F4AC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450630" y="2260534"/>
              <a:ext cx="266700" cy="266700"/>
            </a:xfrm>
            <a:prstGeom prst="rect">
              <a:avLst/>
            </a:prstGeom>
          </p:spPr>
        </p:pic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8E55C68-94BE-BB59-92AC-8AA96ECA7100}"/>
              </a:ext>
            </a:extLst>
          </p:cNvPr>
          <p:cNvGrpSpPr/>
          <p:nvPr/>
        </p:nvGrpSpPr>
        <p:grpSpPr>
          <a:xfrm>
            <a:off x="5108133" y="4460424"/>
            <a:ext cx="484632" cy="495652"/>
            <a:chOff x="4758626" y="4460424"/>
            <a:chExt cx="484632" cy="495652"/>
          </a:xfrm>
        </p:grpSpPr>
        <p:sp>
          <p:nvSpPr>
            <p:cNvPr id="69" name="Oval 37">
              <a:extLst>
                <a:ext uri="{FF2B5EF4-FFF2-40B4-BE49-F238E27FC236}">
                  <a16:creationId xmlns:a16="http://schemas.microsoft.com/office/drawing/2014/main" id="{99DA4666-7053-8592-5B36-D1A9015A7B37}"/>
                </a:ext>
              </a:extLst>
            </p:cNvPr>
            <p:cNvSpPr/>
            <p:nvPr/>
          </p:nvSpPr>
          <p:spPr>
            <a:xfrm>
              <a:off x="4758626" y="4460424"/>
              <a:ext cx="484632" cy="495652"/>
            </a:xfrm>
            <a:prstGeom prst="ellipse">
              <a:avLst/>
            </a:prstGeom>
            <a:solidFill>
              <a:srgbClr val="4454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pic>
          <p:nvPicPr>
            <p:cNvPr id="41" name="Grafika 40">
              <a:extLst>
                <a:ext uri="{FF2B5EF4-FFF2-40B4-BE49-F238E27FC236}">
                  <a16:creationId xmlns:a16="http://schemas.microsoft.com/office/drawing/2014/main" id="{3AB76B35-13EC-65EA-4CB5-5FC7DFAAF17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882818" y="4590126"/>
              <a:ext cx="236248" cy="236248"/>
            </a:xfrm>
            <a:prstGeom prst="rect">
              <a:avLst/>
            </a:prstGeom>
          </p:spPr>
        </p:pic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728BAF1-0289-6DBA-C610-11FC81C3C54A}"/>
              </a:ext>
            </a:extLst>
          </p:cNvPr>
          <p:cNvGrpSpPr/>
          <p:nvPr/>
        </p:nvGrpSpPr>
        <p:grpSpPr>
          <a:xfrm>
            <a:off x="9682794" y="4460424"/>
            <a:ext cx="484632" cy="495652"/>
            <a:chOff x="9333287" y="4460424"/>
            <a:chExt cx="484632" cy="495652"/>
          </a:xfrm>
        </p:grpSpPr>
        <p:sp>
          <p:nvSpPr>
            <p:cNvPr id="103" name="Oval 37">
              <a:extLst>
                <a:ext uri="{FF2B5EF4-FFF2-40B4-BE49-F238E27FC236}">
                  <a16:creationId xmlns:a16="http://schemas.microsoft.com/office/drawing/2014/main" id="{44EB13B8-C285-0F1F-79A9-BE5943EBA0AD}"/>
                </a:ext>
              </a:extLst>
            </p:cNvPr>
            <p:cNvSpPr/>
            <p:nvPr/>
          </p:nvSpPr>
          <p:spPr>
            <a:xfrm>
              <a:off x="9333287" y="4460424"/>
              <a:ext cx="484632" cy="495652"/>
            </a:xfrm>
            <a:prstGeom prst="ellipse">
              <a:avLst/>
            </a:prstGeom>
            <a:solidFill>
              <a:srgbClr val="DAE0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pic>
          <p:nvPicPr>
            <p:cNvPr id="46" name="Grafika 45">
              <a:extLst>
                <a:ext uri="{FF2B5EF4-FFF2-40B4-BE49-F238E27FC236}">
                  <a16:creationId xmlns:a16="http://schemas.microsoft.com/office/drawing/2014/main" id="{AD99EB41-B168-9742-6B5A-F53D627F8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442868" y="4575515"/>
              <a:ext cx="265471" cy="265471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A81D437-78ED-FCF2-9FDF-204E05681439}"/>
              </a:ext>
            </a:extLst>
          </p:cNvPr>
          <p:cNvGrpSpPr/>
          <p:nvPr/>
        </p:nvGrpSpPr>
        <p:grpSpPr>
          <a:xfrm>
            <a:off x="7391670" y="4460424"/>
            <a:ext cx="484632" cy="495652"/>
            <a:chOff x="7042163" y="4460424"/>
            <a:chExt cx="484632" cy="495652"/>
          </a:xfrm>
        </p:grpSpPr>
        <p:sp>
          <p:nvSpPr>
            <p:cNvPr id="88" name="Oval 37">
              <a:extLst>
                <a:ext uri="{FF2B5EF4-FFF2-40B4-BE49-F238E27FC236}">
                  <a16:creationId xmlns:a16="http://schemas.microsoft.com/office/drawing/2014/main" id="{7B61B031-B4BB-912A-B385-1412349ECF90}"/>
                </a:ext>
              </a:extLst>
            </p:cNvPr>
            <p:cNvSpPr/>
            <p:nvPr/>
          </p:nvSpPr>
          <p:spPr>
            <a:xfrm>
              <a:off x="7042163" y="4460424"/>
              <a:ext cx="484632" cy="495652"/>
            </a:xfrm>
            <a:prstGeom prst="ellipse">
              <a:avLst/>
            </a:prstGeom>
            <a:solidFill>
              <a:srgbClr val="D61B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pic>
          <p:nvPicPr>
            <p:cNvPr id="52" name="Grafika 51">
              <a:extLst>
                <a:ext uri="{FF2B5EF4-FFF2-40B4-BE49-F238E27FC236}">
                  <a16:creationId xmlns:a16="http://schemas.microsoft.com/office/drawing/2014/main" id="{10B1C410-4215-0975-AEDC-609921EF01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158479" y="4582250"/>
              <a:ext cx="252000" cy="252000"/>
            </a:xfrm>
            <a:prstGeom prst="rect">
              <a:avLst/>
            </a:prstGeom>
          </p:spPr>
        </p:pic>
      </p:grpSp>
      <p:sp>
        <p:nvSpPr>
          <p:cNvPr id="25" name="TextBox 22">
            <a:extLst>
              <a:ext uri="{FF2B5EF4-FFF2-40B4-BE49-F238E27FC236}">
                <a16:creationId xmlns:a16="http://schemas.microsoft.com/office/drawing/2014/main" id="{EE06676D-330E-1B20-BF75-F1AE1093EB2B}"/>
              </a:ext>
            </a:extLst>
          </p:cNvPr>
          <p:cNvSpPr txBox="1"/>
          <p:nvPr/>
        </p:nvSpPr>
        <p:spPr>
          <a:xfrm>
            <a:off x="4352992" y="2915715"/>
            <a:ext cx="199078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Raporty indywidualne </a:t>
            </a:r>
            <a:b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</a:br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i zespołowe</a:t>
            </a:r>
          </a:p>
        </p:txBody>
      </p:sp>
      <p:sp>
        <p:nvSpPr>
          <p:cNvPr id="27" name="TextBox 22">
            <a:extLst>
              <a:ext uri="{FF2B5EF4-FFF2-40B4-BE49-F238E27FC236}">
                <a16:creationId xmlns:a16="http://schemas.microsoft.com/office/drawing/2014/main" id="{C87C508F-7684-F1DB-9A6C-D69A4F500FFB}"/>
              </a:ext>
            </a:extLst>
          </p:cNvPr>
          <p:cNvSpPr txBox="1"/>
          <p:nvPr/>
        </p:nvSpPr>
        <p:spPr>
          <a:xfrm>
            <a:off x="6661422" y="2915715"/>
            <a:ext cx="1990789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Krótki czas wypełnienia kwestionariusza –10 minut</a:t>
            </a:r>
            <a:endParaRPr lang="en-US" sz="1600">
              <a:solidFill>
                <a:schemeClr val="tx1">
                  <a:lumMod val="85000"/>
                  <a:lumOff val="15000"/>
                </a:schemeClr>
              </a:solidFill>
              <a:ea typeface="Roboto Black" panose="02000000000000000000" pitchFamily="2" charset="0"/>
              <a:cs typeface="Poppins Medium" panose="00000600000000000000" pitchFamily="2" charset="0"/>
            </a:endParaRPr>
          </a:p>
        </p:txBody>
      </p:sp>
      <p:sp>
        <p:nvSpPr>
          <p:cNvPr id="29" name="TextBox 22">
            <a:extLst>
              <a:ext uri="{FF2B5EF4-FFF2-40B4-BE49-F238E27FC236}">
                <a16:creationId xmlns:a16="http://schemas.microsoft.com/office/drawing/2014/main" id="{DA4FB0E2-9EE2-8D63-2783-B6635C6D97EC}"/>
              </a:ext>
            </a:extLst>
          </p:cNvPr>
          <p:cNvSpPr txBox="1"/>
          <p:nvPr/>
        </p:nvSpPr>
        <p:spPr>
          <a:xfrm>
            <a:off x="8933498" y="5194640"/>
            <a:ext cx="199078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Możliwość projektowania własnych raportów</a:t>
            </a:r>
          </a:p>
        </p:txBody>
      </p:sp>
      <p:sp>
        <p:nvSpPr>
          <p:cNvPr id="30" name="TextBox 20">
            <a:extLst>
              <a:ext uri="{FF2B5EF4-FFF2-40B4-BE49-F238E27FC236}">
                <a16:creationId xmlns:a16="http://schemas.microsoft.com/office/drawing/2014/main" id="{776436BE-EE98-9F34-4FD2-820B800EEC32}"/>
              </a:ext>
            </a:extLst>
          </p:cNvPr>
          <p:cNvSpPr txBox="1"/>
          <p:nvPr/>
        </p:nvSpPr>
        <p:spPr>
          <a:xfrm>
            <a:off x="2059304" y="2915715"/>
            <a:ext cx="205367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Ponad 1 tys. kryteriów behawioralnych do personalizacji raportów</a:t>
            </a:r>
          </a:p>
        </p:txBody>
      </p:sp>
      <p:sp>
        <p:nvSpPr>
          <p:cNvPr id="31" name="TextBox 22">
            <a:extLst>
              <a:ext uri="{FF2B5EF4-FFF2-40B4-BE49-F238E27FC236}">
                <a16:creationId xmlns:a16="http://schemas.microsoft.com/office/drawing/2014/main" id="{CA07C956-B911-DA5B-04D4-BBC6D27768A1}"/>
              </a:ext>
            </a:extLst>
          </p:cNvPr>
          <p:cNvSpPr txBox="1"/>
          <p:nvPr/>
        </p:nvSpPr>
        <p:spPr>
          <a:xfrm>
            <a:off x="8933498" y="2915715"/>
            <a:ext cx="1990789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Wszystkie raporty  </a:t>
            </a:r>
            <a:b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</a:br>
            <a:r>
              <a:rPr lang="pl-PL" sz="1400">
                <a:solidFill>
                  <a:schemeClr val="tx1">
                    <a:lumMod val="85000"/>
                    <a:lumOff val="15000"/>
                  </a:schemeClr>
                </a:solidFill>
                <a:ea typeface="Roboto Black" panose="02000000000000000000" pitchFamily="2" charset="0"/>
                <a:cs typeface="Poppins Medium" panose="00000600000000000000" pitchFamily="2" charset="0"/>
              </a:rPr>
              <a:t>w cenie analizy, bez dodatkowych kosztów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116F63E-C134-1E62-BC2F-C948702A8FCF}"/>
              </a:ext>
            </a:extLst>
          </p:cNvPr>
          <p:cNvGrpSpPr/>
          <p:nvPr/>
        </p:nvGrpSpPr>
        <p:grpSpPr>
          <a:xfrm>
            <a:off x="7414500" y="2147598"/>
            <a:ext cx="484632" cy="495652"/>
            <a:chOff x="7040717" y="2076528"/>
            <a:chExt cx="484632" cy="495652"/>
          </a:xfrm>
        </p:grpSpPr>
        <p:sp>
          <p:nvSpPr>
            <p:cNvPr id="38" name="Oval 28">
              <a:extLst>
                <a:ext uri="{FF2B5EF4-FFF2-40B4-BE49-F238E27FC236}">
                  <a16:creationId xmlns:a16="http://schemas.microsoft.com/office/drawing/2014/main" id="{42BC63E2-196F-B8E0-D17B-660AEE7FCCCB}"/>
                </a:ext>
              </a:extLst>
            </p:cNvPr>
            <p:cNvSpPr/>
            <p:nvPr/>
          </p:nvSpPr>
          <p:spPr>
            <a:xfrm>
              <a:off x="7040717" y="2076528"/>
              <a:ext cx="484632" cy="495652"/>
            </a:xfrm>
            <a:prstGeom prst="ellipse">
              <a:avLst/>
            </a:prstGeom>
            <a:solidFill>
              <a:srgbClr val="D61B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pic>
          <p:nvPicPr>
            <p:cNvPr id="47" name="Grafika 46">
              <a:extLst>
                <a:ext uri="{FF2B5EF4-FFF2-40B4-BE49-F238E27FC236}">
                  <a16:creationId xmlns:a16="http://schemas.microsoft.com/office/drawing/2014/main" id="{D374141B-5B27-F235-A524-A7D3C5B62F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174541" y="2215862"/>
              <a:ext cx="216984" cy="2169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3188925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: Rounded Corners 28">
            <a:extLst>
              <a:ext uri="{FF2B5EF4-FFF2-40B4-BE49-F238E27FC236}">
                <a16:creationId xmlns:a16="http://schemas.microsoft.com/office/drawing/2014/main" id="{789DE015-40E1-CCD9-0E54-CF744BE04B38}"/>
              </a:ext>
            </a:extLst>
          </p:cNvPr>
          <p:cNvSpPr/>
          <p:nvPr/>
        </p:nvSpPr>
        <p:spPr>
          <a:xfrm>
            <a:off x="8008522" y="5087563"/>
            <a:ext cx="2758634" cy="548640"/>
          </a:xfrm>
          <a:prstGeom prst="roundRect">
            <a:avLst>
              <a:gd name="adj" fmla="val 20834"/>
            </a:avLst>
          </a:prstGeom>
          <a:solidFill>
            <a:schemeClr val="bg1">
              <a:alpha val="60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Rectangle: Rounded Corners 26">
            <a:extLst>
              <a:ext uri="{FF2B5EF4-FFF2-40B4-BE49-F238E27FC236}">
                <a16:creationId xmlns:a16="http://schemas.microsoft.com/office/drawing/2014/main" id="{2C5A8345-B12E-21FB-6215-76E424A1B4F2}"/>
              </a:ext>
            </a:extLst>
          </p:cNvPr>
          <p:cNvSpPr/>
          <p:nvPr/>
        </p:nvSpPr>
        <p:spPr>
          <a:xfrm>
            <a:off x="1246319" y="2827635"/>
            <a:ext cx="5487071" cy="1719105"/>
          </a:xfrm>
          <a:prstGeom prst="roundRect">
            <a:avLst>
              <a:gd name="adj" fmla="val 3466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" name="Prostokąt: zaokrąglone rogi u góry 1">
            <a:extLst>
              <a:ext uri="{FF2B5EF4-FFF2-40B4-BE49-F238E27FC236}">
                <a16:creationId xmlns:a16="http://schemas.microsoft.com/office/drawing/2014/main" id="{2CF0601E-996B-0F6E-0FC4-45AFD22262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5400000">
            <a:off x="-3102429" y="3102428"/>
            <a:ext cx="6858000" cy="653143"/>
          </a:xfrm>
          <a:prstGeom prst="round2SameRect">
            <a:avLst>
              <a:gd name="adj1" fmla="val 16559"/>
              <a:gd name="adj2" fmla="val 0"/>
            </a:avLst>
          </a:prstGeom>
          <a:solidFill>
            <a:srgbClr val="FFFFFF"/>
          </a:solidFill>
          <a:ln>
            <a:noFill/>
          </a:ln>
          <a:effectLst>
            <a:outerShdw blurRad="952500" dist="215900" algn="l" rotWithShape="0">
              <a:schemeClr val="accent1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27FD0282-AAA7-99D3-A8F3-4D13F509918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70771" y="6086174"/>
            <a:ext cx="994685" cy="306414"/>
          </a:xfrm>
          <a:prstGeom prst="rect">
            <a:avLst/>
          </a:prstGeom>
        </p:spPr>
      </p:pic>
      <p:pic>
        <p:nvPicPr>
          <p:cNvPr id="24" name="Obraz 4">
            <a:hlinkClick r:id="rId3" action="ppaction://hlinksldjump"/>
            <a:extLst>
              <a:ext uri="{FF2B5EF4-FFF2-40B4-BE49-F238E27FC236}">
                <a16:creationId xmlns:a16="http://schemas.microsoft.com/office/drawing/2014/main" id="{B4F576B0-5A53-247E-B85C-44BEACCA31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71" y="230592"/>
            <a:ext cx="548771" cy="305640"/>
          </a:xfrm>
          <a:prstGeom prst="rect">
            <a:avLst/>
          </a:prstGeom>
        </p:spPr>
      </p:pic>
      <p:pic>
        <p:nvPicPr>
          <p:cNvPr id="42" name="Obraz 41" descr="Obraz zawierający wykres&#10;&#10;Opis wygenerowany automatycznie">
            <a:extLst>
              <a:ext uri="{FF2B5EF4-FFF2-40B4-BE49-F238E27FC236}">
                <a16:creationId xmlns:a16="http://schemas.microsoft.com/office/drawing/2014/main" id="{FB96DBF8-D191-840E-A0CD-45D14D4B3B0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7191" t="44735" r="27406" b="25993"/>
          <a:stretch/>
        </p:blipFill>
        <p:spPr>
          <a:xfrm>
            <a:off x="7591936" y="1962881"/>
            <a:ext cx="3688693" cy="3363965"/>
          </a:xfrm>
          <a:prstGeom prst="rect">
            <a:avLst/>
          </a:prstGeom>
          <a:ln w="3175">
            <a:noFill/>
          </a:ln>
          <a:effectLst>
            <a:outerShdw blurRad="330200" dist="38100" dir="2700000" sx="99000" sy="99000" algn="tl" rotWithShape="0">
              <a:schemeClr val="accent1">
                <a:lumMod val="50000"/>
                <a:alpha val="30000"/>
              </a:schemeClr>
            </a:outerShdw>
          </a:effectLst>
        </p:spPr>
      </p:pic>
      <p:sp>
        <p:nvSpPr>
          <p:cNvPr id="55" name="Google Shape;695;p5">
            <a:extLst>
              <a:ext uri="{FF2B5EF4-FFF2-40B4-BE49-F238E27FC236}">
                <a16:creationId xmlns:a16="http://schemas.microsoft.com/office/drawing/2014/main" id="{2DF1B888-7584-A621-ED56-DB1362159E11}"/>
              </a:ext>
            </a:extLst>
          </p:cNvPr>
          <p:cNvSpPr txBox="1"/>
          <p:nvPr/>
        </p:nvSpPr>
        <p:spPr>
          <a:xfrm>
            <a:off x="2479730" y="521356"/>
            <a:ext cx="7232540" cy="5354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400"/>
              <a:buFont typeface="Roboto"/>
              <a:buNone/>
              <a:tabLst/>
              <a:defRPr/>
            </a:pPr>
            <a:r>
              <a:rPr kumimoji="0" lang="pl-PL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Raporty indywidualne </a:t>
            </a:r>
            <a:r>
              <a:rPr kumimoji="0" lang="pl-PL" sz="3200" b="0" i="0" u="none" strike="noStrike" kern="1200" cap="none" spc="0" normalizeH="0" baseline="0" noProof="0" dirty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Extended DISC</a:t>
            </a:r>
            <a:r>
              <a:rPr kumimoji="0" lang="pl-PL" sz="3200" b="0" i="0" u="none" strike="noStrike" kern="1200" cap="none" spc="0" normalizeH="0" baseline="30000" noProof="0" dirty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®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rgbClr val="D61B6B"/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Fredoka Medium" pitchFamily="2" charset="-79"/>
              <a:sym typeface="Arial"/>
            </a:endParaRPr>
          </a:p>
        </p:txBody>
      </p:sp>
      <p:sp>
        <p:nvSpPr>
          <p:cNvPr id="60" name="Google Shape;701;p6">
            <a:extLst>
              <a:ext uri="{FF2B5EF4-FFF2-40B4-BE49-F238E27FC236}">
                <a16:creationId xmlns:a16="http://schemas.microsoft.com/office/drawing/2014/main" id="{E39F4DF7-03EA-04E3-42D6-22C9F31FA921}"/>
              </a:ext>
            </a:extLst>
          </p:cNvPr>
          <p:cNvSpPr txBox="1">
            <a:spLocks/>
          </p:cNvSpPr>
          <p:nvPr/>
        </p:nvSpPr>
        <p:spPr>
          <a:xfrm>
            <a:off x="1315240" y="3000281"/>
            <a:ext cx="5251462" cy="1373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rgbClr val="D61B6B"/>
              </a:buClr>
              <a:buSzPts val="1500"/>
              <a:buFont typeface="Symbol" panose="05050102010706020507" pitchFamily="18" charset="2"/>
              <a:buNone/>
              <a:tabLst/>
              <a:defRPr/>
            </a:pPr>
            <a:r>
              <a:rPr kumimoji="0" lang="pl-P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Podstawowy raport </a:t>
            </a: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„Mój potencjał i talenty” </a:t>
            </a:r>
            <a:r>
              <a:rPr kumimoji="0" lang="pl-P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przedstawia ogólną charakterystykę respondenta według modelu Extended DISC</a:t>
            </a:r>
            <a:r>
              <a:rPr lang="pl-PL" sz="1200" baseline="30000">
                <a:solidFill>
                  <a:schemeClr val="tx1"/>
                </a:solidFill>
                <a:ea typeface="Roboto"/>
                <a:cs typeface="Roboto"/>
              </a:rPr>
              <a:t>®</a:t>
            </a:r>
            <a:r>
              <a:rPr kumimoji="0" lang="pl-P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, wskazuje jego mocne strony, preferowane role w zespole, style komunikacji, czynniki motywujące i demotywujące, cechy idealnego przełożonego oraz to, czego stara się unikać w pracy.</a:t>
            </a:r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61" name="Google Shape;703;p6">
            <a:extLst>
              <a:ext uri="{FF2B5EF4-FFF2-40B4-BE49-F238E27FC236}">
                <a16:creationId xmlns:a16="http://schemas.microsoft.com/office/drawing/2014/main" id="{B51D873B-936E-F13A-02FE-9E9BC05DC4C5}"/>
              </a:ext>
            </a:extLst>
          </p:cNvPr>
          <p:cNvSpPr txBox="1"/>
          <p:nvPr/>
        </p:nvSpPr>
        <p:spPr>
          <a:xfrm>
            <a:off x="1224613" y="1944161"/>
            <a:ext cx="5608320" cy="8617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pl-PL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Raporty Extended DISC</a:t>
            </a:r>
            <a:r>
              <a:rPr lang="pl-PL" sz="1400" baseline="30000">
                <a:solidFill>
                  <a:schemeClr val="tx1"/>
                </a:solidFill>
                <a:ea typeface="Roboto"/>
                <a:cs typeface="Roboto"/>
              </a:rPr>
              <a:t>®</a:t>
            </a:r>
            <a:r>
              <a:rPr kumimoji="0" lang="pl-PL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 pomagają </a:t>
            </a:r>
            <a:r>
              <a:rPr kumimoji="0" lang="pl-PL" sz="1400" b="1" i="0" u="none" strike="noStrike" kern="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osobie badanej </a:t>
            </a:r>
            <a:r>
              <a:rPr kumimoji="0" lang="pl-PL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lepiej zrozumieć samą siebie, a </a:t>
            </a:r>
            <a:r>
              <a:rPr kumimoji="0" lang="pl-PL" sz="1400" b="1" i="0" u="none" strike="noStrike" kern="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"/>
                <a:ea typeface="Roboto"/>
                <a:cs typeface="+mn-cs"/>
                <a:sym typeface="Roboto"/>
              </a:rPr>
              <a:t>organizacji</a:t>
            </a:r>
            <a:r>
              <a:rPr kumimoji="0" lang="pl-PL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 poznać i optymalnie dostosować jej mocne strony i talenty do sytuacji w pracy.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+mn-ea"/>
              <a:cs typeface="Arial"/>
              <a:sym typeface="Arial"/>
            </a:endParaRPr>
          </a:p>
        </p:txBody>
      </p:sp>
      <p:sp>
        <p:nvSpPr>
          <p:cNvPr id="64" name="Google Shape;701;p6">
            <a:extLst>
              <a:ext uri="{FF2B5EF4-FFF2-40B4-BE49-F238E27FC236}">
                <a16:creationId xmlns:a16="http://schemas.microsoft.com/office/drawing/2014/main" id="{63F1FE86-8304-B34A-0D17-4D011D0EEE65}"/>
              </a:ext>
            </a:extLst>
          </p:cNvPr>
          <p:cNvSpPr txBox="1">
            <a:spLocks/>
          </p:cNvSpPr>
          <p:nvPr/>
        </p:nvSpPr>
        <p:spPr>
          <a:xfrm>
            <a:off x="1253664" y="4644588"/>
            <a:ext cx="5687810" cy="832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1000"/>
              </a:spcBef>
              <a:spcAft>
                <a:spcPts val="0"/>
              </a:spcAft>
              <a:buClr>
                <a:srgbClr val="D61B6B"/>
              </a:buClr>
              <a:buSzPts val="1500"/>
              <a:buFont typeface="Symbol" panose="05050102010706020507" pitchFamily="18" charset="2"/>
              <a:buNone/>
              <a:tabLst/>
              <a:defRPr/>
            </a:pPr>
            <a:r>
              <a:rPr kumimoji="0" lang="pl-P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W zależności od potrzeb możesz stosować </a:t>
            </a: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"/>
                <a:ea typeface="Roboto"/>
                <a:cs typeface="+mn-cs"/>
                <a:sym typeface="Roboto"/>
              </a:rPr>
              <a:t>wiele raportów indywidualnych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"/>
                <a:ea typeface="Roboto"/>
                <a:cs typeface="+mn-cs"/>
                <a:sym typeface="Roboto"/>
              </a:rPr>
            </a:b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"/>
                <a:ea typeface="Roboto"/>
                <a:cs typeface="+mn-cs"/>
                <a:sym typeface="Roboto"/>
              </a:rPr>
              <a:t>lub zaprojektować własny. Bez dodatkowych kosztów. </a:t>
            </a: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"/>
                <a:ea typeface="Roboto"/>
                <a:cs typeface="+mn-cs"/>
                <a:sym typeface="Roboto"/>
              </a:rPr>
            </a:br>
            <a:b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"/>
                <a:ea typeface="Roboto"/>
                <a:cs typeface="+mn-cs"/>
                <a:sym typeface="Roboto"/>
              </a:rPr>
            </a:br>
            <a:endParaRPr kumimoji="0" lang="pl-PL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985250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8">
            <a:extLst>
              <a:ext uri="{FF2B5EF4-FFF2-40B4-BE49-F238E27FC236}">
                <a16:creationId xmlns:a16="http://schemas.microsoft.com/office/drawing/2014/main" id="{F880B7D5-7CE7-0149-482D-2CBDB595F461}"/>
              </a:ext>
            </a:extLst>
          </p:cNvPr>
          <p:cNvSpPr/>
          <p:nvPr/>
        </p:nvSpPr>
        <p:spPr>
          <a:xfrm>
            <a:off x="8065371" y="5173703"/>
            <a:ext cx="2758634" cy="548640"/>
          </a:xfrm>
          <a:prstGeom prst="roundRect">
            <a:avLst>
              <a:gd name="adj" fmla="val 20834"/>
            </a:avLst>
          </a:prstGeom>
          <a:solidFill>
            <a:schemeClr val="bg1">
              <a:alpha val="60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: Rounded Corners 26">
            <a:extLst>
              <a:ext uri="{FF2B5EF4-FFF2-40B4-BE49-F238E27FC236}">
                <a16:creationId xmlns:a16="http://schemas.microsoft.com/office/drawing/2014/main" id="{3884D8D3-B165-E26F-8196-FEA6CA275280}"/>
              </a:ext>
            </a:extLst>
          </p:cNvPr>
          <p:cNvSpPr/>
          <p:nvPr/>
        </p:nvSpPr>
        <p:spPr>
          <a:xfrm>
            <a:off x="1084735" y="4274025"/>
            <a:ext cx="5800755" cy="1448318"/>
          </a:xfrm>
          <a:prstGeom prst="roundRect">
            <a:avLst>
              <a:gd name="adj" fmla="val 3466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63" name="Rectangle: Rounded Corners 26">
            <a:extLst>
              <a:ext uri="{FF2B5EF4-FFF2-40B4-BE49-F238E27FC236}">
                <a16:creationId xmlns:a16="http://schemas.microsoft.com/office/drawing/2014/main" id="{2C5A8345-B12E-21FB-6215-76E424A1B4F2}"/>
              </a:ext>
            </a:extLst>
          </p:cNvPr>
          <p:cNvSpPr/>
          <p:nvPr/>
        </p:nvSpPr>
        <p:spPr>
          <a:xfrm>
            <a:off x="1078177" y="2558149"/>
            <a:ext cx="5807313" cy="1601651"/>
          </a:xfrm>
          <a:prstGeom prst="roundRect">
            <a:avLst>
              <a:gd name="adj" fmla="val 3466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" name="Prostokąt: zaokrąglone rogi u góry 1">
            <a:extLst>
              <a:ext uri="{FF2B5EF4-FFF2-40B4-BE49-F238E27FC236}">
                <a16:creationId xmlns:a16="http://schemas.microsoft.com/office/drawing/2014/main" id="{2CF0601E-996B-0F6E-0FC4-45AFD22262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5400000">
            <a:off x="-3102429" y="3102428"/>
            <a:ext cx="6858000" cy="653143"/>
          </a:xfrm>
          <a:prstGeom prst="round2SameRect">
            <a:avLst>
              <a:gd name="adj1" fmla="val 16559"/>
              <a:gd name="adj2" fmla="val 0"/>
            </a:avLst>
          </a:prstGeom>
          <a:solidFill>
            <a:srgbClr val="FFFFFF"/>
          </a:solidFill>
          <a:ln>
            <a:noFill/>
          </a:ln>
          <a:effectLst>
            <a:outerShdw blurRad="952500" dist="215900" algn="l" rotWithShape="0">
              <a:schemeClr val="accent1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27FD0282-AAA7-99D3-A8F3-4D13F509918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70771" y="6086174"/>
            <a:ext cx="994685" cy="306414"/>
          </a:xfrm>
          <a:prstGeom prst="rect">
            <a:avLst/>
          </a:prstGeom>
        </p:spPr>
      </p:pic>
      <p:pic>
        <p:nvPicPr>
          <p:cNvPr id="24" name="Obraz 4">
            <a:hlinkClick r:id="rId3" action="ppaction://hlinksldjump"/>
            <a:extLst>
              <a:ext uri="{FF2B5EF4-FFF2-40B4-BE49-F238E27FC236}">
                <a16:creationId xmlns:a16="http://schemas.microsoft.com/office/drawing/2014/main" id="{B4F576B0-5A53-247E-B85C-44BEACCA31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571" y="230592"/>
            <a:ext cx="548771" cy="305640"/>
          </a:xfrm>
          <a:prstGeom prst="rect">
            <a:avLst/>
          </a:prstGeom>
        </p:spPr>
      </p:pic>
      <p:sp>
        <p:nvSpPr>
          <p:cNvPr id="55" name="Google Shape;695;p5">
            <a:extLst>
              <a:ext uri="{FF2B5EF4-FFF2-40B4-BE49-F238E27FC236}">
                <a16:creationId xmlns:a16="http://schemas.microsoft.com/office/drawing/2014/main" id="{2DF1B888-7584-A621-ED56-DB1362159E11}"/>
              </a:ext>
            </a:extLst>
          </p:cNvPr>
          <p:cNvSpPr txBox="1"/>
          <p:nvPr/>
        </p:nvSpPr>
        <p:spPr>
          <a:xfrm>
            <a:off x="2703895" y="520645"/>
            <a:ext cx="6784210" cy="5354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400"/>
              <a:buFont typeface="Roboto"/>
              <a:buNone/>
              <a:tabLst/>
              <a:defRPr/>
            </a:pPr>
            <a:r>
              <a:rPr kumimoji="0" lang="pl-PL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Raporty zespołowe </a:t>
            </a:r>
            <a:r>
              <a:rPr kumimoji="0" lang="pl-PL" sz="3200" b="0" i="0" u="none" strike="noStrike" kern="1200" cap="none" spc="0" normalizeH="0" baseline="0" noProof="0" dirty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Extended DISC</a:t>
            </a:r>
            <a:r>
              <a:rPr kumimoji="0" lang="pl-PL" sz="3200" b="0" i="0" u="none" strike="noStrike" kern="1200" cap="none" spc="0" normalizeH="0" baseline="30000" noProof="0" dirty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  <a:sym typeface="Roboto"/>
              </a:rPr>
              <a:t>®</a:t>
            </a:r>
            <a:endParaRPr kumimoji="0" sz="3200" b="0" i="0" u="none" strike="noStrike" kern="1200" cap="none" spc="0" normalizeH="0" baseline="0" noProof="0" dirty="0">
              <a:ln>
                <a:noFill/>
              </a:ln>
              <a:solidFill>
                <a:srgbClr val="D61B6B"/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Fredoka Medium" pitchFamily="2" charset="-79"/>
              <a:sym typeface="Arial"/>
            </a:endParaRPr>
          </a:p>
        </p:txBody>
      </p:sp>
      <p:sp>
        <p:nvSpPr>
          <p:cNvPr id="60" name="Google Shape;701;p6">
            <a:extLst>
              <a:ext uri="{FF2B5EF4-FFF2-40B4-BE49-F238E27FC236}">
                <a16:creationId xmlns:a16="http://schemas.microsoft.com/office/drawing/2014/main" id="{E39F4DF7-03EA-04E3-42D6-22C9F31FA921}"/>
              </a:ext>
            </a:extLst>
          </p:cNvPr>
          <p:cNvSpPr txBox="1">
            <a:spLocks/>
          </p:cNvSpPr>
          <p:nvPr/>
        </p:nvSpPr>
        <p:spPr>
          <a:xfrm>
            <a:off x="1147096" y="2672373"/>
            <a:ext cx="5671719" cy="1383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rgbClr val="D61B6B"/>
              </a:buClr>
              <a:buSzPts val="1500"/>
              <a:buFont typeface="Symbol" panose="05050102010706020507" pitchFamily="18" charset="2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"/>
                <a:ea typeface="Roboto"/>
                <a:cs typeface="+mn-cs"/>
                <a:sym typeface="Roboto"/>
              </a:rPr>
              <a:t>RAPORT „MÓJ ZESPÓŁ” </a:t>
            </a:r>
            <a:r>
              <a:rPr kumimoji="0" lang="pl-P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zawiera przejrzystą </a:t>
            </a: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"/>
                <a:ea typeface="Roboto"/>
                <a:cs typeface="+mn-cs"/>
                <a:sym typeface="Roboto"/>
              </a:rPr>
              <a:t>mapę</a:t>
            </a:r>
            <a:r>
              <a:rPr kumimoji="0" lang="pl-P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 </a:t>
            </a: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"/>
                <a:ea typeface="Roboto"/>
                <a:cs typeface="+mn-cs"/>
                <a:sym typeface="Roboto"/>
              </a:rPr>
              <a:t>zespołu</a:t>
            </a:r>
            <a:r>
              <a:rPr kumimoji="0" lang="pl-P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, która pomaga zobaczyć jak na dłoni, co sprzyja, a co przeszkadza danemu zespołowi we współpracy i komunikacji. Narzędzie pokazuje, jak członkowie danego zespołu dopasowują swoje zachowania do obecnego środowiska pracy. Najczęściej jest stosowany podczas warsztatów zespołowych.</a:t>
            </a:r>
          </a:p>
        </p:txBody>
      </p:sp>
      <p:sp>
        <p:nvSpPr>
          <p:cNvPr id="61" name="Google Shape;703;p6">
            <a:extLst>
              <a:ext uri="{FF2B5EF4-FFF2-40B4-BE49-F238E27FC236}">
                <a16:creationId xmlns:a16="http://schemas.microsoft.com/office/drawing/2014/main" id="{B51D873B-936E-F13A-02FE-9E9BC05DC4C5}"/>
              </a:ext>
            </a:extLst>
          </p:cNvPr>
          <p:cNvSpPr txBox="1"/>
          <p:nvPr/>
        </p:nvSpPr>
        <p:spPr>
          <a:xfrm>
            <a:off x="1113243" y="1684129"/>
            <a:ext cx="5705572" cy="111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pl-PL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Łącząc wyniki członków zespołu w jeden raport otrzymujemy </a:t>
            </a:r>
            <a:r>
              <a:rPr kumimoji="0" lang="pl-PL" sz="1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mapę zespołu</a:t>
            </a:r>
            <a:r>
              <a:rPr kumimoji="0" lang="pl-PL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, która opisuje jego dynamikę oraz określa role poszczególnych jego członków. Do wyboru są </a:t>
            </a:r>
            <a:r>
              <a:rPr lang="pl-PL" sz="1400" kern="0">
                <a:solidFill>
                  <a:srgbClr val="000000"/>
                </a:solidFill>
                <a:latin typeface="Roboto Light"/>
                <a:ea typeface="Roboto"/>
                <a:cs typeface="Roboto"/>
                <a:sym typeface="Roboto"/>
              </a:rPr>
              <a:t>różne </a:t>
            </a:r>
            <a:r>
              <a:rPr kumimoji="0" lang="pl-PL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typy raportów zespołowych.</a:t>
            </a:r>
          </a:p>
          <a:p>
            <a:pPr marL="0" marR="0" lvl="0" indent="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pl-PL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Roboto"/>
              <a:cs typeface="Roboto"/>
              <a:sym typeface="Roboto"/>
            </a:endParaRPr>
          </a:p>
        </p:txBody>
      </p:sp>
      <p:sp>
        <p:nvSpPr>
          <p:cNvPr id="64" name="Google Shape;701;p6">
            <a:extLst>
              <a:ext uri="{FF2B5EF4-FFF2-40B4-BE49-F238E27FC236}">
                <a16:creationId xmlns:a16="http://schemas.microsoft.com/office/drawing/2014/main" id="{63F1FE86-8304-B34A-0D17-4D011D0EEE65}"/>
              </a:ext>
            </a:extLst>
          </p:cNvPr>
          <p:cNvSpPr txBox="1">
            <a:spLocks/>
          </p:cNvSpPr>
          <p:nvPr/>
        </p:nvSpPr>
        <p:spPr>
          <a:xfrm>
            <a:off x="1150914" y="4273223"/>
            <a:ext cx="5667901" cy="11920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4570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Symbol" panose="05050102010706020507" pitchFamily="18" charset="2"/>
              <a:buChar char="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ts val="2000"/>
              </a:lnSpc>
              <a:spcBef>
                <a:spcPts val="1000"/>
              </a:spcBef>
              <a:spcAft>
                <a:spcPts val="0"/>
              </a:spcAft>
              <a:buClr>
                <a:srgbClr val="D61B6B"/>
              </a:buClr>
              <a:buSzPts val="1500"/>
              <a:buFont typeface="Symbol" panose="05050102010706020507" pitchFamily="18" charset="2"/>
              <a:buNone/>
              <a:tabLst/>
              <a:defRPr/>
            </a:pP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"/>
                <a:ea typeface="Roboto"/>
                <a:cs typeface="Roboto"/>
                <a:sym typeface="Roboto"/>
              </a:rPr>
              <a:t>RAPORT „KULTURA ZESPOŁU” </a:t>
            </a:r>
            <a:r>
              <a:rPr kumimoji="0" lang="pl-P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idealnie spełnia potrzeby </a:t>
            </a: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"/>
                <a:ea typeface="Roboto"/>
                <a:cs typeface="+mn-cs"/>
                <a:sym typeface="Roboto"/>
              </a:rPr>
              <a:t>menedżera</a:t>
            </a:r>
            <a:r>
              <a:rPr kumimoji="0" lang="pl-P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 zespołu, który chce lepiej go poznać. Zawiera on konkretne opisy na temat zespołu i jego struktury. Pokazuje, która kultura DISC jest dominująca, jak ona wpływa na </a:t>
            </a:r>
            <a:r>
              <a:rPr kumimoji="0" lang="pl-PL" sz="1200" b="1" i="0" u="none" strike="noStrike" kern="120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"/>
                <a:ea typeface="Roboto"/>
                <a:cs typeface="+mn-cs"/>
                <a:sym typeface="Roboto"/>
              </a:rPr>
              <a:t>komunikacje  i relacje </a:t>
            </a:r>
            <a:r>
              <a:rPr kumimoji="0" lang="pl-PL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Roboto"/>
                <a:cs typeface="Roboto"/>
                <a:sym typeface="Roboto"/>
              </a:rPr>
              <a:t>w zespole oraz jakie zachowania są naturalne dla danego zespołu. </a:t>
            </a:r>
          </a:p>
        </p:txBody>
      </p:sp>
      <p:pic>
        <p:nvPicPr>
          <p:cNvPr id="37" name="Grafika 36">
            <a:extLst>
              <a:ext uri="{FF2B5EF4-FFF2-40B4-BE49-F238E27FC236}">
                <a16:creationId xmlns:a16="http://schemas.microsoft.com/office/drawing/2014/main" id="{867E8BE8-38ED-9EA1-3241-2C62E340270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53746" y="3937366"/>
            <a:ext cx="165069" cy="165069"/>
          </a:xfrm>
          <a:prstGeom prst="rect">
            <a:avLst/>
          </a:prstGeom>
        </p:spPr>
      </p:pic>
      <p:pic>
        <p:nvPicPr>
          <p:cNvPr id="69" name="Grafika 68">
            <a:extLst>
              <a:ext uri="{FF2B5EF4-FFF2-40B4-BE49-F238E27FC236}">
                <a16:creationId xmlns:a16="http://schemas.microsoft.com/office/drawing/2014/main" id="{54CDBD28-1ECA-C84E-9805-33B0EAF893A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53746" y="5498534"/>
            <a:ext cx="165069" cy="165069"/>
          </a:xfrm>
          <a:prstGeom prst="rect">
            <a:avLst/>
          </a:prstGeom>
        </p:spPr>
      </p:pic>
      <p:pic>
        <p:nvPicPr>
          <p:cNvPr id="27" name="Obraz 26" descr="Obraz zawierający tekst, diagram, zrzut ekranu, linia&#10;&#10;Opis wygenerowany automatycznie">
            <a:extLst>
              <a:ext uri="{FF2B5EF4-FFF2-40B4-BE49-F238E27FC236}">
                <a16:creationId xmlns:a16="http://schemas.microsoft.com/office/drawing/2014/main" id="{BA30C698-8ADD-E2D0-0D70-AD9AAB85621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4632" t="19131" r="14840" b="32869"/>
          <a:stretch/>
        </p:blipFill>
        <p:spPr>
          <a:xfrm>
            <a:off x="7697755" y="2096164"/>
            <a:ext cx="3456546" cy="3327540"/>
          </a:xfrm>
          <a:prstGeom prst="rect">
            <a:avLst/>
          </a:prstGeom>
          <a:ln w="3175">
            <a:noFill/>
          </a:ln>
          <a:effectLst>
            <a:outerShdw blurRad="330200" dist="38100" dir="2700000" sx="99000" sy="99000" algn="tl" rotWithShape="0">
              <a:schemeClr val="accent1">
                <a:lumMod val="50000"/>
                <a:alpha val="30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74890684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Grafika 26">
            <a:extLst>
              <a:ext uri="{FF2B5EF4-FFF2-40B4-BE49-F238E27FC236}">
                <a16:creationId xmlns:a16="http://schemas.microsoft.com/office/drawing/2014/main" id="{A4C5D7BC-4A95-132F-F8C1-D337651CED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085993" y="1070872"/>
            <a:ext cx="781050" cy="781050"/>
          </a:xfrm>
          <a:prstGeom prst="rect">
            <a:avLst/>
          </a:prstGeom>
        </p:spPr>
      </p:pic>
      <p:sp>
        <p:nvSpPr>
          <p:cNvPr id="2" name="Prostokąt: zaokrąglone rogi u góry 1">
            <a:extLst>
              <a:ext uri="{FF2B5EF4-FFF2-40B4-BE49-F238E27FC236}">
                <a16:creationId xmlns:a16="http://schemas.microsoft.com/office/drawing/2014/main" id="{2CF0601E-996B-0F6E-0FC4-45AFD22262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5400000">
            <a:off x="-3102429" y="3102428"/>
            <a:ext cx="6858000" cy="653143"/>
          </a:xfrm>
          <a:prstGeom prst="round2SameRect">
            <a:avLst>
              <a:gd name="adj1" fmla="val 16559"/>
              <a:gd name="adj2" fmla="val 0"/>
            </a:avLst>
          </a:prstGeom>
          <a:solidFill>
            <a:srgbClr val="FFFFFF"/>
          </a:solidFill>
          <a:ln>
            <a:noFill/>
          </a:ln>
          <a:effectLst>
            <a:outerShdw blurRad="952500" dist="215900" algn="l" rotWithShape="0">
              <a:schemeClr val="accent1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27FD0282-AAA7-99D3-A8F3-4D13F509918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70771" y="6086174"/>
            <a:ext cx="994685" cy="306414"/>
          </a:xfrm>
          <a:prstGeom prst="rect">
            <a:avLst/>
          </a:prstGeom>
        </p:spPr>
      </p:pic>
      <p:pic>
        <p:nvPicPr>
          <p:cNvPr id="24" name="Obraz 4">
            <a:hlinkClick r:id="rId6" action="ppaction://hlinksldjump"/>
            <a:extLst>
              <a:ext uri="{FF2B5EF4-FFF2-40B4-BE49-F238E27FC236}">
                <a16:creationId xmlns:a16="http://schemas.microsoft.com/office/drawing/2014/main" id="{B4F576B0-5A53-247E-B85C-44BEACCA31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571" y="230592"/>
            <a:ext cx="548771" cy="305640"/>
          </a:xfrm>
          <a:prstGeom prst="rect">
            <a:avLst/>
          </a:prstGeom>
        </p:spPr>
      </p:pic>
      <p:sp>
        <p:nvSpPr>
          <p:cNvPr id="66" name="Rectangle: Rounded Corners 47">
            <a:extLst>
              <a:ext uri="{FF2B5EF4-FFF2-40B4-BE49-F238E27FC236}">
                <a16:creationId xmlns:a16="http://schemas.microsoft.com/office/drawing/2014/main" id="{B86E25B2-D7FB-D812-FD4C-53BE09224945}"/>
              </a:ext>
            </a:extLst>
          </p:cNvPr>
          <p:cNvSpPr/>
          <p:nvPr/>
        </p:nvSpPr>
        <p:spPr>
          <a:xfrm>
            <a:off x="2444612" y="5840548"/>
            <a:ext cx="8011979" cy="548640"/>
          </a:xfrm>
          <a:prstGeom prst="roundRect">
            <a:avLst>
              <a:gd name="adj" fmla="val 20834"/>
            </a:avLst>
          </a:prstGeom>
          <a:solidFill>
            <a:schemeClr val="bg1">
              <a:alpha val="60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67" name="Rectangle: Rounded Corners 1">
            <a:extLst>
              <a:ext uri="{FF2B5EF4-FFF2-40B4-BE49-F238E27FC236}">
                <a16:creationId xmlns:a16="http://schemas.microsoft.com/office/drawing/2014/main" id="{465694F5-EF7C-759A-3E9D-DBA553ACD0C9}"/>
              </a:ext>
            </a:extLst>
          </p:cNvPr>
          <p:cNvSpPr/>
          <p:nvPr/>
        </p:nvSpPr>
        <p:spPr>
          <a:xfrm>
            <a:off x="1883940" y="1646575"/>
            <a:ext cx="9061449" cy="4528537"/>
          </a:xfrm>
          <a:prstGeom prst="roundRect">
            <a:avLst>
              <a:gd name="adj" fmla="val 5155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5" name="pole tekstowe 24">
            <a:extLst>
              <a:ext uri="{FF2B5EF4-FFF2-40B4-BE49-F238E27FC236}">
                <a16:creationId xmlns:a16="http://schemas.microsoft.com/office/drawing/2014/main" id="{DBC4B3EA-29DD-9F60-A907-5AFC5FC6F931}"/>
              </a:ext>
            </a:extLst>
          </p:cNvPr>
          <p:cNvSpPr txBox="1"/>
          <p:nvPr/>
        </p:nvSpPr>
        <p:spPr>
          <a:xfrm>
            <a:off x="1680107" y="358309"/>
            <a:ext cx="9493177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/>
                <a:ea typeface="Roboto Black"/>
                <a:cs typeface="Fredoka Medium"/>
              </a:rPr>
              <a:t>Wybrane ORGANIZACJE, KTÓRE JUŻ KORZYSTAJĄ</a:t>
            </a:r>
            <a:br>
              <a:rPr kumimoji="0" lang="pl-PL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</a:rPr>
            </a:br>
            <a:r>
              <a:rPr kumimoji="0" lang="pl-PL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/>
                <a:ea typeface="Roboto Black"/>
                <a:cs typeface="Fredoka Medium"/>
              </a:rPr>
              <a:t>Z </a:t>
            </a:r>
            <a:r>
              <a:rPr kumimoji="0" lang="pl-PL" sz="2800" b="0" i="0" u="none" strike="noStrike" kern="120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 Black"/>
                <a:ea typeface="Roboto Black"/>
                <a:cs typeface="Fredoka Medium"/>
              </a:rPr>
              <a:t>EXTENDED DISC®</a:t>
            </a:r>
            <a:r>
              <a:rPr kumimoji="0" lang="pl-PL" sz="2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Black"/>
                <a:ea typeface="Roboto Black"/>
                <a:cs typeface="Fredoka Medium"/>
              </a:rPr>
              <a:t>:</a:t>
            </a:r>
            <a:endParaRPr kumimoji="0" lang="pl-P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grpSp>
        <p:nvGrpSpPr>
          <p:cNvPr id="50" name="Grupa 49">
            <a:extLst>
              <a:ext uri="{FF2B5EF4-FFF2-40B4-BE49-F238E27FC236}">
                <a16:creationId xmlns:a16="http://schemas.microsoft.com/office/drawing/2014/main" id="{772F0C59-E8AE-48C7-977E-0894C651D9B3}"/>
              </a:ext>
            </a:extLst>
          </p:cNvPr>
          <p:cNvGrpSpPr/>
          <p:nvPr/>
        </p:nvGrpSpPr>
        <p:grpSpPr>
          <a:xfrm>
            <a:off x="2010947" y="1851922"/>
            <a:ext cx="8708571" cy="1106420"/>
            <a:chOff x="2225997" y="1756456"/>
            <a:chExt cx="8956621" cy="670644"/>
          </a:xfrm>
        </p:grpSpPr>
        <p:grpSp>
          <p:nvGrpSpPr>
            <p:cNvPr id="499" name="Grupa 498">
              <a:extLst>
                <a:ext uri="{FF2B5EF4-FFF2-40B4-BE49-F238E27FC236}">
                  <a16:creationId xmlns:a16="http://schemas.microsoft.com/office/drawing/2014/main" id="{9870116D-C867-676A-710C-436978DFC392}"/>
                </a:ext>
              </a:extLst>
            </p:cNvPr>
            <p:cNvGrpSpPr/>
            <p:nvPr/>
          </p:nvGrpSpPr>
          <p:grpSpPr>
            <a:xfrm>
              <a:off x="2225997" y="1761717"/>
              <a:ext cx="5328689" cy="665383"/>
              <a:chOff x="6735845" y="1748194"/>
              <a:chExt cx="5075670" cy="629779"/>
            </a:xfrm>
          </p:grpSpPr>
          <p:sp>
            <p:nvSpPr>
              <p:cNvPr id="173" name="Rectangle: Rounded Corners 1">
                <a:extLst>
                  <a:ext uri="{FF2B5EF4-FFF2-40B4-BE49-F238E27FC236}">
                    <a16:creationId xmlns:a16="http://schemas.microsoft.com/office/drawing/2014/main" id="{E20ECFF5-CF11-90CC-2053-103A0A99FD16}"/>
                  </a:ext>
                </a:extLst>
              </p:cNvPr>
              <p:cNvSpPr/>
              <p:nvPr/>
            </p:nvSpPr>
            <p:spPr>
              <a:xfrm>
                <a:off x="6735845" y="1748194"/>
                <a:ext cx="1620000" cy="629779"/>
              </a:xfrm>
              <a:prstGeom prst="roundRect">
                <a:avLst>
                  <a:gd name="adj" fmla="val 16101"/>
                </a:avLst>
              </a:prstGeom>
              <a:solidFill>
                <a:srgbClr val="F4F6FA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  <p:sp>
            <p:nvSpPr>
              <p:cNvPr id="174" name="Rectangle: Rounded Corners 1">
                <a:extLst>
                  <a:ext uri="{FF2B5EF4-FFF2-40B4-BE49-F238E27FC236}">
                    <a16:creationId xmlns:a16="http://schemas.microsoft.com/office/drawing/2014/main" id="{DC9907EC-D874-1277-77E2-769D4581F094}"/>
                  </a:ext>
                </a:extLst>
              </p:cNvPr>
              <p:cNvSpPr/>
              <p:nvPr/>
            </p:nvSpPr>
            <p:spPr>
              <a:xfrm>
                <a:off x="8463680" y="1748194"/>
                <a:ext cx="1620000" cy="629779"/>
              </a:xfrm>
              <a:prstGeom prst="roundRect">
                <a:avLst>
                  <a:gd name="adj" fmla="val 16101"/>
                </a:avLst>
              </a:prstGeom>
              <a:solidFill>
                <a:srgbClr val="F4F6FA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  <p:sp>
            <p:nvSpPr>
              <p:cNvPr id="175" name="Rectangle: Rounded Corners 1">
                <a:extLst>
                  <a:ext uri="{FF2B5EF4-FFF2-40B4-BE49-F238E27FC236}">
                    <a16:creationId xmlns:a16="http://schemas.microsoft.com/office/drawing/2014/main" id="{C33B45F2-BA90-5B68-EF88-7FF09A619501}"/>
                  </a:ext>
                </a:extLst>
              </p:cNvPr>
              <p:cNvSpPr/>
              <p:nvPr/>
            </p:nvSpPr>
            <p:spPr>
              <a:xfrm>
                <a:off x="10191515" y="1748194"/>
                <a:ext cx="1620000" cy="629779"/>
              </a:xfrm>
              <a:prstGeom prst="roundRect">
                <a:avLst>
                  <a:gd name="adj" fmla="val 16101"/>
                </a:avLst>
              </a:prstGeom>
              <a:solidFill>
                <a:srgbClr val="F4F6FA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</p:grpSp>
        <p:sp>
          <p:nvSpPr>
            <p:cNvPr id="43" name="Rectangle: Rounded Corners 1">
              <a:extLst>
                <a:ext uri="{FF2B5EF4-FFF2-40B4-BE49-F238E27FC236}">
                  <a16:creationId xmlns:a16="http://schemas.microsoft.com/office/drawing/2014/main" id="{2E52BC5C-EDDF-A726-BB31-55E38BB2B93B}"/>
                </a:ext>
              </a:extLst>
            </p:cNvPr>
            <p:cNvSpPr/>
            <p:nvPr/>
          </p:nvSpPr>
          <p:spPr>
            <a:xfrm>
              <a:off x="7667896" y="1761717"/>
              <a:ext cx="1700756" cy="665383"/>
            </a:xfrm>
            <a:prstGeom prst="roundRect">
              <a:avLst>
                <a:gd name="adj" fmla="val 16101"/>
              </a:avLst>
            </a:prstGeom>
            <a:solidFill>
              <a:srgbClr val="F4F6FA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47" name="Rectangle: Rounded Corners 1">
              <a:extLst>
                <a:ext uri="{FF2B5EF4-FFF2-40B4-BE49-F238E27FC236}">
                  <a16:creationId xmlns:a16="http://schemas.microsoft.com/office/drawing/2014/main" id="{282F3455-A0DF-C8FC-A8D2-E17A68ED1BA7}"/>
                </a:ext>
              </a:extLst>
            </p:cNvPr>
            <p:cNvSpPr/>
            <p:nvPr/>
          </p:nvSpPr>
          <p:spPr>
            <a:xfrm>
              <a:off x="9481862" y="1756456"/>
              <a:ext cx="1700756" cy="665383"/>
            </a:xfrm>
            <a:prstGeom prst="roundRect">
              <a:avLst>
                <a:gd name="adj" fmla="val 16101"/>
              </a:avLst>
            </a:prstGeom>
            <a:solidFill>
              <a:srgbClr val="F4F6FA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grpSp>
        <p:nvGrpSpPr>
          <p:cNvPr id="469" name="Grupa 468">
            <a:extLst>
              <a:ext uri="{FF2B5EF4-FFF2-40B4-BE49-F238E27FC236}">
                <a16:creationId xmlns:a16="http://schemas.microsoft.com/office/drawing/2014/main" id="{451B9DC3-675E-9B12-6FB9-D19C22EC2B58}"/>
              </a:ext>
            </a:extLst>
          </p:cNvPr>
          <p:cNvGrpSpPr/>
          <p:nvPr/>
        </p:nvGrpSpPr>
        <p:grpSpPr>
          <a:xfrm>
            <a:off x="2010947" y="3377321"/>
            <a:ext cx="8708571" cy="1106420"/>
            <a:chOff x="2225997" y="1756456"/>
            <a:chExt cx="8956621" cy="670644"/>
          </a:xfrm>
        </p:grpSpPr>
        <p:grpSp>
          <p:nvGrpSpPr>
            <p:cNvPr id="470" name="Grupa 469">
              <a:extLst>
                <a:ext uri="{FF2B5EF4-FFF2-40B4-BE49-F238E27FC236}">
                  <a16:creationId xmlns:a16="http://schemas.microsoft.com/office/drawing/2014/main" id="{B174815D-9CC0-A345-AE1D-89BDD3D67BDF}"/>
                </a:ext>
              </a:extLst>
            </p:cNvPr>
            <p:cNvGrpSpPr/>
            <p:nvPr/>
          </p:nvGrpSpPr>
          <p:grpSpPr>
            <a:xfrm>
              <a:off x="2225997" y="1761717"/>
              <a:ext cx="5328689" cy="665383"/>
              <a:chOff x="6735845" y="1748194"/>
              <a:chExt cx="5075670" cy="629779"/>
            </a:xfrm>
          </p:grpSpPr>
          <p:sp>
            <p:nvSpPr>
              <p:cNvPr id="475" name="Rectangle: Rounded Corners 1">
                <a:extLst>
                  <a:ext uri="{FF2B5EF4-FFF2-40B4-BE49-F238E27FC236}">
                    <a16:creationId xmlns:a16="http://schemas.microsoft.com/office/drawing/2014/main" id="{C0747ABF-8B52-6E15-2D55-7843E64A8D93}"/>
                  </a:ext>
                </a:extLst>
              </p:cNvPr>
              <p:cNvSpPr/>
              <p:nvPr/>
            </p:nvSpPr>
            <p:spPr>
              <a:xfrm>
                <a:off x="6735845" y="1748194"/>
                <a:ext cx="1620000" cy="629779"/>
              </a:xfrm>
              <a:prstGeom prst="roundRect">
                <a:avLst>
                  <a:gd name="adj" fmla="val 16101"/>
                </a:avLst>
              </a:prstGeom>
              <a:solidFill>
                <a:srgbClr val="F4F6FA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  <p:sp>
            <p:nvSpPr>
              <p:cNvPr id="476" name="Rectangle: Rounded Corners 1">
                <a:extLst>
                  <a:ext uri="{FF2B5EF4-FFF2-40B4-BE49-F238E27FC236}">
                    <a16:creationId xmlns:a16="http://schemas.microsoft.com/office/drawing/2014/main" id="{1F1F308A-9359-5387-8191-7D0BDE56C5CE}"/>
                  </a:ext>
                </a:extLst>
              </p:cNvPr>
              <p:cNvSpPr/>
              <p:nvPr/>
            </p:nvSpPr>
            <p:spPr>
              <a:xfrm>
                <a:off x="8463680" y="1748194"/>
                <a:ext cx="1620000" cy="629779"/>
              </a:xfrm>
              <a:prstGeom prst="roundRect">
                <a:avLst>
                  <a:gd name="adj" fmla="val 16101"/>
                </a:avLst>
              </a:prstGeom>
              <a:solidFill>
                <a:srgbClr val="F4F6FA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  <p:sp>
            <p:nvSpPr>
              <p:cNvPr id="477" name="Rectangle: Rounded Corners 1">
                <a:extLst>
                  <a:ext uri="{FF2B5EF4-FFF2-40B4-BE49-F238E27FC236}">
                    <a16:creationId xmlns:a16="http://schemas.microsoft.com/office/drawing/2014/main" id="{FCC92A4B-6853-435A-09BD-1C4D17E60B46}"/>
                  </a:ext>
                </a:extLst>
              </p:cNvPr>
              <p:cNvSpPr/>
              <p:nvPr/>
            </p:nvSpPr>
            <p:spPr>
              <a:xfrm>
                <a:off x="10191515" y="1748194"/>
                <a:ext cx="1620000" cy="629779"/>
              </a:xfrm>
              <a:prstGeom prst="roundRect">
                <a:avLst>
                  <a:gd name="adj" fmla="val 16101"/>
                </a:avLst>
              </a:prstGeom>
              <a:solidFill>
                <a:srgbClr val="F4F6FA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</p:grpSp>
        <p:sp>
          <p:nvSpPr>
            <p:cNvPr id="471" name="Rectangle: Rounded Corners 1">
              <a:extLst>
                <a:ext uri="{FF2B5EF4-FFF2-40B4-BE49-F238E27FC236}">
                  <a16:creationId xmlns:a16="http://schemas.microsoft.com/office/drawing/2014/main" id="{114883C0-120D-5E33-CB0E-D58A4E184A4F}"/>
                </a:ext>
              </a:extLst>
            </p:cNvPr>
            <p:cNvSpPr/>
            <p:nvPr/>
          </p:nvSpPr>
          <p:spPr>
            <a:xfrm>
              <a:off x="7667896" y="1761717"/>
              <a:ext cx="1700756" cy="665383"/>
            </a:xfrm>
            <a:prstGeom prst="roundRect">
              <a:avLst>
                <a:gd name="adj" fmla="val 16101"/>
              </a:avLst>
            </a:prstGeom>
            <a:solidFill>
              <a:srgbClr val="F4F6FA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473" name="Rectangle: Rounded Corners 1">
              <a:extLst>
                <a:ext uri="{FF2B5EF4-FFF2-40B4-BE49-F238E27FC236}">
                  <a16:creationId xmlns:a16="http://schemas.microsoft.com/office/drawing/2014/main" id="{EBE68E67-235D-4A80-7EA1-A86837A5DD90}"/>
                </a:ext>
              </a:extLst>
            </p:cNvPr>
            <p:cNvSpPr/>
            <p:nvPr/>
          </p:nvSpPr>
          <p:spPr>
            <a:xfrm>
              <a:off x="9481862" y="1756456"/>
              <a:ext cx="1700756" cy="665383"/>
            </a:xfrm>
            <a:prstGeom prst="roundRect">
              <a:avLst>
                <a:gd name="adj" fmla="val 16101"/>
              </a:avLst>
            </a:prstGeom>
            <a:solidFill>
              <a:srgbClr val="F4F6FA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grpSp>
        <p:nvGrpSpPr>
          <p:cNvPr id="481" name="Grupa 480">
            <a:extLst>
              <a:ext uri="{FF2B5EF4-FFF2-40B4-BE49-F238E27FC236}">
                <a16:creationId xmlns:a16="http://schemas.microsoft.com/office/drawing/2014/main" id="{1ABB9B17-16C2-B852-9DE8-995D97E0CF86}"/>
              </a:ext>
            </a:extLst>
          </p:cNvPr>
          <p:cNvGrpSpPr/>
          <p:nvPr/>
        </p:nvGrpSpPr>
        <p:grpSpPr>
          <a:xfrm>
            <a:off x="2046582" y="4812820"/>
            <a:ext cx="8708571" cy="1106420"/>
            <a:chOff x="2225997" y="1756456"/>
            <a:chExt cx="8956621" cy="670644"/>
          </a:xfrm>
        </p:grpSpPr>
        <p:grpSp>
          <p:nvGrpSpPr>
            <p:cNvPr id="482" name="Grupa 481">
              <a:extLst>
                <a:ext uri="{FF2B5EF4-FFF2-40B4-BE49-F238E27FC236}">
                  <a16:creationId xmlns:a16="http://schemas.microsoft.com/office/drawing/2014/main" id="{BA7EA35D-0746-9521-965D-33C29CED6AF9}"/>
                </a:ext>
              </a:extLst>
            </p:cNvPr>
            <p:cNvGrpSpPr/>
            <p:nvPr/>
          </p:nvGrpSpPr>
          <p:grpSpPr>
            <a:xfrm>
              <a:off x="2225997" y="1761717"/>
              <a:ext cx="5328689" cy="665383"/>
              <a:chOff x="6735845" y="1748194"/>
              <a:chExt cx="5075670" cy="629779"/>
            </a:xfrm>
          </p:grpSpPr>
          <p:sp>
            <p:nvSpPr>
              <p:cNvPr id="487" name="Rectangle: Rounded Corners 1">
                <a:extLst>
                  <a:ext uri="{FF2B5EF4-FFF2-40B4-BE49-F238E27FC236}">
                    <a16:creationId xmlns:a16="http://schemas.microsoft.com/office/drawing/2014/main" id="{93CFF3FC-7BDC-08B2-A4D0-A4DB1F78AEDD}"/>
                  </a:ext>
                </a:extLst>
              </p:cNvPr>
              <p:cNvSpPr/>
              <p:nvPr/>
            </p:nvSpPr>
            <p:spPr>
              <a:xfrm>
                <a:off x="6735845" y="1748194"/>
                <a:ext cx="1620000" cy="629779"/>
              </a:xfrm>
              <a:prstGeom prst="roundRect">
                <a:avLst>
                  <a:gd name="adj" fmla="val 16101"/>
                </a:avLst>
              </a:prstGeom>
              <a:solidFill>
                <a:srgbClr val="F4F6FA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  <p:sp>
            <p:nvSpPr>
              <p:cNvPr id="488" name="Rectangle: Rounded Corners 1">
                <a:extLst>
                  <a:ext uri="{FF2B5EF4-FFF2-40B4-BE49-F238E27FC236}">
                    <a16:creationId xmlns:a16="http://schemas.microsoft.com/office/drawing/2014/main" id="{A413D34C-FFB1-F9EB-4EDC-BA68346D2D73}"/>
                  </a:ext>
                </a:extLst>
              </p:cNvPr>
              <p:cNvSpPr/>
              <p:nvPr/>
            </p:nvSpPr>
            <p:spPr>
              <a:xfrm>
                <a:off x="8463680" y="1748194"/>
                <a:ext cx="1620000" cy="629779"/>
              </a:xfrm>
              <a:prstGeom prst="roundRect">
                <a:avLst>
                  <a:gd name="adj" fmla="val 16101"/>
                </a:avLst>
              </a:prstGeom>
              <a:solidFill>
                <a:srgbClr val="F4F6FA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  <p:sp>
            <p:nvSpPr>
              <p:cNvPr id="489" name="Rectangle: Rounded Corners 1">
                <a:extLst>
                  <a:ext uri="{FF2B5EF4-FFF2-40B4-BE49-F238E27FC236}">
                    <a16:creationId xmlns:a16="http://schemas.microsoft.com/office/drawing/2014/main" id="{BD9F3F93-81E2-CE28-D6FD-934C620182BD}"/>
                  </a:ext>
                </a:extLst>
              </p:cNvPr>
              <p:cNvSpPr/>
              <p:nvPr/>
            </p:nvSpPr>
            <p:spPr>
              <a:xfrm>
                <a:off x="10191515" y="1748194"/>
                <a:ext cx="1620000" cy="629779"/>
              </a:xfrm>
              <a:prstGeom prst="roundRect">
                <a:avLst>
                  <a:gd name="adj" fmla="val 16101"/>
                </a:avLst>
              </a:prstGeom>
              <a:solidFill>
                <a:srgbClr val="F4F6FA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Light"/>
                  <a:ea typeface="+mn-ea"/>
                  <a:cs typeface="+mn-cs"/>
                </a:endParaRPr>
              </a:p>
            </p:txBody>
          </p:sp>
        </p:grpSp>
        <p:sp>
          <p:nvSpPr>
            <p:cNvPr id="483" name="Rectangle: Rounded Corners 1">
              <a:extLst>
                <a:ext uri="{FF2B5EF4-FFF2-40B4-BE49-F238E27FC236}">
                  <a16:creationId xmlns:a16="http://schemas.microsoft.com/office/drawing/2014/main" id="{B5058E11-3832-9CC5-40CB-199BD48365F1}"/>
                </a:ext>
              </a:extLst>
            </p:cNvPr>
            <p:cNvSpPr/>
            <p:nvPr/>
          </p:nvSpPr>
          <p:spPr>
            <a:xfrm>
              <a:off x="7667896" y="1761717"/>
              <a:ext cx="1700756" cy="665383"/>
            </a:xfrm>
            <a:prstGeom prst="roundRect">
              <a:avLst>
                <a:gd name="adj" fmla="val 16101"/>
              </a:avLst>
            </a:prstGeom>
            <a:solidFill>
              <a:srgbClr val="F4F6FA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485" name="Rectangle: Rounded Corners 1">
              <a:extLst>
                <a:ext uri="{FF2B5EF4-FFF2-40B4-BE49-F238E27FC236}">
                  <a16:creationId xmlns:a16="http://schemas.microsoft.com/office/drawing/2014/main" id="{5E525C7F-A5CC-BF16-9FFF-4FC39E1F5044}"/>
                </a:ext>
              </a:extLst>
            </p:cNvPr>
            <p:cNvSpPr/>
            <p:nvPr/>
          </p:nvSpPr>
          <p:spPr>
            <a:xfrm>
              <a:off x="9481862" y="1756456"/>
              <a:ext cx="1700756" cy="665383"/>
            </a:xfrm>
            <a:prstGeom prst="roundRect">
              <a:avLst>
                <a:gd name="adj" fmla="val 16101"/>
              </a:avLst>
            </a:prstGeom>
            <a:solidFill>
              <a:srgbClr val="F4F6FA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pic>
        <p:nvPicPr>
          <p:cNvPr id="493" name="Obraz 492">
            <a:extLst>
              <a:ext uri="{FF2B5EF4-FFF2-40B4-BE49-F238E27FC236}">
                <a16:creationId xmlns:a16="http://schemas.microsoft.com/office/drawing/2014/main" id="{65E1F685-D8CE-7E1A-7DFA-31A5050CC6AB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3837913" y="1606461"/>
            <a:ext cx="1531779" cy="1531779"/>
          </a:xfrm>
          <a:prstGeom prst="rect">
            <a:avLst/>
          </a:prstGeom>
        </p:spPr>
      </p:pic>
      <p:pic>
        <p:nvPicPr>
          <p:cNvPr id="500" name="Obraz 499" descr="Obraz zawierający tekst, zastawa stołowa, naczynia, talerz&#10;&#10;Opis wygenerowany automatycznie">
            <a:extLst>
              <a:ext uri="{FF2B5EF4-FFF2-40B4-BE49-F238E27FC236}">
                <a16:creationId xmlns:a16="http://schemas.microsoft.com/office/drawing/2014/main" id="{D165F7C3-47BC-D707-8BE9-992566F3EFB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41324" y="2152864"/>
            <a:ext cx="1463003" cy="449238"/>
          </a:xfrm>
          <a:prstGeom prst="rect">
            <a:avLst/>
          </a:prstGeom>
        </p:spPr>
      </p:pic>
      <p:pic>
        <p:nvPicPr>
          <p:cNvPr id="501" name="Obraz 500">
            <a:extLst>
              <a:ext uri="{FF2B5EF4-FFF2-40B4-BE49-F238E27FC236}">
                <a16:creationId xmlns:a16="http://schemas.microsoft.com/office/drawing/2014/main" id="{A321C521-93B8-07E8-6441-4B2A833FC83E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221962" y="2238283"/>
            <a:ext cx="1269916" cy="322519"/>
          </a:xfrm>
          <a:prstGeom prst="rect">
            <a:avLst/>
          </a:prstGeom>
        </p:spPr>
      </p:pic>
      <p:pic>
        <p:nvPicPr>
          <p:cNvPr id="502" name="Picture 2" descr="LOTOS Asfalt Sp.z o.o. ‹ Targi Kielce S.A.">
            <a:extLst>
              <a:ext uri="{FF2B5EF4-FFF2-40B4-BE49-F238E27FC236}">
                <a16:creationId xmlns:a16="http://schemas.microsoft.com/office/drawing/2014/main" id="{BCD72958-F8B8-B644-7FC0-1FB4C7F975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8966" y="3215360"/>
            <a:ext cx="2081366" cy="1472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3" name="Obraz 502" descr="Obraz zawierający tekst&#10;&#10;Opis wygenerowany automatycznie">
            <a:extLst>
              <a:ext uri="{FF2B5EF4-FFF2-40B4-BE49-F238E27FC236}">
                <a16:creationId xmlns:a16="http://schemas.microsoft.com/office/drawing/2014/main" id="{90E9534A-92A0-85AB-C2A2-81D21E8291A0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045872" y="3677982"/>
            <a:ext cx="1105054" cy="495369"/>
          </a:xfrm>
          <a:prstGeom prst="rect">
            <a:avLst/>
          </a:prstGeom>
        </p:spPr>
      </p:pic>
      <p:pic>
        <p:nvPicPr>
          <p:cNvPr id="504" name="Picture 4" descr="Politechnika Gdańska nowe Logo PNG Vector (CDR) Free Download">
            <a:extLst>
              <a:ext uri="{FF2B5EF4-FFF2-40B4-BE49-F238E27FC236}">
                <a16:creationId xmlns:a16="http://schemas.microsoft.com/office/drawing/2014/main" id="{55EFBDBD-1ACF-D694-E062-485400C21D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147" y="3657050"/>
            <a:ext cx="755187" cy="546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5" name="Obraz 504">
            <a:extLst>
              <a:ext uri="{FF2B5EF4-FFF2-40B4-BE49-F238E27FC236}">
                <a16:creationId xmlns:a16="http://schemas.microsoft.com/office/drawing/2014/main" id="{8B17C8D1-24F1-9EAE-D43E-97DF1FDD8B55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/>
          <a:stretch/>
        </p:blipFill>
        <p:spPr>
          <a:xfrm>
            <a:off x="5538405" y="3084093"/>
            <a:ext cx="1669328" cy="1669328"/>
          </a:xfrm>
          <a:prstGeom prst="rect">
            <a:avLst/>
          </a:prstGeom>
        </p:spPr>
      </p:pic>
      <p:pic>
        <p:nvPicPr>
          <p:cNvPr id="506" name="Picture 6">
            <a:extLst>
              <a:ext uri="{FF2B5EF4-FFF2-40B4-BE49-F238E27FC236}">
                <a16:creationId xmlns:a16="http://schemas.microsoft.com/office/drawing/2014/main" id="{1A6B1340-A34B-4945-6BF7-C6F30E0F02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9491" y="3767480"/>
            <a:ext cx="1426399" cy="377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7" name="Obraz 506" descr="Obraz zawierający tekst, clipart&#10;&#10;Opis wygenerowany automatycznie">
            <a:extLst>
              <a:ext uri="{FF2B5EF4-FFF2-40B4-BE49-F238E27FC236}">
                <a16:creationId xmlns:a16="http://schemas.microsoft.com/office/drawing/2014/main" id="{64BEE600-E561-CFF5-49E1-872265BFA517}"/>
              </a:ext>
            </a:extLst>
          </p:cNvPr>
          <p:cNvPicPr>
            <a:picLocks noChangeAspect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55742" y="5064724"/>
            <a:ext cx="1762792" cy="611291"/>
          </a:xfrm>
          <a:prstGeom prst="rect">
            <a:avLst/>
          </a:prstGeom>
        </p:spPr>
      </p:pic>
      <p:pic>
        <p:nvPicPr>
          <p:cNvPr id="509" name="Picture 8">
            <a:extLst>
              <a:ext uri="{FF2B5EF4-FFF2-40B4-BE49-F238E27FC236}">
                <a16:creationId xmlns:a16="http://schemas.microsoft.com/office/drawing/2014/main" id="{7B11F4B1-3778-F6A9-D34A-9AF0E87EA2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7711" y="5012185"/>
            <a:ext cx="670811" cy="670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0" name="Picture 10">
            <a:extLst>
              <a:ext uri="{FF2B5EF4-FFF2-40B4-BE49-F238E27FC236}">
                <a16:creationId xmlns:a16="http://schemas.microsoft.com/office/drawing/2014/main" id="{E13CE031-9E08-8C88-39C0-712E9DA5CD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2158" y="5192864"/>
            <a:ext cx="1024877" cy="412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1" name="Picture 12">
            <a:extLst>
              <a:ext uri="{FF2B5EF4-FFF2-40B4-BE49-F238E27FC236}">
                <a16:creationId xmlns:a16="http://schemas.microsoft.com/office/drawing/2014/main" id="{9275326A-0B5C-BF8B-69B9-72C565F9A3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8060" y="5251202"/>
            <a:ext cx="1275281" cy="222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Obraz 64">
            <a:extLst>
              <a:ext uri="{FF2B5EF4-FFF2-40B4-BE49-F238E27FC236}">
                <a16:creationId xmlns:a16="http://schemas.microsoft.com/office/drawing/2014/main" id="{7CBAEF6D-DD17-B54D-C1F1-9F426393149E}"/>
              </a:ext>
            </a:extLst>
          </p:cNvPr>
          <p:cNvPicPr>
            <a:picLocks noChangeAspect="1"/>
          </p:cNvPicPr>
          <p:nvPr/>
        </p:nvPicPr>
        <p:blipFill>
          <a:blip r:embed="rId20"/>
          <a:srcRect/>
          <a:stretch/>
        </p:blipFill>
        <p:spPr>
          <a:xfrm>
            <a:off x="2072088" y="1616994"/>
            <a:ext cx="1531779" cy="1531779"/>
          </a:xfrm>
          <a:prstGeom prst="rect">
            <a:avLst/>
          </a:prstGeom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E99E6C56-35D3-1872-5418-60F72B257F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/>
          <a:srcRect/>
          <a:stretch/>
        </p:blipFill>
        <p:spPr bwMode="auto">
          <a:xfrm>
            <a:off x="2038175" y="4535135"/>
            <a:ext cx="1670467" cy="1670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Obraz 9" descr="Obraz zawierający tekst, Czcionka, logo, Grafika&#10;&#10;Opis wygenerowany automatycznie">
            <a:extLst>
              <a:ext uri="{FF2B5EF4-FFF2-40B4-BE49-F238E27FC236}">
                <a16:creationId xmlns:a16="http://schemas.microsoft.com/office/drawing/2014/main" id="{11CDFCE6-B121-1DF6-8982-BECC3302C61D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462328" y="2258327"/>
            <a:ext cx="1331736" cy="349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46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eform: Shape 22">
            <a:extLst>
              <a:ext uri="{FF2B5EF4-FFF2-40B4-BE49-F238E27FC236}">
                <a16:creationId xmlns:a16="http://schemas.microsoft.com/office/drawing/2014/main" id="{2C983CB4-02D6-1CDE-8FFA-52FFFE4C9A9E}"/>
              </a:ext>
            </a:extLst>
          </p:cNvPr>
          <p:cNvSpPr/>
          <p:nvPr/>
        </p:nvSpPr>
        <p:spPr>
          <a:xfrm>
            <a:off x="11347826" y="4755860"/>
            <a:ext cx="569816" cy="831865"/>
          </a:xfrm>
          <a:custGeom>
            <a:avLst/>
            <a:gdLst>
              <a:gd name="connsiteX0" fmla="*/ 546957 w 569816"/>
              <a:gd name="connsiteY0" fmla="*/ 786146 h 831865"/>
              <a:gd name="connsiteX1" fmla="*/ 569816 w 569816"/>
              <a:gd name="connsiteY1" fmla="*/ 809006 h 831865"/>
              <a:gd name="connsiteX2" fmla="*/ 546957 w 569816"/>
              <a:gd name="connsiteY2" fmla="*/ 831865 h 831865"/>
              <a:gd name="connsiteX3" fmla="*/ 524097 w 569816"/>
              <a:gd name="connsiteY3" fmla="*/ 809006 h 831865"/>
              <a:gd name="connsiteX4" fmla="*/ 546957 w 569816"/>
              <a:gd name="connsiteY4" fmla="*/ 786146 h 831865"/>
              <a:gd name="connsiteX5" fmla="*/ 284908 w 569816"/>
              <a:gd name="connsiteY5" fmla="*/ 786146 h 831865"/>
              <a:gd name="connsiteX6" fmla="*/ 307767 w 569816"/>
              <a:gd name="connsiteY6" fmla="*/ 809006 h 831865"/>
              <a:gd name="connsiteX7" fmla="*/ 284908 w 569816"/>
              <a:gd name="connsiteY7" fmla="*/ 831865 h 831865"/>
              <a:gd name="connsiteX8" fmla="*/ 262048 w 569816"/>
              <a:gd name="connsiteY8" fmla="*/ 809006 h 831865"/>
              <a:gd name="connsiteX9" fmla="*/ 284908 w 569816"/>
              <a:gd name="connsiteY9" fmla="*/ 786146 h 831865"/>
              <a:gd name="connsiteX10" fmla="*/ 22860 w 569816"/>
              <a:gd name="connsiteY10" fmla="*/ 786146 h 831865"/>
              <a:gd name="connsiteX11" fmla="*/ 45719 w 569816"/>
              <a:gd name="connsiteY11" fmla="*/ 809006 h 831865"/>
              <a:gd name="connsiteX12" fmla="*/ 22860 w 569816"/>
              <a:gd name="connsiteY12" fmla="*/ 831865 h 831865"/>
              <a:gd name="connsiteX13" fmla="*/ 0 w 569816"/>
              <a:gd name="connsiteY13" fmla="*/ 809006 h 831865"/>
              <a:gd name="connsiteX14" fmla="*/ 22860 w 569816"/>
              <a:gd name="connsiteY14" fmla="*/ 786146 h 831865"/>
              <a:gd name="connsiteX15" fmla="*/ 546957 w 569816"/>
              <a:gd name="connsiteY15" fmla="*/ 524097 h 831865"/>
              <a:gd name="connsiteX16" fmla="*/ 569816 w 569816"/>
              <a:gd name="connsiteY16" fmla="*/ 546957 h 831865"/>
              <a:gd name="connsiteX17" fmla="*/ 546957 w 569816"/>
              <a:gd name="connsiteY17" fmla="*/ 569816 h 831865"/>
              <a:gd name="connsiteX18" fmla="*/ 524097 w 569816"/>
              <a:gd name="connsiteY18" fmla="*/ 546957 h 831865"/>
              <a:gd name="connsiteX19" fmla="*/ 546957 w 569816"/>
              <a:gd name="connsiteY19" fmla="*/ 524097 h 831865"/>
              <a:gd name="connsiteX20" fmla="*/ 284908 w 569816"/>
              <a:gd name="connsiteY20" fmla="*/ 524097 h 831865"/>
              <a:gd name="connsiteX21" fmla="*/ 307767 w 569816"/>
              <a:gd name="connsiteY21" fmla="*/ 546957 h 831865"/>
              <a:gd name="connsiteX22" fmla="*/ 284908 w 569816"/>
              <a:gd name="connsiteY22" fmla="*/ 569816 h 831865"/>
              <a:gd name="connsiteX23" fmla="*/ 262048 w 569816"/>
              <a:gd name="connsiteY23" fmla="*/ 546957 h 831865"/>
              <a:gd name="connsiteX24" fmla="*/ 284908 w 569816"/>
              <a:gd name="connsiteY24" fmla="*/ 524097 h 831865"/>
              <a:gd name="connsiteX25" fmla="*/ 22860 w 569816"/>
              <a:gd name="connsiteY25" fmla="*/ 524097 h 831865"/>
              <a:gd name="connsiteX26" fmla="*/ 45719 w 569816"/>
              <a:gd name="connsiteY26" fmla="*/ 546957 h 831865"/>
              <a:gd name="connsiteX27" fmla="*/ 22860 w 569816"/>
              <a:gd name="connsiteY27" fmla="*/ 569816 h 831865"/>
              <a:gd name="connsiteX28" fmla="*/ 0 w 569816"/>
              <a:gd name="connsiteY28" fmla="*/ 546957 h 831865"/>
              <a:gd name="connsiteX29" fmla="*/ 22860 w 569816"/>
              <a:gd name="connsiteY29" fmla="*/ 524097 h 831865"/>
              <a:gd name="connsiteX30" fmla="*/ 546957 w 569816"/>
              <a:gd name="connsiteY30" fmla="*/ 262048 h 831865"/>
              <a:gd name="connsiteX31" fmla="*/ 569816 w 569816"/>
              <a:gd name="connsiteY31" fmla="*/ 284908 h 831865"/>
              <a:gd name="connsiteX32" fmla="*/ 546957 w 569816"/>
              <a:gd name="connsiteY32" fmla="*/ 307767 h 831865"/>
              <a:gd name="connsiteX33" fmla="*/ 524097 w 569816"/>
              <a:gd name="connsiteY33" fmla="*/ 284908 h 831865"/>
              <a:gd name="connsiteX34" fmla="*/ 546957 w 569816"/>
              <a:gd name="connsiteY34" fmla="*/ 262048 h 831865"/>
              <a:gd name="connsiteX35" fmla="*/ 284908 w 569816"/>
              <a:gd name="connsiteY35" fmla="*/ 262048 h 831865"/>
              <a:gd name="connsiteX36" fmla="*/ 307767 w 569816"/>
              <a:gd name="connsiteY36" fmla="*/ 284908 h 831865"/>
              <a:gd name="connsiteX37" fmla="*/ 284908 w 569816"/>
              <a:gd name="connsiteY37" fmla="*/ 307767 h 831865"/>
              <a:gd name="connsiteX38" fmla="*/ 262048 w 569816"/>
              <a:gd name="connsiteY38" fmla="*/ 284908 h 831865"/>
              <a:gd name="connsiteX39" fmla="*/ 284908 w 569816"/>
              <a:gd name="connsiteY39" fmla="*/ 262048 h 831865"/>
              <a:gd name="connsiteX40" fmla="*/ 22860 w 569816"/>
              <a:gd name="connsiteY40" fmla="*/ 262048 h 831865"/>
              <a:gd name="connsiteX41" fmla="*/ 45719 w 569816"/>
              <a:gd name="connsiteY41" fmla="*/ 284908 h 831865"/>
              <a:gd name="connsiteX42" fmla="*/ 22860 w 569816"/>
              <a:gd name="connsiteY42" fmla="*/ 307767 h 831865"/>
              <a:gd name="connsiteX43" fmla="*/ 0 w 569816"/>
              <a:gd name="connsiteY43" fmla="*/ 284908 h 831865"/>
              <a:gd name="connsiteX44" fmla="*/ 22860 w 569816"/>
              <a:gd name="connsiteY44" fmla="*/ 262048 h 831865"/>
              <a:gd name="connsiteX45" fmla="*/ 546957 w 569816"/>
              <a:gd name="connsiteY45" fmla="*/ 0 h 831865"/>
              <a:gd name="connsiteX46" fmla="*/ 569816 w 569816"/>
              <a:gd name="connsiteY46" fmla="*/ 22860 h 831865"/>
              <a:gd name="connsiteX47" fmla="*/ 546957 w 569816"/>
              <a:gd name="connsiteY47" fmla="*/ 45719 h 831865"/>
              <a:gd name="connsiteX48" fmla="*/ 524097 w 569816"/>
              <a:gd name="connsiteY48" fmla="*/ 22860 h 831865"/>
              <a:gd name="connsiteX49" fmla="*/ 546957 w 569816"/>
              <a:gd name="connsiteY49" fmla="*/ 0 h 831865"/>
              <a:gd name="connsiteX50" fmla="*/ 284908 w 569816"/>
              <a:gd name="connsiteY50" fmla="*/ 0 h 831865"/>
              <a:gd name="connsiteX51" fmla="*/ 307767 w 569816"/>
              <a:gd name="connsiteY51" fmla="*/ 22860 h 831865"/>
              <a:gd name="connsiteX52" fmla="*/ 284908 w 569816"/>
              <a:gd name="connsiteY52" fmla="*/ 45719 h 831865"/>
              <a:gd name="connsiteX53" fmla="*/ 262048 w 569816"/>
              <a:gd name="connsiteY53" fmla="*/ 22860 h 831865"/>
              <a:gd name="connsiteX54" fmla="*/ 284908 w 569816"/>
              <a:gd name="connsiteY54" fmla="*/ 0 h 831865"/>
              <a:gd name="connsiteX55" fmla="*/ 22860 w 569816"/>
              <a:gd name="connsiteY55" fmla="*/ 0 h 831865"/>
              <a:gd name="connsiteX56" fmla="*/ 45719 w 569816"/>
              <a:gd name="connsiteY56" fmla="*/ 22860 h 831865"/>
              <a:gd name="connsiteX57" fmla="*/ 22860 w 569816"/>
              <a:gd name="connsiteY57" fmla="*/ 45719 h 831865"/>
              <a:gd name="connsiteX58" fmla="*/ 0 w 569816"/>
              <a:gd name="connsiteY58" fmla="*/ 22860 h 831865"/>
              <a:gd name="connsiteX59" fmla="*/ 22860 w 569816"/>
              <a:gd name="connsiteY59" fmla="*/ 0 h 831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569816" h="831865">
                <a:moveTo>
                  <a:pt x="546957" y="786146"/>
                </a:moveTo>
                <a:cubicBezTo>
                  <a:pt x="559582" y="786146"/>
                  <a:pt x="569816" y="796380"/>
                  <a:pt x="569816" y="809006"/>
                </a:cubicBezTo>
                <a:cubicBezTo>
                  <a:pt x="569816" y="821631"/>
                  <a:pt x="559582" y="831865"/>
                  <a:pt x="546957" y="831865"/>
                </a:cubicBezTo>
                <a:cubicBezTo>
                  <a:pt x="534332" y="831865"/>
                  <a:pt x="524097" y="821631"/>
                  <a:pt x="524097" y="809006"/>
                </a:cubicBezTo>
                <a:cubicBezTo>
                  <a:pt x="524097" y="796380"/>
                  <a:pt x="534332" y="786146"/>
                  <a:pt x="546957" y="786146"/>
                </a:cubicBezTo>
                <a:close/>
                <a:moveTo>
                  <a:pt x="284908" y="786146"/>
                </a:moveTo>
                <a:cubicBezTo>
                  <a:pt x="297533" y="786146"/>
                  <a:pt x="307767" y="796380"/>
                  <a:pt x="307767" y="809006"/>
                </a:cubicBezTo>
                <a:cubicBezTo>
                  <a:pt x="307767" y="821631"/>
                  <a:pt x="297533" y="831865"/>
                  <a:pt x="284908" y="831865"/>
                </a:cubicBezTo>
                <a:cubicBezTo>
                  <a:pt x="272283" y="831865"/>
                  <a:pt x="262048" y="821631"/>
                  <a:pt x="262048" y="809006"/>
                </a:cubicBezTo>
                <a:cubicBezTo>
                  <a:pt x="262048" y="796380"/>
                  <a:pt x="272283" y="786146"/>
                  <a:pt x="284908" y="786146"/>
                </a:cubicBezTo>
                <a:close/>
                <a:moveTo>
                  <a:pt x="22860" y="786146"/>
                </a:moveTo>
                <a:cubicBezTo>
                  <a:pt x="35485" y="786146"/>
                  <a:pt x="45719" y="796380"/>
                  <a:pt x="45719" y="809006"/>
                </a:cubicBezTo>
                <a:cubicBezTo>
                  <a:pt x="45719" y="821631"/>
                  <a:pt x="35485" y="831865"/>
                  <a:pt x="22860" y="831865"/>
                </a:cubicBezTo>
                <a:cubicBezTo>
                  <a:pt x="10235" y="831865"/>
                  <a:pt x="0" y="821631"/>
                  <a:pt x="0" y="809006"/>
                </a:cubicBezTo>
                <a:cubicBezTo>
                  <a:pt x="0" y="796380"/>
                  <a:pt x="10235" y="786146"/>
                  <a:pt x="22860" y="786146"/>
                </a:cubicBezTo>
                <a:close/>
                <a:moveTo>
                  <a:pt x="546957" y="524097"/>
                </a:moveTo>
                <a:cubicBezTo>
                  <a:pt x="559582" y="524097"/>
                  <a:pt x="569816" y="534331"/>
                  <a:pt x="569816" y="546957"/>
                </a:cubicBezTo>
                <a:cubicBezTo>
                  <a:pt x="569816" y="559582"/>
                  <a:pt x="559582" y="569816"/>
                  <a:pt x="546957" y="569816"/>
                </a:cubicBezTo>
                <a:cubicBezTo>
                  <a:pt x="534332" y="569816"/>
                  <a:pt x="524097" y="559582"/>
                  <a:pt x="524097" y="546957"/>
                </a:cubicBezTo>
                <a:cubicBezTo>
                  <a:pt x="524097" y="534331"/>
                  <a:pt x="534332" y="524097"/>
                  <a:pt x="546957" y="524097"/>
                </a:cubicBezTo>
                <a:close/>
                <a:moveTo>
                  <a:pt x="284908" y="524097"/>
                </a:moveTo>
                <a:cubicBezTo>
                  <a:pt x="297533" y="524097"/>
                  <a:pt x="307767" y="534331"/>
                  <a:pt x="307767" y="546957"/>
                </a:cubicBezTo>
                <a:cubicBezTo>
                  <a:pt x="307767" y="559582"/>
                  <a:pt x="297533" y="569816"/>
                  <a:pt x="284908" y="569816"/>
                </a:cubicBezTo>
                <a:cubicBezTo>
                  <a:pt x="272283" y="569816"/>
                  <a:pt x="262048" y="559582"/>
                  <a:pt x="262048" y="546957"/>
                </a:cubicBezTo>
                <a:cubicBezTo>
                  <a:pt x="262048" y="534331"/>
                  <a:pt x="272283" y="524097"/>
                  <a:pt x="284908" y="524097"/>
                </a:cubicBezTo>
                <a:close/>
                <a:moveTo>
                  <a:pt x="22860" y="524097"/>
                </a:moveTo>
                <a:cubicBezTo>
                  <a:pt x="35485" y="524097"/>
                  <a:pt x="45719" y="534331"/>
                  <a:pt x="45719" y="546957"/>
                </a:cubicBezTo>
                <a:cubicBezTo>
                  <a:pt x="45719" y="559582"/>
                  <a:pt x="35485" y="569816"/>
                  <a:pt x="22860" y="569816"/>
                </a:cubicBezTo>
                <a:cubicBezTo>
                  <a:pt x="10235" y="569816"/>
                  <a:pt x="0" y="559582"/>
                  <a:pt x="0" y="546957"/>
                </a:cubicBezTo>
                <a:cubicBezTo>
                  <a:pt x="0" y="534331"/>
                  <a:pt x="10235" y="524097"/>
                  <a:pt x="22860" y="524097"/>
                </a:cubicBezTo>
                <a:close/>
                <a:moveTo>
                  <a:pt x="546957" y="262048"/>
                </a:moveTo>
                <a:cubicBezTo>
                  <a:pt x="559582" y="262048"/>
                  <a:pt x="569816" y="272282"/>
                  <a:pt x="569816" y="284908"/>
                </a:cubicBezTo>
                <a:cubicBezTo>
                  <a:pt x="569816" y="297533"/>
                  <a:pt x="559582" y="307767"/>
                  <a:pt x="546957" y="307767"/>
                </a:cubicBezTo>
                <a:cubicBezTo>
                  <a:pt x="534332" y="307767"/>
                  <a:pt x="524097" y="297533"/>
                  <a:pt x="524097" y="284908"/>
                </a:cubicBezTo>
                <a:cubicBezTo>
                  <a:pt x="524097" y="272282"/>
                  <a:pt x="534332" y="262048"/>
                  <a:pt x="546957" y="262048"/>
                </a:cubicBezTo>
                <a:close/>
                <a:moveTo>
                  <a:pt x="284908" y="262048"/>
                </a:moveTo>
                <a:cubicBezTo>
                  <a:pt x="297533" y="262048"/>
                  <a:pt x="307767" y="272282"/>
                  <a:pt x="307767" y="284908"/>
                </a:cubicBezTo>
                <a:cubicBezTo>
                  <a:pt x="307767" y="297533"/>
                  <a:pt x="297533" y="307767"/>
                  <a:pt x="284908" y="307767"/>
                </a:cubicBezTo>
                <a:cubicBezTo>
                  <a:pt x="272283" y="307767"/>
                  <a:pt x="262048" y="297533"/>
                  <a:pt x="262048" y="284908"/>
                </a:cubicBezTo>
                <a:cubicBezTo>
                  <a:pt x="262048" y="272282"/>
                  <a:pt x="272283" y="262048"/>
                  <a:pt x="284908" y="262048"/>
                </a:cubicBezTo>
                <a:close/>
                <a:moveTo>
                  <a:pt x="22860" y="262048"/>
                </a:moveTo>
                <a:cubicBezTo>
                  <a:pt x="35485" y="262048"/>
                  <a:pt x="45719" y="272282"/>
                  <a:pt x="45719" y="284908"/>
                </a:cubicBezTo>
                <a:cubicBezTo>
                  <a:pt x="45719" y="297533"/>
                  <a:pt x="35485" y="307767"/>
                  <a:pt x="22860" y="307767"/>
                </a:cubicBezTo>
                <a:cubicBezTo>
                  <a:pt x="10235" y="307767"/>
                  <a:pt x="0" y="297533"/>
                  <a:pt x="0" y="284908"/>
                </a:cubicBezTo>
                <a:cubicBezTo>
                  <a:pt x="0" y="272282"/>
                  <a:pt x="10235" y="262048"/>
                  <a:pt x="22860" y="262048"/>
                </a:cubicBezTo>
                <a:close/>
                <a:moveTo>
                  <a:pt x="546957" y="0"/>
                </a:moveTo>
                <a:cubicBezTo>
                  <a:pt x="559582" y="0"/>
                  <a:pt x="569816" y="10234"/>
                  <a:pt x="569816" y="22860"/>
                </a:cubicBezTo>
                <a:cubicBezTo>
                  <a:pt x="569816" y="35485"/>
                  <a:pt x="559582" y="45719"/>
                  <a:pt x="546957" y="45719"/>
                </a:cubicBezTo>
                <a:cubicBezTo>
                  <a:pt x="534332" y="45719"/>
                  <a:pt x="524097" y="35485"/>
                  <a:pt x="524097" y="22860"/>
                </a:cubicBezTo>
                <a:cubicBezTo>
                  <a:pt x="524097" y="10234"/>
                  <a:pt x="534332" y="0"/>
                  <a:pt x="546957" y="0"/>
                </a:cubicBezTo>
                <a:close/>
                <a:moveTo>
                  <a:pt x="284908" y="0"/>
                </a:moveTo>
                <a:cubicBezTo>
                  <a:pt x="297533" y="0"/>
                  <a:pt x="307767" y="10234"/>
                  <a:pt x="307767" y="22860"/>
                </a:cubicBezTo>
                <a:cubicBezTo>
                  <a:pt x="307767" y="35485"/>
                  <a:pt x="297533" y="45719"/>
                  <a:pt x="284908" y="45719"/>
                </a:cubicBezTo>
                <a:cubicBezTo>
                  <a:pt x="272283" y="45719"/>
                  <a:pt x="262048" y="35485"/>
                  <a:pt x="262048" y="22860"/>
                </a:cubicBezTo>
                <a:cubicBezTo>
                  <a:pt x="262048" y="10234"/>
                  <a:pt x="272283" y="0"/>
                  <a:pt x="284908" y="0"/>
                </a:cubicBezTo>
                <a:close/>
                <a:moveTo>
                  <a:pt x="22860" y="0"/>
                </a:moveTo>
                <a:cubicBezTo>
                  <a:pt x="35485" y="0"/>
                  <a:pt x="45719" y="10234"/>
                  <a:pt x="45719" y="22860"/>
                </a:cubicBezTo>
                <a:cubicBezTo>
                  <a:pt x="45719" y="35485"/>
                  <a:pt x="35485" y="45719"/>
                  <a:pt x="22860" y="45719"/>
                </a:cubicBezTo>
                <a:cubicBezTo>
                  <a:pt x="10235" y="45719"/>
                  <a:pt x="0" y="35485"/>
                  <a:pt x="0" y="22860"/>
                </a:cubicBezTo>
                <a:cubicBezTo>
                  <a:pt x="0" y="10234"/>
                  <a:pt x="10235" y="0"/>
                  <a:pt x="22860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645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62" name="Rectangle: Rounded Corners 28">
            <a:extLst>
              <a:ext uri="{FF2B5EF4-FFF2-40B4-BE49-F238E27FC236}">
                <a16:creationId xmlns:a16="http://schemas.microsoft.com/office/drawing/2014/main" id="{B6C26415-AD42-DE53-D888-4832144596AC}"/>
              </a:ext>
            </a:extLst>
          </p:cNvPr>
          <p:cNvSpPr/>
          <p:nvPr/>
        </p:nvSpPr>
        <p:spPr>
          <a:xfrm>
            <a:off x="5547534" y="4900593"/>
            <a:ext cx="5690435" cy="548640"/>
          </a:xfrm>
          <a:prstGeom prst="roundRect">
            <a:avLst>
              <a:gd name="adj" fmla="val 20834"/>
            </a:avLst>
          </a:prstGeom>
          <a:solidFill>
            <a:schemeClr val="bg1">
              <a:alpha val="60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Rectangle: Rounded Corners 14">
            <a:extLst>
              <a:ext uri="{FF2B5EF4-FFF2-40B4-BE49-F238E27FC236}">
                <a16:creationId xmlns:a16="http://schemas.microsoft.com/office/drawing/2014/main" id="{5186FBC6-6407-5FF6-A204-D9B01EF001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54601" y="2960227"/>
            <a:ext cx="6181665" cy="2272193"/>
          </a:xfrm>
          <a:prstGeom prst="roundRect">
            <a:avLst>
              <a:gd name="adj" fmla="val 3639"/>
            </a:avLst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Prostokąt: zaokrąglone rogi u góry 1">
            <a:extLst>
              <a:ext uri="{FF2B5EF4-FFF2-40B4-BE49-F238E27FC236}">
                <a16:creationId xmlns:a16="http://schemas.microsoft.com/office/drawing/2014/main" id="{2CF0601E-996B-0F6E-0FC4-45AFD22262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5400000">
            <a:off x="-3102429" y="3102428"/>
            <a:ext cx="6858000" cy="653143"/>
          </a:xfrm>
          <a:prstGeom prst="round2SameRect">
            <a:avLst>
              <a:gd name="adj1" fmla="val 16559"/>
              <a:gd name="adj2" fmla="val 0"/>
            </a:avLst>
          </a:prstGeom>
          <a:solidFill>
            <a:srgbClr val="FFFFFF"/>
          </a:solidFill>
          <a:ln>
            <a:noFill/>
          </a:ln>
          <a:effectLst>
            <a:outerShdw blurRad="952500" dist="215900" algn="l" rotWithShape="0">
              <a:schemeClr val="accent1">
                <a:lumMod val="50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27FD0282-AAA7-99D3-A8F3-4D13F50991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170771" y="6086174"/>
            <a:ext cx="994685" cy="306414"/>
          </a:xfrm>
          <a:prstGeom prst="rect">
            <a:avLst/>
          </a:prstGeom>
        </p:spPr>
      </p:pic>
      <p:pic>
        <p:nvPicPr>
          <p:cNvPr id="24" name="Obraz 4">
            <a:hlinkClick r:id="rId4" action="ppaction://hlinksldjump"/>
            <a:extLst>
              <a:ext uri="{FF2B5EF4-FFF2-40B4-BE49-F238E27FC236}">
                <a16:creationId xmlns:a16="http://schemas.microsoft.com/office/drawing/2014/main" id="{B4F576B0-5A53-247E-B85C-44BEACCA31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571" y="230592"/>
            <a:ext cx="548771" cy="305640"/>
          </a:xfrm>
          <a:prstGeom prst="rect">
            <a:avLst/>
          </a:prstGeom>
        </p:spPr>
      </p:pic>
      <p:sp>
        <p:nvSpPr>
          <p:cNvPr id="26" name="pole tekstowe 25">
            <a:extLst>
              <a:ext uri="{FF2B5EF4-FFF2-40B4-BE49-F238E27FC236}">
                <a16:creationId xmlns:a16="http://schemas.microsoft.com/office/drawing/2014/main" id="{59B06A73-DF3F-4639-8B57-817A87E965C0}"/>
              </a:ext>
            </a:extLst>
          </p:cNvPr>
          <p:cNvSpPr txBox="1"/>
          <p:nvPr/>
        </p:nvSpPr>
        <p:spPr>
          <a:xfrm>
            <a:off x="2752045" y="261366"/>
            <a:ext cx="747848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Fredoka Medium" pitchFamily="2" charset="-79"/>
              </a:rPr>
              <a:t>Porozmawiajmy</a:t>
            </a:r>
            <a:endParaRPr kumimoji="0" lang="pl-PL" sz="3200" b="0" i="0" u="none" strike="noStrike" kern="1200" cap="none" spc="0" normalizeH="0" baseline="0" noProof="0">
              <a:ln>
                <a:noFill/>
              </a:ln>
              <a:solidFill>
                <a:srgbClr val="D61B6B"/>
              </a:solidFill>
              <a:effectLst/>
              <a:uLnTx/>
              <a:uFillTx/>
              <a:latin typeface="Roboto Light"/>
              <a:ea typeface="Roboto Black" panose="02000000000000000000" pitchFamily="2" charset="0"/>
              <a:cs typeface="Fredoka Medium" pitchFamily="2" charset="-79"/>
            </a:endParaRPr>
          </a:p>
        </p:txBody>
      </p:sp>
      <p:sp>
        <p:nvSpPr>
          <p:cNvPr id="47" name="Graphic 49">
            <a:extLst>
              <a:ext uri="{FF2B5EF4-FFF2-40B4-BE49-F238E27FC236}">
                <a16:creationId xmlns:a16="http://schemas.microsoft.com/office/drawing/2014/main" id="{B2FFC8BD-8B83-5CD8-F8FD-B8FEEC9E63EE}"/>
              </a:ext>
            </a:extLst>
          </p:cNvPr>
          <p:cNvSpPr/>
          <p:nvPr/>
        </p:nvSpPr>
        <p:spPr>
          <a:xfrm rot="8034159">
            <a:off x="4313284" y="905743"/>
            <a:ext cx="774324" cy="715551"/>
          </a:xfrm>
          <a:custGeom>
            <a:avLst/>
            <a:gdLst>
              <a:gd name="connsiteX0" fmla="*/ -429 w 718318"/>
              <a:gd name="connsiteY0" fmla="*/ 697770 h 698277"/>
              <a:gd name="connsiteX1" fmla="*/ 717089 w 718318"/>
              <a:gd name="connsiteY1" fmla="*/ -507 h 698277"/>
              <a:gd name="connsiteX0" fmla="*/ 0 w 704320"/>
              <a:gd name="connsiteY0" fmla="*/ 691271 h 691271"/>
              <a:gd name="connsiteX1" fmla="*/ 703505 w 704320"/>
              <a:gd name="connsiteY1" fmla="*/ 0 h 691271"/>
              <a:gd name="connsiteX0" fmla="*/ 0 w 697321"/>
              <a:gd name="connsiteY0" fmla="*/ 684265 h 684265"/>
              <a:gd name="connsiteX1" fmla="*/ 696499 w 697321"/>
              <a:gd name="connsiteY1" fmla="*/ 0 h 684265"/>
              <a:gd name="connsiteX0" fmla="*/ 0 w 777373"/>
              <a:gd name="connsiteY0" fmla="*/ 684265 h 718368"/>
              <a:gd name="connsiteX1" fmla="*/ 696499 w 777373"/>
              <a:gd name="connsiteY1" fmla="*/ 0 h 71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77373" h="718368">
                <a:moveTo>
                  <a:pt x="0" y="684265"/>
                </a:moveTo>
                <a:cubicBezTo>
                  <a:pt x="0" y="684265"/>
                  <a:pt x="1075388" y="949610"/>
                  <a:pt x="696499" y="0"/>
                </a:cubicBezTo>
              </a:path>
            </a:pathLst>
          </a:custGeom>
          <a:noFill/>
          <a:ln w="25400" cap="rnd">
            <a:solidFill>
              <a:srgbClr val="F8CEE0"/>
            </a:solidFill>
            <a:prstDash val="solid"/>
            <a:round/>
            <a:tailEnd type="arrow" w="med" len="sm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29" name="Google Shape;821;p15">
            <a:extLst>
              <a:ext uri="{FF2B5EF4-FFF2-40B4-BE49-F238E27FC236}">
                <a16:creationId xmlns:a16="http://schemas.microsoft.com/office/drawing/2014/main" id="{BA14BFB3-8A14-AF1C-902D-80C7DBAF8824}"/>
              </a:ext>
            </a:extLst>
          </p:cNvPr>
          <p:cNvSpPr txBox="1"/>
          <p:nvPr/>
        </p:nvSpPr>
        <p:spPr>
          <a:xfrm>
            <a:off x="1549486" y="4789626"/>
            <a:ext cx="2737775" cy="8771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2000" b="1" i="0" u="none" strike="noStrike" kern="0" cap="none" spc="0" normalizeH="0" baseline="0" noProof="0">
                <a:ln>
                  <a:noFill/>
                </a:ln>
                <a:solidFill>
                  <a:srgbClr val="D61B6B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Mukta Bold"/>
                <a:sym typeface="Mukta"/>
              </a:rPr>
              <a:t>Imię i Nazwisko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pl-PL" sz="14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Roboto" panose="02000000000000000000" pitchFamily="2" charset="0"/>
                <a:cs typeface="Mukta Regular"/>
                <a:sym typeface="Mukta"/>
              </a:rPr>
              <a:t>Stanowisko</a:t>
            </a:r>
            <a:endParaRPr kumimoji="0" sz="10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Roboto" panose="02000000000000000000" pitchFamily="2" charset="0"/>
              <a:cs typeface="Arial"/>
              <a:sym typeface="Arial"/>
            </a:endParaRPr>
          </a:p>
        </p:txBody>
      </p:sp>
      <p:sp>
        <p:nvSpPr>
          <p:cNvPr id="30" name="Google Shape;804;p15">
            <a:extLst>
              <a:ext uri="{FF2B5EF4-FFF2-40B4-BE49-F238E27FC236}">
                <a16:creationId xmlns:a16="http://schemas.microsoft.com/office/drawing/2014/main" id="{9C129820-5ADD-D53C-13E4-DC334E3A5A89}"/>
              </a:ext>
            </a:extLst>
          </p:cNvPr>
          <p:cNvSpPr txBox="1"/>
          <p:nvPr/>
        </p:nvSpPr>
        <p:spPr>
          <a:xfrm>
            <a:off x="4642810" y="1487507"/>
            <a:ext cx="7097121" cy="9232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Roboto Light"/>
                <a:ea typeface="Roboto" panose="02000000000000000000" pitchFamily="2" charset="0"/>
                <a:cs typeface="Mukta Regular"/>
                <a:sym typeface="Mukta"/>
              </a:rPr>
              <a:t>Chcesz dowiedzieć się więcej na temat narzędzia lub współpracy?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Roboto" panose="02000000000000000000" pitchFamily="2" charset="0"/>
              <a:cs typeface="Arial"/>
              <a:sym typeface="Arial"/>
            </a:endParaRPr>
          </a:p>
          <a:p>
            <a:pPr marL="0" marR="0" lvl="0" indent="0" algn="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1800" b="0" i="0" u="none" strike="noStrike" kern="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Roboto Light"/>
                <a:ea typeface="Roboto" panose="02000000000000000000" pitchFamily="2" charset="0"/>
                <a:cs typeface="Mukta Regular"/>
                <a:sym typeface="Mukta"/>
              </a:rPr>
              <a:t>Skontaktuj się ze mną!</a:t>
            </a:r>
            <a:endParaRPr kumimoji="0" lang="pl-PL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 Light"/>
              <a:ea typeface="Roboto" panose="02000000000000000000" pitchFamily="2" charset="0"/>
              <a:cs typeface="Arial"/>
              <a:sym typeface="Arial"/>
            </a:endParaRPr>
          </a:p>
        </p:txBody>
      </p:sp>
      <p:grpSp>
        <p:nvGrpSpPr>
          <p:cNvPr id="53" name="Grupa 52">
            <a:extLst>
              <a:ext uri="{FF2B5EF4-FFF2-40B4-BE49-F238E27FC236}">
                <a16:creationId xmlns:a16="http://schemas.microsoft.com/office/drawing/2014/main" id="{0E9047D4-64A6-D243-3960-78631EF4E635}"/>
              </a:ext>
            </a:extLst>
          </p:cNvPr>
          <p:cNvGrpSpPr/>
          <p:nvPr/>
        </p:nvGrpSpPr>
        <p:grpSpPr>
          <a:xfrm>
            <a:off x="5641837" y="3136367"/>
            <a:ext cx="452510" cy="452510"/>
            <a:chOff x="9569160" y="1904167"/>
            <a:chExt cx="738012" cy="738012"/>
          </a:xfrm>
        </p:grpSpPr>
        <p:sp>
          <p:nvSpPr>
            <p:cNvPr id="58" name="Rectangle: Rounded Corners 29">
              <a:extLst>
                <a:ext uri="{FF2B5EF4-FFF2-40B4-BE49-F238E27FC236}">
                  <a16:creationId xmlns:a16="http://schemas.microsoft.com/office/drawing/2014/main" id="{D5436DD0-1FD4-4E05-031B-96908F7D244C}"/>
                </a:ext>
              </a:extLst>
            </p:cNvPr>
            <p:cNvSpPr/>
            <p:nvPr/>
          </p:nvSpPr>
          <p:spPr>
            <a:xfrm>
              <a:off x="9569160" y="1904167"/>
              <a:ext cx="738012" cy="738012"/>
            </a:xfrm>
            <a:prstGeom prst="roundRect">
              <a:avLst/>
            </a:prstGeom>
            <a:solidFill>
              <a:srgbClr val="F8CEE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59" name="Rectangle: Rounded Corners 30">
              <a:extLst>
                <a:ext uri="{FF2B5EF4-FFF2-40B4-BE49-F238E27FC236}">
                  <a16:creationId xmlns:a16="http://schemas.microsoft.com/office/drawing/2014/main" id="{618AC9FE-7576-5D1F-C089-A2F4D69C5AF2}"/>
                </a:ext>
              </a:extLst>
            </p:cNvPr>
            <p:cNvSpPr/>
            <p:nvPr/>
          </p:nvSpPr>
          <p:spPr>
            <a:xfrm>
              <a:off x="9663846" y="1998853"/>
              <a:ext cx="548640" cy="548640"/>
            </a:xfrm>
            <a:prstGeom prst="roundRect">
              <a:avLst/>
            </a:prstGeom>
            <a:solidFill>
              <a:srgbClr val="F8CE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sp>
        <p:nvSpPr>
          <p:cNvPr id="35" name="Google Shape;809;p15">
            <a:extLst>
              <a:ext uri="{FF2B5EF4-FFF2-40B4-BE49-F238E27FC236}">
                <a16:creationId xmlns:a16="http://schemas.microsoft.com/office/drawing/2014/main" id="{CAA5032A-5D96-F578-EE2F-840D89C371DA}"/>
              </a:ext>
            </a:extLst>
          </p:cNvPr>
          <p:cNvSpPr/>
          <p:nvPr/>
        </p:nvSpPr>
        <p:spPr>
          <a:xfrm>
            <a:off x="5765368" y="3144567"/>
            <a:ext cx="5164343" cy="438653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spcFirstLastPara="1" wrap="square" lIns="468000" tIns="45700" rIns="0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000 000 000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Roboto" panose="02000000000000000000" pitchFamily="2" charset="0"/>
              <a:cs typeface="Arial"/>
              <a:sym typeface="Arial"/>
            </a:endParaRPr>
          </a:p>
        </p:txBody>
      </p:sp>
      <p:grpSp>
        <p:nvGrpSpPr>
          <p:cNvPr id="100" name="Grupa 99">
            <a:extLst>
              <a:ext uri="{FF2B5EF4-FFF2-40B4-BE49-F238E27FC236}">
                <a16:creationId xmlns:a16="http://schemas.microsoft.com/office/drawing/2014/main" id="{EAAC1BD4-1A9F-26F1-8806-014DB01D314B}"/>
              </a:ext>
            </a:extLst>
          </p:cNvPr>
          <p:cNvGrpSpPr/>
          <p:nvPr/>
        </p:nvGrpSpPr>
        <p:grpSpPr>
          <a:xfrm>
            <a:off x="5792492" y="3236622"/>
            <a:ext cx="151200" cy="252000"/>
            <a:chOff x="4784495" y="3861076"/>
            <a:chExt cx="151200" cy="252000"/>
          </a:xfrm>
        </p:grpSpPr>
        <p:sp>
          <p:nvSpPr>
            <p:cNvPr id="89" name="Dowolny kształt: kształt 88">
              <a:extLst>
                <a:ext uri="{FF2B5EF4-FFF2-40B4-BE49-F238E27FC236}">
                  <a16:creationId xmlns:a16="http://schemas.microsoft.com/office/drawing/2014/main" id="{4C36B00C-ECCD-2186-19B1-F2964468D01F}"/>
                </a:ext>
              </a:extLst>
            </p:cNvPr>
            <p:cNvSpPr/>
            <p:nvPr/>
          </p:nvSpPr>
          <p:spPr>
            <a:xfrm>
              <a:off x="4784495" y="3861076"/>
              <a:ext cx="151200" cy="252000"/>
            </a:xfrm>
            <a:custGeom>
              <a:avLst/>
              <a:gdLst>
                <a:gd name="connsiteX0" fmla="*/ 126000 w 151200"/>
                <a:gd name="connsiteY0" fmla="*/ 0 h 252000"/>
                <a:gd name="connsiteX1" fmla="*/ 25200 w 151200"/>
                <a:gd name="connsiteY1" fmla="*/ 0 h 252000"/>
                <a:gd name="connsiteX2" fmla="*/ 0 w 151200"/>
                <a:gd name="connsiteY2" fmla="*/ 25200 h 252000"/>
                <a:gd name="connsiteX3" fmla="*/ 0 w 151200"/>
                <a:gd name="connsiteY3" fmla="*/ 226800 h 252000"/>
                <a:gd name="connsiteX4" fmla="*/ 25200 w 151200"/>
                <a:gd name="connsiteY4" fmla="*/ 252000 h 252000"/>
                <a:gd name="connsiteX5" fmla="*/ 126000 w 151200"/>
                <a:gd name="connsiteY5" fmla="*/ 252000 h 252000"/>
                <a:gd name="connsiteX6" fmla="*/ 151200 w 151200"/>
                <a:gd name="connsiteY6" fmla="*/ 226800 h 252000"/>
                <a:gd name="connsiteX7" fmla="*/ 151200 w 151200"/>
                <a:gd name="connsiteY7" fmla="*/ 25200 h 252000"/>
                <a:gd name="connsiteX8" fmla="*/ 126000 w 151200"/>
                <a:gd name="connsiteY8" fmla="*/ 0 h 252000"/>
                <a:gd name="connsiteX9" fmla="*/ 141120 w 151200"/>
                <a:gd name="connsiteY9" fmla="*/ 226800 h 252000"/>
                <a:gd name="connsiteX10" fmla="*/ 126000 w 151200"/>
                <a:gd name="connsiteY10" fmla="*/ 241920 h 252000"/>
                <a:gd name="connsiteX11" fmla="*/ 25200 w 151200"/>
                <a:gd name="connsiteY11" fmla="*/ 241920 h 252000"/>
                <a:gd name="connsiteX12" fmla="*/ 10080 w 151200"/>
                <a:gd name="connsiteY12" fmla="*/ 226800 h 252000"/>
                <a:gd name="connsiteX13" fmla="*/ 10080 w 151200"/>
                <a:gd name="connsiteY13" fmla="*/ 25200 h 252000"/>
                <a:gd name="connsiteX14" fmla="*/ 25200 w 151200"/>
                <a:gd name="connsiteY14" fmla="*/ 10080 h 252000"/>
                <a:gd name="connsiteX15" fmla="*/ 126000 w 151200"/>
                <a:gd name="connsiteY15" fmla="*/ 10080 h 252000"/>
                <a:gd name="connsiteX16" fmla="*/ 141120 w 151200"/>
                <a:gd name="connsiteY16" fmla="*/ 25200 h 252000"/>
                <a:gd name="connsiteX17" fmla="*/ 141120 w 151200"/>
                <a:gd name="connsiteY17" fmla="*/ 226800 h 25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1200" h="252000">
                  <a:moveTo>
                    <a:pt x="126000" y="0"/>
                  </a:moveTo>
                  <a:lnTo>
                    <a:pt x="25200" y="0"/>
                  </a:lnTo>
                  <a:cubicBezTo>
                    <a:pt x="11310" y="0"/>
                    <a:pt x="0" y="11310"/>
                    <a:pt x="0" y="25200"/>
                  </a:cubicBezTo>
                  <a:lnTo>
                    <a:pt x="0" y="226800"/>
                  </a:lnTo>
                  <a:cubicBezTo>
                    <a:pt x="0" y="240700"/>
                    <a:pt x="11310" y="252000"/>
                    <a:pt x="25200" y="252000"/>
                  </a:cubicBezTo>
                  <a:lnTo>
                    <a:pt x="126000" y="252000"/>
                  </a:lnTo>
                  <a:cubicBezTo>
                    <a:pt x="139900" y="252000"/>
                    <a:pt x="151200" y="240700"/>
                    <a:pt x="151200" y="226800"/>
                  </a:cubicBezTo>
                  <a:lnTo>
                    <a:pt x="151200" y="25200"/>
                  </a:lnTo>
                  <a:cubicBezTo>
                    <a:pt x="151200" y="11310"/>
                    <a:pt x="139900" y="0"/>
                    <a:pt x="126000" y="0"/>
                  </a:cubicBezTo>
                  <a:close/>
                  <a:moveTo>
                    <a:pt x="141120" y="226800"/>
                  </a:moveTo>
                  <a:cubicBezTo>
                    <a:pt x="141120" y="235136"/>
                    <a:pt x="134336" y="241920"/>
                    <a:pt x="126000" y="241920"/>
                  </a:cubicBezTo>
                  <a:lnTo>
                    <a:pt x="25200" y="241920"/>
                  </a:lnTo>
                  <a:cubicBezTo>
                    <a:pt x="16864" y="241920"/>
                    <a:pt x="10080" y="235136"/>
                    <a:pt x="10080" y="226800"/>
                  </a:cubicBezTo>
                  <a:lnTo>
                    <a:pt x="10080" y="25200"/>
                  </a:lnTo>
                  <a:cubicBezTo>
                    <a:pt x="10080" y="16864"/>
                    <a:pt x="16864" y="10080"/>
                    <a:pt x="25200" y="10080"/>
                  </a:cubicBezTo>
                  <a:lnTo>
                    <a:pt x="126000" y="10080"/>
                  </a:lnTo>
                  <a:cubicBezTo>
                    <a:pt x="134336" y="10080"/>
                    <a:pt x="141120" y="16864"/>
                    <a:pt x="141120" y="25200"/>
                  </a:cubicBezTo>
                  <a:lnTo>
                    <a:pt x="141120" y="226800"/>
                  </a:lnTo>
                  <a:close/>
                </a:path>
              </a:pathLst>
            </a:custGeom>
            <a:solidFill>
              <a:srgbClr val="D7397E"/>
            </a:solidFill>
            <a:ln w="484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95" name="Dowolny kształt: kształt 94">
              <a:extLst>
                <a:ext uri="{FF2B5EF4-FFF2-40B4-BE49-F238E27FC236}">
                  <a16:creationId xmlns:a16="http://schemas.microsoft.com/office/drawing/2014/main" id="{C101F308-D602-94D3-0194-A6FD4D984035}"/>
                </a:ext>
              </a:extLst>
            </p:cNvPr>
            <p:cNvSpPr/>
            <p:nvPr/>
          </p:nvSpPr>
          <p:spPr>
            <a:xfrm>
              <a:off x="4844974" y="3881235"/>
              <a:ext cx="30240" cy="10079"/>
            </a:xfrm>
            <a:custGeom>
              <a:avLst/>
              <a:gdLst>
                <a:gd name="connsiteX0" fmla="*/ 25200 w 30240"/>
                <a:gd name="connsiteY0" fmla="*/ 0 h 10079"/>
                <a:gd name="connsiteX1" fmla="*/ 5040 w 30240"/>
                <a:gd name="connsiteY1" fmla="*/ 0 h 10079"/>
                <a:gd name="connsiteX2" fmla="*/ 0 w 30240"/>
                <a:gd name="connsiteY2" fmla="*/ 5040 h 10079"/>
                <a:gd name="connsiteX3" fmla="*/ 5040 w 30240"/>
                <a:gd name="connsiteY3" fmla="*/ 10080 h 10079"/>
                <a:gd name="connsiteX4" fmla="*/ 25200 w 30240"/>
                <a:gd name="connsiteY4" fmla="*/ 10080 h 10079"/>
                <a:gd name="connsiteX5" fmla="*/ 30240 w 30240"/>
                <a:gd name="connsiteY5" fmla="*/ 5040 h 10079"/>
                <a:gd name="connsiteX6" fmla="*/ 25200 w 30240"/>
                <a:gd name="connsiteY6" fmla="*/ 0 h 1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0240" h="10079">
                  <a:moveTo>
                    <a:pt x="25200" y="0"/>
                  </a:moveTo>
                  <a:lnTo>
                    <a:pt x="5040" y="0"/>
                  </a:lnTo>
                  <a:cubicBezTo>
                    <a:pt x="2258" y="0"/>
                    <a:pt x="0" y="2258"/>
                    <a:pt x="0" y="5040"/>
                  </a:cubicBezTo>
                  <a:cubicBezTo>
                    <a:pt x="0" y="7822"/>
                    <a:pt x="2258" y="10080"/>
                    <a:pt x="5040" y="10080"/>
                  </a:cubicBezTo>
                  <a:lnTo>
                    <a:pt x="25200" y="10080"/>
                  </a:lnTo>
                  <a:cubicBezTo>
                    <a:pt x="27982" y="10080"/>
                    <a:pt x="30240" y="7822"/>
                    <a:pt x="30240" y="5040"/>
                  </a:cubicBezTo>
                  <a:cubicBezTo>
                    <a:pt x="30240" y="2258"/>
                    <a:pt x="27982" y="0"/>
                    <a:pt x="25200" y="0"/>
                  </a:cubicBezTo>
                  <a:close/>
                </a:path>
              </a:pathLst>
            </a:custGeom>
            <a:solidFill>
              <a:srgbClr val="D7397E"/>
            </a:solidFill>
            <a:ln w="484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97" name="Dowolny kształt: kształt 96">
              <a:extLst>
                <a:ext uri="{FF2B5EF4-FFF2-40B4-BE49-F238E27FC236}">
                  <a16:creationId xmlns:a16="http://schemas.microsoft.com/office/drawing/2014/main" id="{C063D38C-3D36-0834-E4CE-3DEC9A9AAF43}"/>
                </a:ext>
              </a:extLst>
            </p:cNvPr>
            <p:cNvSpPr/>
            <p:nvPr/>
          </p:nvSpPr>
          <p:spPr>
            <a:xfrm>
              <a:off x="4855054" y="4082835"/>
              <a:ext cx="10079" cy="10080"/>
            </a:xfrm>
            <a:custGeom>
              <a:avLst/>
              <a:gdLst>
                <a:gd name="connsiteX0" fmla="*/ 5040 w 10079"/>
                <a:gd name="connsiteY0" fmla="*/ 0 h 10080"/>
                <a:gd name="connsiteX1" fmla="*/ 0 w 10079"/>
                <a:gd name="connsiteY1" fmla="*/ 5040 h 10080"/>
                <a:gd name="connsiteX2" fmla="*/ 5040 w 10079"/>
                <a:gd name="connsiteY2" fmla="*/ 10080 h 10080"/>
                <a:gd name="connsiteX3" fmla="*/ 10080 w 10079"/>
                <a:gd name="connsiteY3" fmla="*/ 5040 h 10080"/>
                <a:gd name="connsiteX4" fmla="*/ 5040 w 10079"/>
                <a:gd name="connsiteY4" fmla="*/ 0 h 1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79" h="10080">
                  <a:moveTo>
                    <a:pt x="5040" y="0"/>
                  </a:moveTo>
                  <a:cubicBezTo>
                    <a:pt x="2258" y="0"/>
                    <a:pt x="0" y="2258"/>
                    <a:pt x="0" y="5040"/>
                  </a:cubicBezTo>
                  <a:cubicBezTo>
                    <a:pt x="0" y="7822"/>
                    <a:pt x="2258" y="10080"/>
                    <a:pt x="5040" y="10080"/>
                  </a:cubicBezTo>
                  <a:cubicBezTo>
                    <a:pt x="7822" y="10080"/>
                    <a:pt x="10080" y="7822"/>
                    <a:pt x="10080" y="5040"/>
                  </a:cubicBezTo>
                  <a:cubicBezTo>
                    <a:pt x="10080" y="2258"/>
                    <a:pt x="7822" y="0"/>
                    <a:pt x="5040" y="0"/>
                  </a:cubicBezTo>
                  <a:close/>
                </a:path>
              </a:pathLst>
            </a:custGeom>
            <a:solidFill>
              <a:srgbClr val="D7397E"/>
            </a:solidFill>
            <a:ln w="484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98" name="Dowolny kształt: kształt 97">
              <a:extLst>
                <a:ext uri="{FF2B5EF4-FFF2-40B4-BE49-F238E27FC236}">
                  <a16:creationId xmlns:a16="http://schemas.microsoft.com/office/drawing/2014/main" id="{62AA096D-64D9-1D70-1850-7A5F4726CBE6}"/>
                </a:ext>
              </a:extLst>
            </p:cNvPr>
            <p:cNvSpPr/>
            <p:nvPr/>
          </p:nvSpPr>
          <p:spPr>
            <a:xfrm>
              <a:off x="4784495" y="3901395"/>
              <a:ext cx="151200" cy="10080"/>
            </a:xfrm>
            <a:custGeom>
              <a:avLst/>
              <a:gdLst>
                <a:gd name="connsiteX0" fmla="*/ 146160 w 151200"/>
                <a:gd name="connsiteY0" fmla="*/ 0 h 10080"/>
                <a:gd name="connsiteX1" fmla="*/ 5040 w 151200"/>
                <a:gd name="connsiteY1" fmla="*/ 0 h 10080"/>
                <a:gd name="connsiteX2" fmla="*/ 0 w 151200"/>
                <a:gd name="connsiteY2" fmla="*/ 5040 h 10080"/>
                <a:gd name="connsiteX3" fmla="*/ 5040 w 151200"/>
                <a:gd name="connsiteY3" fmla="*/ 10080 h 10080"/>
                <a:gd name="connsiteX4" fmla="*/ 146160 w 151200"/>
                <a:gd name="connsiteY4" fmla="*/ 10080 h 10080"/>
                <a:gd name="connsiteX5" fmla="*/ 151200 w 151200"/>
                <a:gd name="connsiteY5" fmla="*/ 5040 h 10080"/>
                <a:gd name="connsiteX6" fmla="*/ 146160 w 151200"/>
                <a:gd name="connsiteY6" fmla="*/ 0 h 10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00" h="10080">
                  <a:moveTo>
                    <a:pt x="146160" y="0"/>
                  </a:moveTo>
                  <a:lnTo>
                    <a:pt x="5040" y="0"/>
                  </a:lnTo>
                  <a:cubicBezTo>
                    <a:pt x="2258" y="0"/>
                    <a:pt x="0" y="2258"/>
                    <a:pt x="0" y="5040"/>
                  </a:cubicBezTo>
                  <a:cubicBezTo>
                    <a:pt x="0" y="7822"/>
                    <a:pt x="2258" y="10080"/>
                    <a:pt x="5040" y="10080"/>
                  </a:cubicBezTo>
                  <a:lnTo>
                    <a:pt x="146160" y="10080"/>
                  </a:lnTo>
                  <a:cubicBezTo>
                    <a:pt x="148942" y="10080"/>
                    <a:pt x="151200" y="7822"/>
                    <a:pt x="151200" y="5040"/>
                  </a:cubicBezTo>
                  <a:cubicBezTo>
                    <a:pt x="151200" y="2258"/>
                    <a:pt x="148942" y="0"/>
                    <a:pt x="146160" y="0"/>
                  </a:cubicBezTo>
                  <a:close/>
                </a:path>
              </a:pathLst>
            </a:custGeom>
            <a:solidFill>
              <a:srgbClr val="D7397E"/>
            </a:solidFill>
            <a:ln w="484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99" name="Dowolny kształt: kształt 98">
              <a:extLst>
                <a:ext uri="{FF2B5EF4-FFF2-40B4-BE49-F238E27FC236}">
                  <a16:creationId xmlns:a16="http://schemas.microsoft.com/office/drawing/2014/main" id="{A22D598A-DF5E-893E-B7D7-F901CD0E0040}"/>
                </a:ext>
              </a:extLst>
            </p:cNvPr>
            <p:cNvSpPr/>
            <p:nvPr/>
          </p:nvSpPr>
          <p:spPr>
            <a:xfrm>
              <a:off x="4784495" y="4062676"/>
              <a:ext cx="151200" cy="10079"/>
            </a:xfrm>
            <a:custGeom>
              <a:avLst/>
              <a:gdLst>
                <a:gd name="connsiteX0" fmla="*/ 146160 w 151200"/>
                <a:gd name="connsiteY0" fmla="*/ 0 h 10079"/>
                <a:gd name="connsiteX1" fmla="*/ 5040 w 151200"/>
                <a:gd name="connsiteY1" fmla="*/ 0 h 10079"/>
                <a:gd name="connsiteX2" fmla="*/ 0 w 151200"/>
                <a:gd name="connsiteY2" fmla="*/ 5040 h 10079"/>
                <a:gd name="connsiteX3" fmla="*/ 5040 w 151200"/>
                <a:gd name="connsiteY3" fmla="*/ 10080 h 10079"/>
                <a:gd name="connsiteX4" fmla="*/ 146160 w 151200"/>
                <a:gd name="connsiteY4" fmla="*/ 10080 h 10079"/>
                <a:gd name="connsiteX5" fmla="*/ 151200 w 151200"/>
                <a:gd name="connsiteY5" fmla="*/ 5040 h 10079"/>
                <a:gd name="connsiteX6" fmla="*/ 146160 w 151200"/>
                <a:gd name="connsiteY6" fmla="*/ 0 h 10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00" h="10079">
                  <a:moveTo>
                    <a:pt x="146160" y="0"/>
                  </a:moveTo>
                  <a:lnTo>
                    <a:pt x="5040" y="0"/>
                  </a:lnTo>
                  <a:cubicBezTo>
                    <a:pt x="2258" y="0"/>
                    <a:pt x="0" y="2258"/>
                    <a:pt x="0" y="5040"/>
                  </a:cubicBezTo>
                  <a:cubicBezTo>
                    <a:pt x="0" y="7822"/>
                    <a:pt x="2258" y="10080"/>
                    <a:pt x="5040" y="10080"/>
                  </a:cubicBezTo>
                  <a:lnTo>
                    <a:pt x="146160" y="10080"/>
                  </a:lnTo>
                  <a:cubicBezTo>
                    <a:pt x="148942" y="10080"/>
                    <a:pt x="151200" y="7822"/>
                    <a:pt x="151200" y="5040"/>
                  </a:cubicBezTo>
                  <a:cubicBezTo>
                    <a:pt x="151200" y="2258"/>
                    <a:pt x="148942" y="0"/>
                    <a:pt x="146160" y="0"/>
                  </a:cubicBezTo>
                  <a:close/>
                </a:path>
              </a:pathLst>
            </a:custGeom>
            <a:solidFill>
              <a:srgbClr val="D7397E"/>
            </a:solidFill>
            <a:ln w="484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grpSp>
        <p:nvGrpSpPr>
          <p:cNvPr id="79" name="Grupa 78">
            <a:extLst>
              <a:ext uri="{FF2B5EF4-FFF2-40B4-BE49-F238E27FC236}">
                <a16:creationId xmlns:a16="http://schemas.microsoft.com/office/drawing/2014/main" id="{06DF3EFE-E41D-D759-2F1B-56DDBBE49136}"/>
              </a:ext>
            </a:extLst>
          </p:cNvPr>
          <p:cNvGrpSpPr/>
          <p:nvPr/>
        </p:nvGrpSpPr>
        <p:grpSpPr>
          <a:xfrm>
            <a:off x="5641837" y="3814886"/>
            <a:ext cx="452510" cy="452510"/>
            <a:chOff x="9569160" y="1904167"/>
            <a:chExt cx="738012" cy="738012"/>
          </a:xfrm>
        </p:grpSpPr>
        <p:sp>
          <p:nvSpPr>
            <p:cNvPr id="80" name="Rectangle: Rounded Corners 29">
              <a:extLst>
                <a:ext uri="{FF2B5EF4-FFF2-40B4-BE49-F238E27FC236}">
                  <a16:creationId xmlns:a16="http://schemas.microsoft.com/office/drawing/2014/main" id="{44C73C13-BDEE-10C6-1CC5-FCC4801D789F}"/>
                </a:ext>
              </a:extLst>
            </p:cNvPr>
            <p:cNvSpPr/>
            <p:nvPr/>
          </p:nvSpPr>
          <p:spPr>
            <a:xfrm>
              <a:off x="9569160" y="1904167"/>
              <a:ext cx="738012" cy="738012"/>
            </a:xfrm>
            <a:prstGeom prst="roundRect">
              <a:avLst/>
            </a:prstGeom>
            <a:solidFill>
              <a:srgbClr val="F8CEE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81" name="Rectangle: Rounded Corners 30">
              <a:extLst>
                <a:ext uri="{FF2B5EF4-FFF2-40B4-BE49-F238E27FC236}">
                  <a16:creationId xmlns:a16="http://schemas.microsoft.com/office/drawing/2014/main" id="{C32AE15C-C624-2DF8-19BE-7DE0B3BA57D2}"/>
                </a:ext>
              </a:extLst>
            </p:cNvPr>
            <p:cNvSpPr/>
            <p:nvPr/>
          </p:nvSpPr>
          <p:spPr>
            <a:xfrm>
              <a:off x="9663846" y="1998853"/>
              <a:ext cx="548640" cy="548640"/>
            </a:xfrm>
            <a:prstGeom prst="roundRect">
              <a:avLst/>
            </a:prstGeom>
            <a:solidFill>
              <a:srgbClr val="F8CE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grpSp>
        <p:nvGrpSpPr>
          <p:cNvPr id="85" name="Grupa 84">
            <a:extLst>
              <a:ext uri="{FF2B5EF4-FFF2-40B4-BE49-F238E27FC236}">
                <a16:creationId xmlns:a16="http://schemas.microsoft.com/office/drawing/2014/main" id="{0C743DE6-977E-DEFE-34CF-CA209CD9ABA5}"/>
              </a:ext>
            </a:extLst>
          </p:cNvPr>
          <p:cNvGrpSpPr/>
          <p:nvPr/>
        </p:nvGrpSpPr>
        <p:grpSpPr>
          <a:xfrm>
            <a:off x="5641837" y="4510068"/>
            <a:ext cx="452510" cy="452510"/>
            <a:chOff x="9569160" y="1904167"/>
            <a:chExt cx="738012" cy="738012"/>
          </a:xfrm>
        </p:grpSpPr>
        <p:sp>
          <p:nvSpPr>
            <p:cNvPr id="86" name="Rectangle: Rounded Corners 29">
              <a:extLst>
                <a:ext uri="{FF2B5EF4-FFF2-40B4-BE49-F238E27FC236}">
                  <a16:creationId xmlns:a16="http://schemas.microsoft.com/office/drawing/2014/main" id="{0E000236-8A2B-A770-0C86-10372C9117F8}"/>
                </a:ext>
              </a:extLst>
            </p:cNvPr>
            <p:cNvSpPr/>
            <p:nvPr/>
          </p:nvSpPr>
          <p:spPr>
            <a:xfrm>
              <a:off x="9569160" y="1904167"/>
              <a:ext cx="738012" cy="738012"/>
            </a:xfrm>
            <a:prstGeom prst="roundRect">
              <a:avLst/>
            </a:prstGeom>
            <a:solidFill>
              <a:srgbClr val="F8CEE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87" name="Rectangle: Rounded Corners 30">
              <a:extLst>
                <a:ext uri="{FF2B5EF4-FFF2-40B4-BE49-F238E27FC236}">
                  <a16:creationId xmlns:a16="http://schemas.microsoft.com/office/drawing/2014/main" id="{E5ABFF5C-D624-23ED-52BA-C21A04A3791B}"/>
                </a:ext>
              </a:extLst>
            </p:cNvPr>
            <p:cNvSpPr/>
            <p:nvPr/>
          </p:nvSpPr>
          <p:spPr>
            <a:xfrm>
              <a:off x="9663846" y="1998853"/>
              <a:ext cx="548640" cy="548640"/>
            </a:xfrm>
            <a:prstGeom prst="roundRect">
              <a:avLst/>
            </a:prstGeom>
            <a:solidFill>
              <a:srgbClr val="F8CEE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sp>
        <p:nvSpPr>
          <p:cNvPr id="43" name="Google Shape;818;p15">
            <a:extLst>
              <a:ext uri="{FF2B5EF4-FFF2-40B4-BE49-F238E27FC236}">
                <a16:creationId xmlns:a16="http://schemas.microsoft.com/office/drawing/2014/main" id="{FDDD80A0-D8CC-1234-EC1E-657AA86410EB}"/>
              </a:ext>
            </a:extLst>
          </p:cNvPr>
          <p:cNvSpPr/>
          <p:nvPr/>
        </p:nvSpPr>
        <p:spPr>
          <a:xfrm>
            <a:off x="5765366" y="4510068"/>
            <a:ext cx="5164343" cy="438653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spcFirstLastPara="1" wrap="square" lIns="468000" tIns="45700" rIns="0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1600" b="0" i="0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Twój profil na </a:t>
            </a:r>
            <a:r>
              <a:rPr kumimoji="0" lang="pl-PL" sz="1600" b="0" i="0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linkedin</a:t>
            </a:r>
            <a:endParaRPr kumimoji="0" sz="1600" b="0" i="0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Roboto" panose="02000000000000000000" pitchFamily="2" charset="0"/>
              <a:cs typeface="Mukta Light"/>
              <a:sym typeface="Mukta Light"/>
            </a:endParaRPr>
          </a:p>
        </p:txBody>
      </p:sp>
      <p:pic>
        <p:nvPicPr>
          <p:cNvPr id="46" name="Grafika 45">
            <a:extLst>
              <a:ext uri="{FF2B5EF4-FFF2-40B4-BE49-F238E27FC236}">
                <a16:creationId xmlns:a16="http://schemas.microsoft.com/office/drawing/2014/main" id="{6FD8365B-07AF-1704-8223-52DB3CE70C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760092" y="4624805"/>
            <a:ext cx="216000" cy="216000"/>
          </a:xfrm>
          <a:prstGeom prst="rect">
            <a:avLst/>
          </a:prstGeom>
        </p:spPr>
      </p:pic>
      <p:sp>
        <p:nvSpPr>
          <p:cNvPr id="41" name="Google Shape;815;p15">
            <a:hlinkClick r:id="rId8"/>
            <a:extLst>
              <a:ext uri="{FF2B5EF4-FFF2-40B4-BE49-F238E27FC236}">
                <a16:creationId xmlns:a16="http://schemas.microsoft.com/office/drawing/2014/main" id="{E1737980-F2F6-D707-8FCD-CD399C04BF06}"/>
              </a:ext>
            </a:extLst>
          </p:cNvPr>
          <p:cNvSpPr/>
          <p:nvPr/>
        </p:nvSpPr>
        <p:spPr>
          <a:xfrm>
            <a:off x="5765369" y="3821433"/>
            <a:ext cx="5164343" cy="438653"/>
          </a:xfrm>
          <a:prstGeom prst="roundRect">
            <a:avLst>
              <a:gd name="adj" fmla="val 16667"/>
            </a:avLst>
          </a:prstGeom>
          <a:noFill/>
          <a:ln>
            <a:noFill/>
          </a:ln>
        </p:spPr>
        <p:txBody>
          <a:bodyPr spcFirstLastPara="1" wrap="square" lIns="468000" tIns="45700" rIns="0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pl-PL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adres@gmail.com​</a:t>
            </a:r>
            <a:endParaRPr kumimoji="0" lang="pl-PL" sz="1600" b="0" i="0" u="sng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Light"/>
              <a:ea typeface="Roboto" panose="02000000000000000000" pitchFamily="2" charset="0"/>
              <a:cs typeface="Mukta Light"/>
              <a:sym typeface="Mukta Light"/>
            </a:endParaRPr>
          </a:p>
        </p:txBody>
      </p:sp>
      <p:pic>
        <p:nvPicPr>
          <p:cNvPr id="68" name="Grafika 67">
            <a:extLst>
              <a:ext uri="{FF2B5EF4-FFF2-40B4-BE49-F238E27FC236}">
                <a16:creationId xmlns:a16="http://schemas.microsoft.com/office/drawing/2014/main" id="{593CAF55-D00F-40B1-1ACC-AF9EBF429AB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760092" y="3933141"/>
            <a:ext cx="216000" cy="216000"/>
          </a:xfrm>
          <a:prstGeom prst="rect">
            <a:avLst/>
          </a:prstGeom>
        </p:spPr>
      </p:pic>
      <p:sp>
        <p:nvSpPr>
          <p:cNvPr id="5" name="Oval 134">
            <a:extLst>
              <a:ext uri="{FF2B5EF4-FFF2-40B4-BE49-F238E27FC236}">
                <a16:creationId xmlns:a16="http://schemas.microsoft.com/office/drawing/2014/main" id="{3257633E-5164-36C3-22CE-07B2F8B20F4F}"/>
              </a:ext>
            </a:extLst>
          </p:cNvPr>
          <p:cNvSpPr/>
          <p:nvPr/>
        </p:nvSpPr>
        <p:spPr>
          <a:xfrm>
            <a:off x="1331274" y="1470663"/>
            <a:ext cx="3048483" cy="3048483"/>
          </a:xfrm>
          <a:prstGeom prst="ellipse">
            <a:avLst/>
          </a:prstGeom>
          <a:gradFill>
            <a:gsLst>
              <a:gs pos="37000">
                <a:schemeClr val="accent1"/>
              </a:gs>
              <a:gs pos="100000">
                <a:srgbClr val="FF2D5E">
                  <a:lumMod val="60000"/>
                  <a:lumOff val="40000"/>
                </a:srgbClr>
              </a:gs>
            </a:gsLst>
            <a:path path="circle">
              <a:fillToRect l="100000" t="100000"/>
            </a:path>
          </a:gradFill>
          <a:ln w="12700" cap="flat" cmpd="sng" algn="ctr">
            <a:noFill/>
            <a:prstDash val="solid"/>
            <a:miter lim="800000"/>
          </a:ln>
          <a:effectLst>
            <a:outerShdw blurRad="1270000" sx="105000" sy="105000" algn="ctr" rotWithShape="0">
              <a:srgbClr val="FF2D5E">
                <a:alpha val="45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3B245EA-A9FD-44B8-FB37-42F705D2F727}"/>
              </a:ext>
            </a:extLst>
          </p:cNvPr>
          <p:cNvGrpSpPr/>
          <p:nvPr/>
        </p:nvGrpSpPr>
        <p:grpSpPr>
          <a:xfrm>
            <a:off x="1630941" y="1827301"/>
            <a:ext cx="2442284" cy="2269436"/>
            <a:chOff x="13516091" y="3319738"/>
            <a:chExt cx="7814039" cy="7261011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662E1D94-1777-9D60-964C-B896154F75C7}"/>
                </a:ext>
              </a:extLst>
            </p:cNvPr>
            <p:cNvSpPr/>
            <p:nvPr/>
          </p:nvSpPr>
          <p:spPr>
            <a:xfrm>
              <a:off x="13516091" y="3319738"/>
              <a:ext cx="7814039" cy="7261011"/>
            </a:xfrm>
            <a:custGeom>
              <a:avLst/>
              <a:gdLst>
                <a:gd name="connsiteX0" fmla="*/ 4570952 w 4562475"/>
                <a:gd name="connsiteY0" fmla="*/ 4091749 h 4086225"/>
                <a:gd name="connsiteX1" fmla="*/ 0 w 4562475"/>
                <a:gd name="connsiteY1" fmla="*/ 4091749 h 4086225"/>
                <a:gd name="connsiteX2" fmla="*/ 0 w 4562475"/>
                <a:gd name="connsiteY2" fmla="*/ 70009 h 4086225"/>
                <a:gd name="connsiteX3" fmla="*/ 70009 w 4562475"/>
                <a:gd name="connsiteY3" fmla="*/ 0 h 4086225"/>
                <a:gd name="connsiteX4" fmla="*/ 4500849 w 4562475"/>
                <a:gd name="connsiteY4" fmla="*/ 0 h 4086225"/>
                <a:gd name="connsiteX5" fmla="*/ 4570857 w 4562475"/>
                <a:gd name="connsiteY5" fmla="*/ 70009 h 4086225"/>
                <a:gd name="connsiteX6" fmla="*/ 4570857 w 4562475"/>
                <a:gd name="connsiteY6" fmla="*/ 4091749 h 408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62475" h="4086225">
                  <a:moveTo>
                    <a:pt x="4570952" y="4091749"/>
                  </a:moveTo>
                  <a:lnTo>
                    <a:pt x="0" y="4091749"/>
                  </a:lnTo>
                  <a:lnTo>
                    <a:pt x="0" y="70009"/>
                  </a:lnTo>
                  <a:cubicBezTo>
                    <a:pt x="0" y="31337"/>
                    <a:pt x="31337" y="0"/>
                    <a:pt x="70009" y="0"/>
                  </a:cubicBezTo>
                  <a:lnTo>
                    <a:pt x="4500849" y="0"/>
                  </a:lnTo>
                  <a:cubicBezTo>
                    <a:pt x="4539520" y="0"/>
                    <a:pt x="4570857" y="31337"/>
                    <a:pt x="4570857" y="70009"/>
                  </a:cubicBezTo>
                  <a:lnTo>
                    <a:pt x="4570857" y="409174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7214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5C56F1C-C7E8-1345-A0BD-640CCC320471}"/>
                </a:ext>
              </a:extLst>
            </p:cNvPr>
            <p:cNvSpPr/>
            <p:nvPr/>
          </p:nvSpPr>
          <p:spPr>
            <a:xfrm>
              <a:off x="13990851" y="4201383"/>
              <a:ext cx="829346" cy="304658"/>
            </a:xfrm>
            <a:custGeom>
              <a:avLst/>
              <a:gdLst>
                <a:gd name="connsiteX0" fmla="*/ 396430 w 466725"/>
                <a:gd name="connsiteY0" fmla="*/ 179927 h 171450"/>
                <a:gd name="connsiteX1" fmla="*/ 79439 w 466725"/>
                <a:gd name="connsiteY1" fmla="*/ 179927 h 171450"/>
                <a:gd name="connsiteX2" fmla="*/ 0 w 466725"/>
                <a:gd name="connsiteY2" fmla="*/ 100489 h 171450"/>
                <a:gd name="connsiteX3" fmla="*/ 0 w 466725"/>
                <a:gd name="connsiteY3" fmla="*/ 79439 h 171450"/>
                <a:gd name="connsiteX4" fmla="*/ 79439 w 466725"/>
                <a:gd name="connsiteY4" fmla="*/ 0 h 171450"/>
                <a:gd name="connsiteX5" fmla="*/ 396430 w 466725"/>
                <a:gd name="connsiteY5" fmla="*/ 0 h 171450"/>
                <a:gd name="connsiteX6" fmla="*/ 475869 w 466725"/>
                <a:gd name="connsiteY6" fmla="*/ 79439 h 171450"/>
                <a:gd name="connsiteX7" fmla="*/ 475869 w 466725"/>
                <a:gd name="connsiteY7" fmla="*/ 100489 h 171450"/>
                <a:gd name="connsiteX8" fmla="*/ 396430 w 466725"/>
                <a:gd name="connsiteY8" fmla="*/ 179927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725" h="171450">
                  <a:moveTo>
                    <a:pt x="396430" y="179927"/>
                  </a:moveTo>
                  <a:lnTo>
                    <a:pt x="79439" y="179927"/>
                  </a:lnTo>
                  <a:cubicBezTo>
                    <a:pt x="35528" y="179927"/>
                    <a:pt x="0" y="144399"/>
                    <a:pt x="0" y="100489"/>
                  </a:cubicBezTo>
                  <a:lnTo>
                    <a:pt x="0" y="79439"/>
                  </a:lnTo>
                  <a:cubicBezTo>
                    <a:pt x="0" y="35528"/>
                    <a:pt x="35528" y="0"/>
                    <a:pt x="79439" y="0"/>
                  </a:cubicBezTo>
                  <a:lnTo>
                    <a:pt x="396430" y="0"/>
                  </a:lnTo>
                  <a:cubicBezTo>
                    <a:pt x="440341" y="0"/>
                    <a:pt x="475869" y="35528"/>
                    <a:pt x="475869" y="79439"/>
                  </a:cubicBezTo>
                  <a:lnTo>
                    <a:pt x="475869" y="100489"/>
                  </a:lnTo>
                  <a:cubicBezTo>
                    <a:pt x="475869" y="144399"/>
                    <a:pt x="440341" y="179927"/>
                    <a:pt x="396430" y="179927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7214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545E246-EA27-D785-DECF-FF0C86D52E54}"/>
                </a:ext>
              </a:extLst>
            </p:cNvPr>
            <p:cNvSpPr/>
            <p:nvPr/>
          </p:nvSpPr>
          <p:spPr>
            <a:xfrm>
              <a:off x="15107422" y="4201383"/>
              <a:ext cx="1320184" cy="304658"/>
            </a:xfrm>
            <a:custGeom>
              <a:avLst/>
              <a:gdLst>
                <a:gd name="connsiteX0" fmla="*/ 667036 w 742950"/>
                <a:gd name="connsiteY0" fmla="*/ 179927 h 171450"/>
                <a:gd name="connsiteX1" fmla="*/ 79438 w 742950"/>
                <a:gd name="connsiteY1" fmla="*/ 179927 h 171450"/>
                <a:gd name="connsiteX2" fmla="*/ 0 w 742950"/>
                <a:gd name="connsiteY2" fmla="*/ 100489 h 171450"/>
                <a:gd name="connsiteX3" fmla="*/ 0 w 742950"/>
                <a:gd name="connsiteY3" fmla="*/ 79439 h 171450"/>
                <a:gd name="connsiteX4" fmla="*/ 79438 w 742950"/>
                <a:gd name="connsiteY4" fmla="*/ 0 h 171450"/>
                <a:gd name="connsiteX5" fmla="*/ 667036 w 742950"/>
                <a:gd name="connsiteY5" fmla="*/ 0 h 171450"/>
                <a:gd name="connsiteX6" fmla="*/ 746474 w 742950"/>
                <a:gd name="connsiteY6" fmla="*/ 79439 h 171450"/>
                <a:gd name="connsiteX7" fmla="*/ 746474 w 742950"/>
                <a:gd name="connsiteY7" fmla="*/ 100489 h 171450"/>
                <a:gd name="connsiteX8" fmla="*/ 667036 w 742950"/>
                <a:gd name="connsiteY8" fmla="*/ 179927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42950" h="171450">
                  <a:moveTo>
                    <a:pt x="667036" y="179927"/>
                  </a:moveTo>
                  <a:lnTo>
                    <a:pt x="79438" y="179927"/>
                  </a:lnTo>
                  <a:cubicBezTo>
                    <a:pt x="35528" y="179927"/>
                    <a:pt x="0" y="144399"/>
                    <a:pt x="0" y="100489"/>
                  </a:cubicBezTo>
                  <a:lnTo>
                    <a:pt x="0" y="79439"/>
                  </a:lnTo>
                  <a:cubicBezTo>
                    <a:pt x="0" y="35528"/>
                    <a:pt x="35528" y="0"/>
                    <a:pt x="79438" y="0"/>
                  </a:cubicBezTo>
                  <a:lnTo>
                    <a:pt x="667036" y="0"/>
                  </a:lnTo>
                  <a:cubicBezTo>
                    <a:pt x="710946" y="0"/>
                    <a:pt x="746474" y="35528"/>
                    <a:pt x="746474" y="79439"/>
                  </a:cubicBezTo>
                  <a:lnTo>
                    <a:pt x="746474" y="100489"/>
                  </a:lnTo>
                  <a:cubicBezTo>
                    <a:pt x="746474" y="144399"/>
                    <a:pt x="710851" y="179927"/>
                    <a:pt x="667036" y="179927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7214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B36FA2D-F864-CBF0-5552-ED2FA93AFEE1}"/>
                </a:ext>
              </a:extLst>
            </p:cNvPr>
            <p:cNvSpPr/>
            <p:nvPr/>
          </p:nvSpPr>
          <p:spPr>
            <a:xfrm>
              <a:off x="16727016" y="4201383"/>
              <a:ext cx="829346" cy="304658"/>
            </a:xfrm>
            <a:custGeom>
              <a:avLst/>
              <a:gdLst>
                <a:gd name="connsiteX0" fmla="*/ 396430 w 466725"/>
                <a:gd name="connsiteY0" fmla="*/ 179927 h 171450"/>
                <a:gd name="connsiteX1" fmla="*/ 79438 w 466725"/>
                <a:gd name="connsiteY1" fmla="*/ 179927 h 171450"/>
                <a:gd name="connsiteX2" fmla="*/ 0 w 466725"/>
                <a:gd name="connsiteY2" fmla="*/ 100489 h 171450"/>
                <a:gd name="connsiteX3" fmla="*/ 0 w 466725"/>
                <a:gd name="connsiteY3" fmla="*/ 79439 h 171450"/>
                <a:gd name="connsiteX4" fmla="*/ 79438 w 466725"/>
                <a:gd name="connsiteY4" fmla="*/ 0 h 171450"/>
                <a:gd name="connsiteX5" fmla="*/ 396430 w 466725"/>
                <a:gd name="connsiteY5" fmla="*/ 0 h 171450"/>
                <a:gd name="connsiteX6" fmla="*/ 475869 w 466725"/>
                <a:gd name="connsiteY6" fmla="*/ 79439 h 171450"/>
                <a:gd name="connsiteX7" fmla="*/ 475869 w 466725"/>
                <a:gd name="connsiteY7" fmla="*/ 100489 h 171450"/>
                <a:gd name="connsiteX8" fmla="*/ 396430 w 466725"/>
                <a:gd name="connsiteY8" fmla="*/ 179927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725" h="171450">
                  <a:moveTo>
                    <a:pt x="396430" y="179927"/>
                  </a:moveTo>
                  <a:lnTo>
                    <a:pt x="79438" y="179927"/>
                  </a:lnTo>
                  <a:cubicBezTo>
                    <a:pt x="35528" y="179927"/>
                    <a:pt x="0" y="144399"/>
                    <a:pt x="0" y="100489"/>
                  </a:cubicBezTo>
                  <a:lnTo>
                    <a:pt x="0" y="79439"/>
                  </a:lnTo>
                  <a:cubicBezTo>
                    <a:pt x="0" y="35528"/>
                    <a:pt x="35528" y="0"/>
                    <a:pt x="79438" y="0"/>
                  </a:cubicBezTo>
                  <a:lnTo>
                    <a:pt x="396430" y="0"/>
                  </a:lnTo>
                  <a:cubicBezTo>
                    <a:pt x="440341" y="0"/>
                    <a:pt x="475869" y="35528"/>
                    <a:pt x="475869" y="79439"/>
                  </a:cubicBezTo>
                  <a:lnTo>
                    <a:pt x="475869" y="100489"/>
                  </a:lnTo>
                  <a:cubicBezTo>
                    <a:pt x="475869" y="144399"/>
                    <a:pt x="440341" y="179927"/>
                    <a:pt x="396430" y="179927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17214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0" name="Rectangle: Rounded Corners 105">
            <a:extLst>
              <a:ext uri="{FF2B5EF4-FFF2-40B4-BE49-F238E27FC236}">
                <a16:creationId xmlns:a16="http://schemas.microsoft.com/office/drawing/2014/main" id="{DB190789-99BA-2475-FD75-83D0DA9F3533}"/>
              </a:ext>
            </a:extLst>
          </p:cNvPr>
          <p:cNvSpPr/>
          <p:nvPr/>
        </p:nvSpPr>
        <p:spPr>
          <a:xfrm>
            <a:off x="1262288" y="2890894"/>
            <a:ext cx="2014198" cy="779139"/>
          </a:xfrm>
          <a:prstGeom prst="roundRect">
            <a:avLst>
              <a:gd name="adj" fmla="val 13476"/>
            </a:avLst>
          </a:prstGeom>
          <a:gradFill flip="none" rotWithShape="1">
            <a:gsLst>
              <a:gs pos="0">
                <a:srgbClr val="F8CEE0"/>
              </a:gs>
              <a:gs pos="100000">
                <a:srgbClr val="C7CEF6">
                  <a:lumMod val="9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9525" cap="flat">
            <a:noFill/>
            <a:prstDash val="solid"/>
            <a:miter/>
          </a:ln>
          <a:effectLst>
            <a:outerShdw blurRad="1270000" sx="102000" sy="102000" algn="ctr" rotWithShape="0">
              <a:srgbClr val="E4ECFE">
                <a:lumMod val="50000"/>
                <a:alpha val="88000"/>
              </a:srgb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172144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9F23A62F-434E-D438-090F-1E5BA1BC0FD5}"/>
              </a:ext>
            </a:extLst>
          </p:cNvPr>
          <p:cNvSpPr txBox="1"/>
          <p:nvPr/>
        </p:nvSpPr>
        <p:spPr>
          <a:xfrm>
            <a:off x="1402454" y="2469704"/>
            <a:ext cx="28992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3600">
                <a:highlight>
                  <a:srgbClr val="FFFF00"/>
                </a:highlight>
              </a:rPr>
              <a:t>Miejsce na twoje zdjęcie</a:t>
            </a:r>
          </a:p>
        </p:txBody>
      </p:sp>
    </p:spTree>
    <p:extLst>
      <p:ext uri="{BB962C8B-B14F-4D97-AF65-F5344CB8AC3E}">
        <p14:creationId xmlns:p14="http://schemas.microsoft.com/office/powerpoint/2010/main" val="1044870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1_Prezentacja ogólna ">
  <a:themeElements>
    <a:clrScheme name="Extended Tool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D61B6B"/>
      </a:accent1>
      <a:accent2>
        <a:srgbClr val="646464"/>
      </a:accent2>
      <a:accent3>
        <a:srgbClr val="7D7D7D"/>
      </a:accent3>
      <a:accent4>
        <a:srgbClr val="AAAAAA"/>
      </a:accent4>
      <a:accent5>
        <a:srgbClr val="C8C8C8"/>
      </a:accent5>
      <a:accent6>
        <a:srgbClr val="FAFAFA"/>
      </a:accent6>
      <a:hlink>
        <a:srgbClr val="D40A62"/>
      </a:hlink>
      <a:folHlink>
        <a:srgbClr val="44546A"/>
      </a:folHlink>
    </a:clrScheme>
    <a:fontScheme name="Extended Tools">
      <a:majorFont>
        <a:latin typeface="Roboto"/>
        <a:ea typeface=""/>
        <a:cs typeface=""/>
      </a:majorFont>
      <a:minorFont>
        <a:latin typeface="Roboto Light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Schemat prezentacji ofertowej">
  <a:themeElements>
    <a:clrScheme name="Extended Tool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D61B6B"/>
      </a:accent1>
      <a:accent2>
        <a:srgbClr val="646464"/>
      </a:accent2>
      <a:accent3>
        <a:srgbClr val="7D7D7D"/>
      </a:accent3>
      <a:accent4>
        <a:srgbClr val="AAAAAA"/>
      </a:accent4>
      <a:accent5>
        <a:srgbClr val="C8C8C8"/>
      </a:accent5>
      <a:accent6>
        <a:srgbClr val="FAFAFA"/>
      </a:accent6>
      <a:hlink>
        <a:srgbClr val="D40A62"/>
      </a:hlink>
      <a:folHlink>
        <a:srgbClr val="44546A"/>
      </a:folHlink>
    </a:clrScheme>
    <a:fontScheme name="Extended Tools">
      <a:majorFont>
        <a:latin typeface="Roboto"/>
        <a:ea typeface=""/>
        <a:cs typeface=""/>
      </a:majorFont>
      <a:minorFont>
        <a:latin typeface="Roboto Light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Schemat prezentacji konferencyjnej">
  <a:themeElements>
    <a:clrScheme name="Extended Tool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D61B6B"/>
      </a:accent1>
      <a:accent2>
        <a:srgbClr val="646464"/>
      </a:accent2>
      <a:accent3>
        <a:srgbClr val="7D7D7D"/>
      </a:accent3>
      <a:accent4>
        <a:srgbClr val="AAAAAA"/>
      </a:accent4>
      <a:accent5>
        <a:srgbClr val="C8C8C8"/>
      </a:accent5>
      <a:accent6>
        <a:srgbClr val="FAFAFA"/>
      </a:accent6>
      <a:hlink>
        <a:srgbClr val="D40A62"/>
      </a:hlink>
      <a:folHlink>
        <a:srgbClr val="44546A"/>
      </a:folHlink>
    </a:clrScheme>
    <a:fontScheme name="Extended Tools">
      <a:majorFont>
        <a:latin typeface="Roboto"/>
        <a:ea typeface=""/>
        <a:cs typeface=""/>
      </a:majorFont>
      <a:minorFont>
        <a:latin typeface="Roboto Light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Motyw pakietu Office">
  <a:themeElements>
    <a:clrScheme name="Pakiet 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Niestandardowy 7">
      <a:majorFont>
        <a:latin typeface="Montserrat"/>
        <a:ea typeface=""/>
        <a:cs typeface=""/>
      </a:majorFont>
      <a:minorFont>
        <a:latin typeface="roboto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D4D3D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Schemat prezentacji ofertowej">
  <a:themeElements>
    <a:clrScheme name="Extended Tool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D61B6B"/>
      </a:accent1>
      <a:accent2>
        <a:srgbClr val="646464"/>
      </a:accent2>
      <a:accent3>
        <a:srgbClr val="7D7D7D"/>
      </a:accent3>
      <a:accent4>
        <a:srgbClr val="AAAAAA"/>
      </a:accent4>
      <a:accent5>
        <a:srgbClr val="C8C8C8"/>
      </a:accent5>
      <a:accent6>
        <a:srgbClr val="FAFAFA"/>
      </a:accent6>
      <a:hlink>
        <a:srgbClr val="D40A62"/>
      </a:hlink>
      <a:folHlink>
        <a:srgbClr val="44546A"/>
      </a:folHlink>
    </a:clrScheme>
    <a:fontScheme name="Extended Tools">
      <a:majorFont>
        <a:latin typeface="Roboto"/>
        <a:ea typeface=""/>
        <a:cs typeface=""/>
      </a:majorFont>
      <a:minorFont>
        <a:latin typeface="Roboto Light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Prezentacja ogólna ">
  <a:themeElements>
    <a:clrScheme name="Extended Tool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D61B6B"/>
      </a:accent1>
      <a:accent2>
        <a:srgbClr val="646464"/>
      </a:accent2>
      <a:accent3>
        <a:srgbClr val="7D7D7D"/>
      </a:accent3>
      <a:accent4>
        <a:srgbClr val="AAAAAA"/>
      </a:accent4>
      <a:accent5>
        <a:srgbClr val="C8C8C8"/>
      </a:accent5>
      <a:accent6>
        <a:srgbClr val="FAFAFA"/>
      </a:accent6>
      <a:hlink>
        <a:srgbClr val="D40A62"/>
      </a:hlink>
      <a:folHlink>
        <a:srgbClr val="44546A"/>
      </a:folHlink>
    </a:clrScheme>
    <a:fontScheme name="Extended Tools">
      <a:majorFont>
        <a:latin typeface="Roboto"/>
        <a:ea typeface=""/>
        <a:cs typeface=""/>
      </a:majorFont>
      <a:minorFont>
        <a:latin typeface="Roboto Light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8F66C5830A5D94F810939CC19540B40" ma:contentTypeVersion="13" ma:contentTypeDescription="Utwórz nowy dokument." ma:contentTypeScope="" ma:versionID="d7786a341ca0d3e8402253b9d30bcb66">
  <xsd:schema xmlns:xsd="http://www.w3.org/2001/XMLSchema" xmlns:xs="http://www.w3.org/2001/XMLSchema" xmlns:p="http://schemas.microsoft.com/office/2006/metadata/properties" xmlns:ns2="77f94c3d-82ce-4117-9e15-9e4953da5ae2" xmlns:ns3="f1d4c135-131c-4fff-8235-8820222dd951" targetNamespace="http://schemas.microsoft.com/office/2006/metadata/properties" ma:root="true" ma:fieldsID="1f2305a6826869e4f885cc20247e32b9" ns2:_="" ns3:_="">
    <xsd:import namespace="77f94c3d-82ce-4117-9e15-9e4953da5ae2"/>
    <xsd:import namespace="f1d4c135-131c-4fff-8235-8820222dd95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f94c3d-82ce-4117-9e15-9e4953da5a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Tagi obrazów" ma:readOnly="false" ma:fieldId="{5cf76f15-5ced-4ddc-b409-7134ff3c332f}" ma:taxonomyMulti="true" ma:sspId="e98f699d-2b44-4a1b-b496-38ad3b724ae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d4c135-131c-4fff-8235-8820222dd951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e2e19ad5-6efb-445d-b9c8-c84e8f84c3d1}" ma:internalName="TaxCatchAll" ma:showField="CatchAllData" ma:web="f1d4c135-131c-4fff-8235-8820222dd95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Udostępniani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Udostępnione dla — szczegóły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7f94c3d-82ce-4117-9e15-9e4953da5ae2">
      <Terms xmlns="http://schemas.microsoft.com/office/infopath/2007/PartnerControls"/>
    </lcf76f155ced4ddcb4097134ff3c332f>
    <TaxCatchAll xmlns="f1d4c135-131c-4fff-8235-8820222dd95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8FA857A-2CD9-40F5-881C-E4FC65E0F882}">
  <ds:schemaRefs>
    <ds:schemaRef ds:uri="77f94c3d-82ce-4117-9e15-9e4953da5ae2"/>
    <ds:schemaRef ds:uri="f1d4c135-131c-4fff-8235-8820222dd95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144B109-E498-4149-814E-766B81AC0973}">
  <ds:schemaRefs>
    <ds:schemaRef ds:uri="http://www.w3.org/XML/1998/namespace"/>
    <ds:schemaRef ds:uri="http://schemas.microsoft.com/office/2006/metadata/properties"/>
    <ds:schemaRef ds:uri="http://schemas.microsoft.com/office/infopath/2007/PartnerControls"/>
    <ds:schemaRef ds:uri="77f94c3d-82ce-4117-9e15-9e4953da5ae2"/>
    <ds:schemaRef ds:uri="http://purl.org/dc/terms/"/>
    <ds:schemaRef ds:uri="http://schemas.microsoft.com/office/2006/documentManagement/types"/>
    <ds:schemaRef ds:uri="http://purl.org/dc/dcmitype/"/>
    <ds:schemaRef ds:uri="http://purl.org/dc/elements/1.1/"/>
    <ds:schemaRef ds:uri="http://schemas.openxmlformats.org/package/2006/metadata/core-properties"/>
    <ds:schemaRef ds:uri="f1d4c135-131c-4fff-8235-8820222dd951"/>
  </ds:schemaRefs>
</ds:datastoreItem>
</file>

<file path=customXml/itemProps3.xml><?xml version="1.0" encoding="utf-8"?>
<ds:datastoreItem xmlns:ds="http://schemas.openxmlformats.org/officeDocument/2006/customXml" ds:itemID="{3BA50049-A9AA-421E-BB1C-5203A2C3DFA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96</Words>
  <Application>Microsoft Office PowerPoint</Application>
  <PresentationFormat>Panoramiczny</PresentationFormat>
  <Paragraphs>64</Paragraphs>
  <Slides>9</Slides>
  <Notes>3</Notes>
  <HiddenSlides>0</HiddenSlides>
  <MMClips>0</MMClips>
  <ScaleCrop>false</ScaleCrop>
  <HeadingPairs>
    <vt:vector size="6" baseType="variant">
      <vt:variant>
        <vt:lpstr>Używane czcionki</vt:lpstr>
      </vt:variant>
      <vt:variant>
        <vt:i4>9</vt:i4>
      </vt:variant>
      <vt:variant>
        <vt:lpstr>Motyw</vt:lpstr>
      </vt:variant>
      <vt:variant>
        <vt:i4>6</vt:i4>
      </vt:variant>
      <vt:variant>
        <vt:lpstr>Tytuły slajdów</vt:lpstr>
      </vt:variant>
      <vt:variant>
        <vt:i4>9</vt:i4>
      </vt:variant>
    </vt:vector>
  </HeadingPairs>
  <TitlesOfParts>
    <vt:vector size="24" baseType="lpstr">
      <vt:lpstr>Arial</vt:lpstr>
      <vt:lpstr>Calibri</vt:lpstr>
      <vt:lpstr>Montserrat</vt:lpstr>
      <vt:lpstr>Roboto</vt:lpstr>
      <vt:lpstr>Roboto</vt:lpstr>
      <vt:lpstr>Roboto Black</vt:lpstr>
      <vt:lpstr>Roboto Light</vt:lpstr>
      <vt:lpstr>Roboto Medium</vt:lpstr>
      <vt:lpstr>Symbol</vt:lpstr>
      <vt:lpstr>1_Prezentacja ogólna </vt:lpstr>
      <vt:lpstr>2_Schemat prezentacji ofertowej</vt:lpstr>
      <vt:lpstr>3_Schemat prezentacji konferencyjnej</vt:lpstr>
      <vt:lpstr>1_Motyw pakietu Office</vt:lpstr>
      <vt:lpstr>3_Schemat prezentacji ofertowej</vt:lpstr>
      <vt:lpstr>2_Prezentacja ogólna 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user</dc:creator>
  <cp:lastModifiedBy>Khrystyna Yatsyna</cp:lastModifiedBy>
  <cp:revision>1</cp:revision>
  <dcterms:created xsi:type="dcterms:W3CDTF">2019-04-15T09:31:37Z</dcterms:created>
  <dcterms:modified xsi:type="dcterms:W3CDTF">2023-08-30T12:1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8F66C5830A5D94F810939CC19540B40</vt:lpwstr>
  </property>
  <property fmtid="{D5CDD505-2E9C-101B-9397-08002B2CF9AE}" pid="3" name="MediaServiceImageTags">
    <vt:lpwstr/>
  </property>
</Properties>
</file>